
<file path=[Content_Types].xml><?xml version="1.0" encoding="utf-8"?>
<Types xmlns="http://schemas.openxmlformats.org/package/2006/content-types">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xml" ContentType="application/vnd.openxmlformats-officedocument.presentationml.tags+xml"/>
  <Override PartName="/ppt/notesSlides/notesSlide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4.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5.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6.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7.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8.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9.xml" ContentType="application/vnd.openxmlformats-officedocument.presentationml.tags+xml"/>
  <Override PartName="/ppt/charts/chartEx1.xml" ContentType="application/vnd.ms-office.chartex+xml"/>
  <Override PartName="/ppt/charts/style9.xml" ContentType="application/vnd.ms-office.chartstyle+xml"/>
  <Override PartName="/ppt/charts/colors9.xml" ContentType="application/vnd.ms-office.chartcolorstyle+xml"/>
  <Override PartName="/ppt/tags/tag10.xml" ContentType="application/vnd.openxmlformats-officedocument.presentationml.tags+xml"/>
  <Override PartName="/ppt/charts/chartEx2.xml" ContentType="application/vnd.ms-office.chartex+xml"/>
  <Override PartName="/ppt/charts/style10.xml" ContentType="application/vnd.ms-office.chartstyle+xml"/>
  <Override PartName="/ppt/charts/colors10.xml" ContentType="application/vnd.ms-office.chartcolorstyle+xml"/>
  <Override PartName="/ppt/tags/tag11.xml" ContentType="application/vnd.openxmlformats-officedocument.presentationml.tags+xml"/>
  <Override PartName="/ppt/charts/chartEx3.xml" ContentType="application/vnd.ms-office.chartex+xml"/>
  <Override PartName="/ppt/charts/style11.xml" ContentType="application/vnd.ms-office.chartstyle+xml"/>
  <Override PartName="/ppt/charts/colors11.xml" ContentType="application/vnd.ms-office.chartcolorstyle+xml"/>
  <Override PartName="/ppt/tags/tag12.xml" ContentType="application/vnd.openxmlformats-officedocument.presentationml.tags+xml"/>
  <Override PartName="/ppt/charts/chartEx4.xml" ContentType="application/vnd.ms-office.chartex+xml"/>
  <Override PartName="/ppt/charts/style12.xml" ContentType="application/vnd.ms-office.chartstyle+xml"/>
  <Override PartName="/ppt/charts/colors12.xml" ContentType="application/vnd.ms-office.chartcolorstyle+xml"/>
  <Override PartName="/ppt/tags/tag13.xml" ContentType="application/vnd.openxmlformats-officedocument.presentationml.tags+xml"/>
  <Override PartName="/ppt/notesSlides/notesSlide2.xml" ContentType="application/vnd.openxmlformats-officedocument.presentationml.notesSlide+xml"/>
  <Override PartName="/ppt/charts/chart9.xml" ContentType="application/vnd.openxmlformats-officedocument.drawingml.chart+xml"/>
  <Override PartName="/ppt/charts/style13.xml" ContentType="application/vnd.ms-office.chartstyle+xml"/>
  <Override PartName="/ppt/charts/colors13.xml" ContentType="application/vnd.ms-office.chartcolorstyle+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notesSlides/notesSlide4.xml" ContentType="application/vnd.openxmlformats-officedocument.presentationml.notesSlide+xml"/>
  <Override PartName="/ppt/charts/chart10.xml" ContentType="application/vnd.openxmlformats-officedocument.drawingml.chart+xml"/>
  <Override PartName="/ppt/charts/style14.xml" ContentType="application/vnd.ms-office.chartstyle+xml"/>
  <Override PartName="/ppt/charts/colors14.xml" ContentType="application/vnd.ms-office.chartcolorstyle+xml"/>
  <Override PartName="/ppt/tags/tag16.xml" ContentType="application/vnd.openxmlformats-officedocument.presentationml.tags+xml"/>
  <Override PartName="/ppt/notesSlides/notesSlide5.xml" ContentType="application/vnd.openxmlformats-officedocument.presentationml.notesSlide+xml"/>
  <Override PartName="/ppt/charts/chart11.xml" ContentType="application/vnd.openxmlformats-officedocument.drawingml.chart+xml"/>
  <Override PartName="/ppt/charts/style15.xml" ContentType="application/vnd.ms-office.chartstyle+xml"/>
  <Override PartName="/ppt/charts/colors15.xml" ContentType="application/vnd.ms-office.chartcolorstyle+xml"/>
  <Override PartName="/ppt/tags/tag17.xml" ContentType="application/vnd.openxmlformats-officedocument.presentationml.tags+xml"/>
  <Override PartName="/ppt/notesSlides/notesSlide6.xml" ContentType="application/vnd.openxmlformats-officedocument.presentationml.notesSlide+xml"/>
  <Override PartName="/ppt/charts/chart12.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3.xml" ContentType="application/vnd.openxmlformats-officedocument.drawingml.chart+xml"/>
  <Override PartName="/ppt/charts/style17.xml" ContentType="application/vnd.ms-office.chartstyle+xml"/>
  <Override PartName="/ppt/charts/colors17.xml" ContentType="application/vnd.ms-office.chartcolorstyle+xml"/>
  <Override PartName="/ppt/tags/tag18.xml" ContentType="application/vnd.openxmlformats-officedocument.presentationml.tags+xml"/>
  <Override PartName="/ppt/notesSlides/notesSlide7.xml" ContentType="application/vnd.openxmlformats-officedocument.presentationml.notesSlide+xml"/>
  <Override PartName="/ppt/charts/chart14.xml" ContentType="application/vnd.openxmlformats-officedocument.drawingml.chart+xml"/>
  <Override PartName="/ppt/charts/style18.xml" ContentType="application/vnd.ms-office.chartstyle+xml"/>
  <Override PartName="/ppt/charts/colors18.xml" ContentType="application/vnd.ms-office.chartcolorstyl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19.xml" ContentType="application/vnd.openxmlformats-officedocument.presentationml.tags+xml"/>
  <Override PartName="/ppt/charts/chart15.xml" ContentType="application/vnd.openxmlformats-officedocument.drawingml.chart+xml"/>
  <Override PartName="/ppt/charts/style19.xml" ContentType="application/vnd.ms-office.chartstyle+xml"/>
  <Override PartName="/ppt/charts/colors19.xml" ContentType="application/vnd.ms-office.chartcolorstyl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8.xml" ContentType="application/vnd.openxmlformats-officedocument.presentationml.notesSlide+xml"/>
  <Override PartName="/ppt/tags/tag20.xml" ContentType="application/vnd.openxmlformats-officedocument.presentationml.tags+xml"/>
  <Override PartName="/ppt/charts/chart16.xml" ContentType="application/vnd.openxmlformats-officedocument.drawingml.chart+xml"/>
  <Override PartName="/ppt/charts/style20.xml" ContentType="application/vnd.ms-office.chartstyle+xml"/>
  <Override PartName="/ppt/charts/colors20.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45"/>
  </p:notesMasterIdLst>
  <p:sldIdLst>
    <p:sldId id="256" r:id="rId2"/>
    <p:sldId id="348" r:id="rId3"/>
    <p:sldId id="349" r:id="rId4"/>
    <p:sldId id="370" r:id="rId5"/>
    <p:sldId id="369" r:id="rId6"/>
    <p:sldId id="368" r:id="rId7"/>
    <p:sldId id="350" r:id="rId8"/>
    <p:sldId id="412" r:id="rId9"/>
    <p:sldId id="421" r:id="rId10"/>
    <p:sldId id="420" r:id="rId11"/>
    <p:sldId id="425" r:id="rId12"/>
    <p:sldId id="426" r:id="rId13"/>
    <p:sldId id="423" r:id="rId14"/>
    <p:sldId id="424" r:id="rId15"/>
    <p:sldId id="427" r:id="rId16"/>
    <p:sldId id="306" r:id="rId17"/>
    <p:sldId id="381" r:id="rId18"/>
    <p:sldId id="383" r:id="rId19"/>
    <p:sldId id="384" r:id="rId20"/>
    <p:sldId id="386" r:id="rId21"/>
    <p:sldId id="310" r:id="rId22"/>
    <p:sldId id="313" r:id="rId23"/>
    <p:sldId id="359" r:id="rId24"/>
    <p:sldId id="388" r:id="rId25"/>
    <p:sldId id="389" r:id="rId26"/>
    <p:sldId id="409" r:id="rId27"/>
    <p:sldId id="387" r:id="rId28"/>
    <p:sldId id="390" r:id="rId29"/>
    <p:sldId id="391" r:id="rId30"/>
    <p:sldId id="392" r:id="rId31"/>
    <p:sldId id="393" r:id="rId32"/>
    <p:sldId id="398" r:id="rId33"/>
    <p:sldId id="361" r:id="rId34"/>
    <p:sldId id="366" r:id="rId35"/>
    <p:sldId id="394" r:id="rId36"/>
    <p:sldId id="395" r:id="rId37"/>
    <p:sldId id="396" r:id="rId38"/>
    <p:sldId id="397" r:id="rId39"/>
    <p:sldId id="365" r:id="rId40"/>
    <p:sldId id="367" r:id="rId41"/>
    <p:sldId id="410" r:id="rId42"/>
    <p:sldId id="401" r:id="rId43"/>
    <p:sldId id="399" r:id="rId44"/>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F69C"/>
    <a:srgbClr val="A6A6A6"/>
    <a:srgbClr val="000000"/>
    <a:srgbClr val="D092A7"/>
    <a:srgbClr val="FFBEE8"/>
    <a:srgbClr val="7A620E"/>
    <a:srgbClr val="73B2FF"/>
    <a:srgbClr val="F3A447"/>
    <a:srgbClr val="74B3FF"/>
    <a:srgbClr val="FFAA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476" autoAdjust="0"/>
    <p:restoredTop sz="91709" autoAdjust="0"/>
  </p:normalViewPr>
  <p:slideViewPr>
    <p:cSldViewPr snapToGrid="0">
      <p:cViewPr varScale="1">
        <p:scale>
          <a:sx n="101" d="100"/>
          <a:sy n="101" d="100"/>
        </p:scale>
        <p:origin x="228" y="114"/>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charts/_rels/chart1.xml.rels><?xml version="1.0" encoding="UTF-8" standalone="yes"?>
<Relationships xmlns="http://schemas.openxmlformats.org/package/2006/relationships"><Relationship Id="rId3" Type="http://schemas.openxmlformats.org/officeDocument/2006/relationships/oleObject" Target="https://flpoly-my.sharepoint.com/personal/manshassi_floridapoly_edu/Documents/Projects/SWIFR%20Grant/Capacity%20Activity/Analysis/Finalized%20Spreadsheets/Class%20I%20LFs%20FINAL.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flpoly-my.sharepoint.com/personal/manshassi_floridapoly_edu/Documents/Projects/SWIFR%20Grant/Capacity%20Activity/Analysis/Finalized%20Spreadsheets/Class%20I%20LFs%20FINAL.xlsx" TargetMode="External"/><Relationship Id="rId2" Type="http://schemas.microsoft.com/office/2011/relationships/chartColorStyle" Target="colors14.xml"/><Relationship Id="rId1" Type="http://schemas.microsoft.com/office/2011/relationships/chartStyle" Target="style14.xml"/></Relationships>
</file>

<file path=ppt/charts/_rels/chart11.xml.rels><?xml version="1.0" encoding="UTF-8" standalone="yes"?>
<Relationships xmlns="http://schemas.openxmlformats.org/package/2006/relationships"><Relationship Id="rId3" Type="http://schemas.openxmlformats.org/officeDocument/2006/relationships/oleObject" Target="https://flpoly-my.sharepoint.com/personal/manshassi_floridapoly_edu/Documents/Projects/SWIFR%20Grant/Capacity%20Activity/Analysis/Finalized%20Spreadsheets/Class%20I%20LFs%20FINAL.xlsx" TargetMode="External"/><Relationship Id="rId2" Type="http://schemas.microsoft.com/office/2011/relationships/chartColorStyle" Target="colors15.xml"/><Relationship Id="rId1" Type="http://schemas.microsoft.com/office/2011/relationships/chartStyle" Target="style15.xml"/></Relationships>
</file>

<file path=ppt/charts/_rels/chart12.xml.rels><?xml version="1.0" encoding="UTF-8" standalone="yes"?>
<Relationships xmlns="http://schemas.openxmlformats.org/package/2006/relationships"><Relationship Id="rId3" Type="http://schemas.openxmlformats.org/officeDocument/2006/relationships/oleObject" Target="https://flpoly-my.sharepoint.com/personal/manshassi_floridapoly_edu/Documents/Projects/SWIFR%20Grant/Capacity%20Activity/Analysis/Finalized%20Spreadsheets/Class%20I%20LFs%20FINAL.xlsx" TargetMode="External"/><Relationship Id="rId2" Type="http://schemas.microsoft.com/office/2011/relationships/chartColorStyle" Target="colors16.xml"/><Relationship Id="rId1" Type="http://schemas.microsoft.com/office/2011/relationships/chartStyle" Target="style16.xml"/></Relationships>
</file>

<file path=ppt/charts/_rels/chart13.xml.rels><?xml version="1.0" encoding="UTF-8" standalone="yes"?>
<Relationships xmlns="http://schemas.openxmlformats.org/package/2006/relationships"><Relationship Id="rId3" Type="http://schemas.openxmlformats.org/officeDocument/2006/relationships/oleObject" Target="https://flpoly-my.sharepoint.com/personal/manshassi_floridapoly_edu/Documents/Projects/SWIFR%20Grant/Capacity%20Activity/Analysis/Finalized%20Spreadsheets/Class%20I%20LFs%20FINAL.xlsx" TargetMode="External"/><Relationship Id="rId2" Type="http://schemas.microsoft.com/office/2011/relationships/chartColorStyle" Target="colors17.xml"/><Relationship Id="rId1" Type="http://schemas.microsoft.com/office/2011/relationships/chartStyle" Target="style17.xml"/></Relationships>
</file>

<file path=ppt/charts/_rels/chart14.xml.rels><?xml version="1.0" encoding="UTF-8" standalone="yes"?>
<Relationships xmlns="http://schemas.openxmlformats.org/package/2006/relationships"><Relationship Id="rId3" Type="http://schemas.openxmlformats.org/officeDocument/2006/relationships/oleObject" Target="https://flpoly-my.sharepoint.com/personal/manshassi_floridapoly_edu/Documents/Projects/SWIFR%20Grant/Capacity%20Activity/Analysis/Finalized%20Spreadsheets/Class%20I%20LFs%20FINAL.xlsx" TargetMode="External"/><Relationship Id="rId2" Type="http://schemas.microsoft.com/office/2011/relationships/chartColorStyle" Target="colors18.xml"/><Relationship Id="rId1" Type="http://schemas.microsoft.com/office/2011/relationships/chartStyle" Target="style18.xml"/></Relationships>
</file>

<file path=ppt/charts/_rels/chart15.xml.rels><?xml version="1.0" encoding="UTF-8" standalone="yes"?>
<Relationships xmlns="http://schemas.openxmlformats.org/package/2006/relationships"><Relationship Id="rId3" Type="http://schemas.openxmlformats.org/officeDocument/2006/relationships/oleObject" Target="https://flpoly-my.sharepoint.com/personal/manshassi_floridapoly_edu/Documents/Projects/SWIFR%20Grant/Capacity%20Activity/Analysis/Finalized%20Spreadsheets/Class%20I%20LFs%20FINAL.xlsx" TargetMode="External"/><Relationship Id="rId2" Type="http://schemas.microsoft.com/office/2011/relationships/chartColorStyle" Target="colors19.xml"/><Relationship Id="rId1" Type="http://schemas.microsoft.com/office/2011/relationships/chartStyle" Target="style19.xml"/></Relationships>
</file>

<file path=ppt/charts/_rels/chart16.xml.rels><?xml version="1.0" encoding="UTF-8" standalone="yes"?>
<Relationships xmlns="http://schemas.openxmlformats.org/package/2006/relationships"><Relationship Id="rId3" Type="http://schemas.openxmlformats.org/officeDocument/2006/relationships/oleObject" Target="https://flpoly-my.sharepoint.com/personal/manshassi_floridapoly_edu/Documents/Projects/SWIFR%20Grant/Capacity%20Activity/Analysis/Finalized%20Spreadsheets/Class%20I%20LFs%20FINAL.xlsx" TargetMode="External"/><Relationship Id="rId2" Type="http://schemas.microsoft.com/office/2011/relationships/chartColorStyle" Target="colors20.xml"/><Relationship Id="rId1" Type="http://schemas.microsoft.com/office/2011/relationships/chartStyle" Target="style20.xml"/></Relationships>
</file>

<file path=ppt/charts/_rels/chart2.xml.rels><?xml version="1.0" encoding="UTF-8" standalone="yes"?>
<Relationships xmlns="http://schemas.openxmlformats.org/package/2006/relationships"><Relationship Id="rId3" Type="http://schemas.openxmlformats.org/officeDocument/2006/relationships/oleObject" Target="https://flpoly-my.sharepoint.com/personal/manshassi_floridapoly_edu/Documents/Projects/SWIFR%20Grant/Capacity%20Activity/Analysis/Finalized%20Spreadsheets/Class%20I%20LFs%20FINAL.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flpoly-my.sharepoint.com/personal/manshassi_floridapoly_edu/Documents/Projects/SWIFR%20Grant/Capacity%20Activity/Analysis/Finalized%20Spreadsheets/Class%20I%20LFs%20FINAL.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flpoly-my.sharepoint.com/personal/manshassi_floridapoly_edu/Documents/Projects/SWIFR%20Grant/Capacity%20Activity/Analysis/Finalized%20Spreadsheets/Class%20I%20LFs%20FINAL.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flpoly-my.sharepoint.com/personal/manshassi_floridapoly_edu/Documents/Projects/SWIFR%20Grant/Capacity%20Activity/Analysis/Finalized%20Spreadsheets/Class%20I%20LFs%20FINAL.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flpoly-my.sharepoint.com/personal/manshassi_floridapoly_edu/Documents/Projects/SWIFR%20Grant/Capacity%20Activity/Analysis/Finalized%20Spreadsheets/Class%20I%20LFs%20FINAL.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flpoly-my.sharepoint.com/personal/manshassi_floridapoly_edu/Documents/Projects/SWIFR%20Grant/Capacity%20Activity/Analysis/Finalized%20Spreadsheets/Class%20I%20LFs%20FINAL.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flpoly-my.sharepoint.com/personal/manshassi_floridapoly_edu/Documents/Projects/SWIFR%20Grant/Capacity%20Activity/Analysis/Finalized%20Spreadsheets/Class%20I%20LFs%20FINAL.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flpoly-my.sharepoint.com/personal/manshassi_floridapoly_edu/Documents/Projects/SWIFR%20Grant/Capacity%20Activity/Analysis/Finalized%20Spreadsheets/Class%20I%20LFs%20FINAL.xlsx" TargetMode="External"/><Relationship Id="rId2" Type="http://schemas.microsoft.com/office/2011/relationships/chartColorStyle" Target="colors13.xml"/><Relationship Id="rId1" Type="http://schemas.microsoft.com/office/2011/relationships/chartStyle" Target="style13.xml"/></Relationships>
</file>

<file path=ppt/charts/_rels/chartEx1.xml.rels><?xml version="1.0" encoding="UTF-8" standalone="yes"?>
<Relationships xmlns="http://schemas.openxmlformats.org/package/2006/relationships"><Relationship Id="rId3" Type="http://schemas.microsoft.com/office/2011/relationships/chartColorStyle" Target="colors9.xml"/><Relationship Id="rId2" Type="http://schemas.microsoft.com/office/2011/relationships/chartStyle" Target="style9.xml"/><Relationship Id="rId1" Type="http://schemas.openxmlformats.org/officeDocument/2006/relationships/oleObject" Target="https://flpoly-my.sharepoint.com/personal/manshassi_floridapoly_edu/Documents/Projects/SWIFR%20Grant/Capacity%20Activity/Analysis/Waste%20County%20of%20Origin.xlsx" TargetMode="External"/></Relationships>
</file>

<file path=ppt/charts/_rels/chartEx2.xml.rels><?xml version="1.0" encoding="UTF-8" standalone="yes"?>
<Relationships xmlns="http://schemas.openxmlformats.org/package/2006/relationships"><Relationship Id="rId3" Type="http://schemas.microsoft.com/office/2011/relationships/chartColorStyle" Target="colors10.xml"/><Relationship Id="rId2" Type="http://schemas.microsoft.com/office/2011/relationships/chartStyle" Target="style10.xml"/><Relationship Id="rId1" Type="http://schemas.openxmlformats.org/officeDocument/2006/relationships/oleObject" Target="https://flpoly-my.sharepoint.com/personal/manshassi_floridapoly_edu/Documents/Projects/SWIFR%20Grant/Capacity%20Activity/Analysis/Waste%20County%20of%20Origin.xlsx" TargetMode="External"/></Relationships>
</file>

<file path=ppt/charts/_rels/chartEx3.xml.rels><?xml version="1.0" encoding="UTF-8" standalone="yes"?>
<Relationships xmlns="http://schemas.openxmlformats.org/package/2006/relationships"><Relationship Id="rId3" Type="http://schemas.microsoft.com/office/2011/relationships/chartColorStyle" Target="colors11.xml"/><Relationship Id="rId2" Type="http://schemas.microsoft.com/office/2011/relationships/chartStyle" Target="style11.xml"/><Relationship Id="rId1" Type="http://schemas.openxmlformats.org/officeDocument/2006/relationships/oleObject" Target="https://flpoly-my.sharepoint.com/personal/manshassi_floridapoly_edu/Documents/Projects/SWIFR%20Grant/Capacity%20Activity/Analysis/Waste%20County%20of%20Origin.xlsx" TargetMode="External"/></Relationships>
</file>

<file path=ppt/charts/_rels/chartEx4.xml.rels><?xml version="1.0" encoding="UTF-8" standalone="yes"?>
<Relationships xmlns="http://schemas.openxmlformats.org/package/2006/relationships"><Relationship Id="rId3" Type="http://schemas.microsoft.com/office/2011/relationships/chartColorStyle" Target="colors12.xml"/><Relationship Id="rId2" Type="http://schemas.microsoft.com/office/2011/relationships/chartStyle" Target="style12.xml"/><Relationship Id="rId1" Type="http://schemas.openxmlformats.org/officeDocument/2006/relationships/oleObject" Target="https://flpoly-my.sharepoint.com/personal/manshassi_floridapoly_edu/Documents/Projects/SWIFR%20Grant/Capacity%20Activity/Analysis/Waste%20County%20of%20Origin.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4"/>
          <c:order val="0"/>
          <c:tx>
            <c:strRef>
              <c:f>'Data Analysis'!$D$82</c:f>
              <c:strCache>
                <c:ptCount val="1"/>
                <c:pt idx="0">
                  <c:v>Permitted Capacity </c:v>
                </c:pt>
              </c:strCache>
            </c:strRef>
          </c:tx>
          <c:spPr>
            <a:ln w="28575" cap="rnd">
              <a:solidFill>
                <a:schemeClr val="accent5"/>
              </a:solidFill>
              <a:prstDash val="lgDash"/>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D$83:$D$123</c:f>
              <c:numCache>
                <c:formatCode>#,##0</c:formatCode>
                <c:ptCount val="41"/>
                <c:pt idx="0">
                  <c:v>458050905.78407818</c:v>
                </c:pt>
                <c:pt idx="1">
                  <c:v>458050905.78407818</c:v>
                </c:pt>
                <c:pt idx="2">
                  <c:v>458050905.78407818</c:v>
                </c:pt>
                <c:pt idx="3">
                  <c:v>458050905.78407818</c:v>
                </c:pt>
                <c:pt idx="4">
                  <c:v>458050905.78407818</c:v>
                </c:pt>
                <c:pt idx="5">
                  <c:v>458050905.78407818</c:v>
                </c:pt>
                <c:pt idx="6">
                  <c:v>458050905.78407818</c:v>
                </c:pt>
                <c:pt idx="7">
                  <c:v>458050905.78407818</c:v>
                </c:pt>
                <c:pt idx="8">
                  <c:v>458050905.78407818</c:v>
                </c:pt>
                <c:pt idx="9">
                  <c:v>458050905.78407818</c:v>
                </c:pt>
                <c:pt idx="10">
                  <c:v>458050905.78407818</c:v>
                </c:pt>
                <c:pt idx="11">
                  <c:v>458050905.78407818</c:v>
                </c:pt>
                <c:pt idx="12">
                  <c:v>458050905.78407818</c:v>
                </c:pt>
                <c:pt idx="13">
                  <c:v>458050905.78407818</c:v>
                </c:pt>
                <c:pt idx="14">
                  <c:v>458050905.78407818</c:v>
                </c:pt>
                <c:pt idx="15">
                  <c:v>458050905.78407818</c:v>
                </c:pt>
                <c:pt idx="16">
                  <c:v>458050905.78407818</c:v>
                </c:pt>
                <c:pt idx="17">
                  <c:v>458050905.78407818</c:v>
                </c:pt>
                <c:pt idx="18">
                  <c:v>458050905.78407818</c:v>
                </c:pt>
                <c:pt idx="19">
                  <c:v>458050905.78407818</c:v>
                </c:pt>
                <c:pt idx="20">
                  <c:v>458050905.78407818</c:v>
                </c:pt>
                <c:pt idx="21">
                  <c:v>458050905.78407818</c:v>
                </c:pt>
                <c:pt idx="22">
                  <c:v>458050905.78407818</c:v>
                </c:pt>
                <c:pt idx="23">
                  <c:v>458050905.78407818</c:v>
                </c:pt>
                <c:pt idx="24">
                  <c:v>458050905.78407818</c:v>
                </c:pt>
                <c:pt idx="25">
                  <c:v>458050905.78407818</c:v>
                </c:pt>
                <c:pt idx="26">
                  <c:v>458050905.78407818</c:v>
                </c:pt>
                <c:pt idx="27">
                  <c:v>458050905.78407818</c:v>
                </c:pt>
                <c:pt idx="28">
                  <c:v>458050905.78407818</c:v>
                </c:pt>
                <c:pt idx="29">
                  <c:v>458050905.78407818</c:v>
                </c:pt>
                <c:pt idx="30">
                  <c:v>458050905.78407818</c:v>
                </c:pt>
                <c:pt idx="31">
                  <c:v>458050905.78407818</c:v>
                </c:pt>
                <c:pt idx="32">
                  <c:v>458050905.78407818</c:v>
                </c:pt>
                <c:pt idx="33">
                  <c:v>458050905.78407818</c:v>
                </c:pt>
                <c:pt idx="34">
                  <c:v>458050905.78407818</c:v>
                </c:pt>
                <c:pt idx="35">
                  <c:v>458050905.78407818</c:v>
                </c:pt>
                <c:pt idx="36">
                  <c:v>458050905.78407818</c:v>
                </c:pt>
                <c:pt idx="37">
                  <c:v>458050905.78407818</c:v>
                </c:pt>
                <c:pt idx="38">
                  <c:v>458050905.78407818</c:v>
                </c:pt>
                <c:pt idx="39">
                  <c:v>458050905.78407818</c:v>
                </c:pt>
                <c:pt idx="40">
                  <c:v>458050905.78407818</c:v>
                </c:pt>
              </c:numCache>
              <c:extLst/>
            </c:numRef>
          </c:val>
          <c:smooth val="0"/>
          <c:extLst>
            <c:ext xmlns:c16="http://schemas.microsoft.com/office/drawing/2014/chart" uri="{C3380CC4-5D6E-409C-BE32-E72D297353CC}">
              <c16:uniqueId val="{00000000-1EDD-4DD7-A2B5-D3DC27FC73CB}"/>
            </c:ext>
          </c:extLst>
        </c:ser>
        <c:dLbls>
          <c:showLegendKey val="0"/>
          <c:showVal val="0"/>
          <c:showCatName val="0"/>
          <c:showSerName val="0"/>
          <c:showPercent val="0"/>
          <c:showBubbleSize val="0"/>
        </c:dLbls>
        <c:smooth val="0"/>
        <c:axId val="1341526047"/>
        <c:axId val="1343039903"/>
      </c:lineChart>
      <c:catAx>
        <c:axId val="1341526047"/>
        <c:scaling>
          <c:orientation val="minMax"/>
        </c:scaling>
        <c:delete val="0"/>
        <c:axPos val="b"/>
        <c:numFmt formatCode="General" sourceLinked="1"/>
        <c:majorTickMark val="cross"/>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343039903"/>
        <c:crosses val="autoZero"/>
        <c:auto val="0"/>
        <c:lblAlgn val="ctr"/>
        <c:lblOffset val="100"/>
        <c:tickLblSkip val="4"/>
        <c:noMultiLvlLbl val="0"/>
      </c:catAx>
      <c:valAx>
        <c:axId val="1343039903"/>
        <c:scaling>
          <c:orientation val="minMax"/>
          <c:max val="50000000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a:t>Millions of Class I Landfill Tons</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341526047"/>
        <c:crosses val="autoZero"/>
        <c:crossBetween val="midCat"/>
        <c:dispUnits>
          <c:builtInUnit val="million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v>Permitted</c:v>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 Analysis'!$B$72:$B$77</c:f>
              <c:strCache>
                <c:ptCount val="6"/>
                <c:pt idx="0">
                  <c:v>Central</c:v>
                </c:pt>
                <c:pt idx="1">
                  <c:v>Northeast</c:v>
                </c:pt>
                <c:pt idx="2">
                  <c:v>Northwest</c:v>
                </c:pt>
                <c:pt idx="3">
                  <c:v>South</c:v>
                </c:pt>
                <c:pt idx="4">
                  <c:v>Southeast</c:v>
                </c:pt>
                <c:pt idx="5">
                  <c:v>Southwest</c:v>
                </c:pt>
              </c:strCache>
            </c:strRef>
          </c:cat>
          <c:val>
            <c:numRef>
              <c:f>'Data Analysis'!$E$72:$E$77</c:f>
              <c:numCache>
                <c:formatCode>General</c:formatCode>
                <c:ptCount val="6"/>
                <c:pt idx="0">
                  <c:v>18</c:v>
                </c:pt>
                <c:pt idx="1">
                  <c:v>23</c:v>
                </c:pt>
                <c:pt idx="2">
                  <c:v>14</c:v>
                </c:pt>
                <c:pt idx="3">
                  <c:v>13</c:v>
                </c:pt>
                <c:pt idx="4">
                  <c:v>13</c:v>
                </c:pt>
                <c:pt idx="5">
                  <c:v>16</c:v>
                </c:pt>
              </c:numCache>
            </c:numRef>
          </c:val>
          <c:extLst>
            <c:ext xmlns:c16="http://schemas.microsoft.com/office/drawing/2014/chart" uri="{C3380CC4-5D6E-409C-BE32-E72D297353CC}">
              <c16:uniqueId val="{00000000-10EA-435F-866D-EA20D6C26C44}"/>
            </c:ext>
          </c:extLst>
        </c:ser>
        <c:dLbls>
          <c:dLblPos val="outEnd"/>
          <c:showLegendKey val="0"/>
          <c:showVal val="1"/>
          <c:showCatName val="0"/>
          <c:showSerName val="0"/>
          <c:showPercent val="0"/>
          <c:showBubbleSize val="0"/>
        </c:dLbls>
        <c:gapWidth val="100"/>
        <c:overlap val="-27"/>
        <c:axId val="988428767"/>
        <c:axId val="988429247"/>
      </c:barChart>
      <c:catAx>
        <c:axId val="9884287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988429247"/>
        <c:crosses val="autoZero"/>
        <c:auto val="1"/>
        <c:lblAlgn val="ctr"/>
        <c:lblOffset val="100"/>
        <c:noMultiLvlLbl val="0"/>
      </c:catAx>
      <c:valAx>
        <c:axId val="988429247"/>
        <c:scaling>
          <c:orientation val="minMax"/>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dirty="0"/>
                  <a:t>Full Years of Permitted Class I Landfill Capacity Remaining as of Jan. 1, 2025</a:t>
                </a:r>
              </a:p>
              <a:p>
                <a:pPr>
                  <a:defRPr/>
                </a:pPr>
                <a:endParaRPr lang="en-US" dirty="0"/>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98842876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Data Analysis'!$C$53</c:f>
              <c:strCache>
                <c:ptCount val="1"/>
                <c:pt idx="0">
                  <c:v>Landfill 1</c:v>
                </c:pt>
              </c:strCache>
            </c:strRef>
          </c:tx>
          <c:spPr>
            <a:solidFill>
              <a:schemeClr val="accent1"/>
            </a:solidFill>
            <a:ln>
              <a:noFill/>
            </a:ln>
            <a:effectLst/>
          </c:spPr>
          <c:invertIfNegative val="0"/>
          <c:cat>
            <c:strRef>
              <c:f>'Data Analysis'!$B$63:$B$68</c:f>
              <c:strCache>
                <c:ptCount val="6"/>
                <c:pt idx="0">
                  <c:v>Central</c:v>
                </c:pt>
                <c:pt idx="1">
                  <c:v>Northeast</c:v>
                </c:pt>
                <c:pt idx="2">
                  <c:v>Northwest</c:v>
                </c:pt>
                <c:pt idx="3">
                  <c:v>South</c:v>
                </c:pt>
                <c:pt idx="4">
                  <c:v>Southeast</c:v>
                </c:pt>
                <c:pt idx="5">
                  <c:v>Southwest</c:v>
                </c:pt>
              </c:strCache>
            </c:strRef>
          </c:cat>
          <c:val>
            <c:numRef>
              <c:f>'Data Analysis'!$C$63:$C$68</c:f>
              <c:numCache>
                <c:formatCode>#,##0</c:formatCode>
                <c:ptCount val="6"/>
                <c:pt idx="0">
                  <c:v>3927784.6779726031</c:v>
                </c:pt>
                <c:pt idx="1">
                  <c:v>729382.27687671233</c:v>
                </c:pt>
                <c:pt idx="2">
                  <c:v>2055147.7676438359</c:v>
                </c:pt>
                <c:pt idx="3">
                  <c:v>1007789.155150685</c:v>
                </c:pt>
                <c:pt idx="4">
                  <c:v>26936.089698630138</c:v>
                </c:pt>
                <c:pt idx="5">
                  <c:v>411662.2714109589</c:v>
                </c:pt>
              </c:numCache>
            </c:numRef>
          </c:val>
          <c:extLst>
            <c:ext xmlns:c16="http://schemas.microsoft.com/office/drawing/2014/chart" uri="{C3380CC4-5D6E-409C-BE32-E72D297353CC}">
              <c16:uniqueId val="{00000000-59C8-40D3-A503-AF998C9F6258}"/>
            </c:ext>
          </c:extLst>
        </c:ser>
        <c:ser>
          <c:idx val="1"/>
          <c:order val="1"/>
          <c:tx>
            <c:strRef>
              <c:f>'Data Analysis'!$D$53</c:f>
              <c:strCache>
                <c:ptCount val="1"/>
                <c:pt idx="0">
                  <c:v>Landfill 2</c:v>
                </c:pt>
              </c:strCache>
            </c:strRef>
          </c:tx>
          <c:spPr>
            <a:solidFill>
              <a:schemeClr val="accent2"/>
            </a:solidFill>
            <a:ln>
              <a:noFill/>
            </a:ln>
            <a:effectLst/>
          </c:spPr>
          <c:invertIfNegative val="0"/>
          <c:cat>
            <c:strRef>
              <c:f>'Data Analysis'!$B$63:$B$68</c:f>
              <c:strCache>
                <c:ptCount val="6"/>
                <c:pt idx="0">
                  <c:v>Central</c:v>
                </c:pt>
                <c:pt idx="1">
                  <c:v>Northeast</c:v>
                </c:pt>
                <c:pt idx="2">
                  <c:v>Northwest</c:v>
                </c:pt>
                <c:pt idx="3">
                  <c:v>South</c:v>
                </c:pt>
                <c:pt idx="4">
                  <c:v>Southeast</c:v>
                </c:pt>
                <c:pt idx="5">
                  <c:v>Southwest</c:v>
                </c:pt>
              </c:strCache>
            </c:strRef>
          </c:cat>
          <c:val>
            <c:numRef>
              <c:f>'Data Analysis'!$D$63:$D$68</c:f>
              <c:numCache>
                <c:formatCode>#,##0</c:formatCode>
                <c:ptCount val="6"/>
                <c:pt idx="0">
                  <c:v>0</c:v>
                </c:pt>
                <c:pt idx="1">
                  <c:v>4570212.4085479453</c:v>
                </c:pt>
                <c:pt idx="2">
                  <c:v>3549857.2371232877</c:v>
                </c:pt>
                <c:pt idx="3">
                  <c:v>5969773.0890410962</c:v>
                </c:pt>
                <c:pt idx="4">
                  <c:v>6283183.3071232876</c:v>
                </c:pt>
                <c:pt idx="5">
                  <c:v>379222.16893150687</c:v>
                </c:pt>
              </c:numCache>
            </c:numRef>
          </c:val>
          <c:extLst>
            <c:ext xmlns:c16="http://schemas.microsoft.com/office/drawing/2014/chart" uri="{C3380CC4-5D6E-409C-BE32-E72D297353CC}">
              <c16:uniqueId val="{00000001-59C8-40D3-A503-AF998C9F6258}"/>
            </c:ext>
          </c:extLst>
        </c:ser>
        <c:ser>
          <c:idx val="2"/>
          <c:order val="2"/>
          <c:tx>
            <c:strRef>
              <c:f>'Data Analysis'!$E$53</c:f>
              <c:strCache>
                <c:ptCount val="1"/>
                <c:pt idx="0">
                  <c:v>Landfill 3</c:v>
                </c:pt>
              </c:strCache>
            </c:strRef>
          </c:tx>
          <c:spPr>
            <a:solidFill>
              <a:schemeClr val="accent3"/>
            </a:solidFill>
            <a:ln>
              <a:noFill/>
            </a:ln>
            <a:effectLst/>
          </c:spPr>
          <c:invertIfNegative val="0"/>
          <c:cat>
            <c:strRef>
              <c:f>'Data Analysis'!$B$63:$B$68</c:f>
              <c:strCache>
                <c:ptCount val="6"/>
                <c:pt idx="0">
                  <c:v>Central</c:v>
                </c:pt>
                <c:pt idx="1">
                  <c:v>Northeast</c:v>
                </c:pt>
                <c:pt idx="2">
                  <c:v>Northwest</c:v>
                </c:pt>
                <c:pt idx="3">
                  <c:v>South</c:v>
                </c:pt>
                <c:pt idx="4">
                  <c:v>Southeast</c:v>
                </c:pt>
                <c:pt idx="5">
                  <c:v>Southwest</c:v>
                </c:pt>
              </c:strCache>
            </c:strRef>
          </c:cat>
          <c:val>
            <c:numRef>
              <c:f>'Data Analysis'!$E$63:$E$68</c:f>
              <c:numCache>
                <c:formatCode>#,##0</c:formatCode>
                <c:ptCount val="6"/>
                <c:pt idx="0">
                  <c:v>456594</c:v>
                </c:pt>
                <c:pt idx="1">
                  <c:v>1936106.0184794518</c:v>
                </c:pt>
                <c:pt idx="2">
                  <c:v>1825971.819178082</c:v>
                </c:pt>
                <c:pt idx="3">
                  <c:v>175375.59506849316</c:v>
                </c:pt>
                <c:pt idx="4">
                  <c:v>3257300.3136986303</c:v>
                </c:pt>
                <c:pt idx="5">
                  <c:v>491644.16368493153</c:v>
                </c:pt>
              </c:numCache>
            </c:numRef>
          </c:val>
          <c:extLst>
            <c:ext xmlns:c16="http://schemas.microsoft.com/office/drawing/2014/chart" uri="{C3380CC4-5D6E-409C-BE32-E72D297353CC}">
              <c16:uniqueId val="{00000002-59C8-40D3-A503-AF998C9F6258}"/>
            </c:ext>
          </c:extLst>
        </c:ser>
        <c:ser>
          <c:idx val="3"/>
          <c:order val="3"/>
          <c:tx>
            <c:strRef>
              <c:f>'Data Analysis'!$F$53</c:f>
              <c:strCache>
                <c:ptCount val="1"/>
                <c:pt idx="0">
                  <c:v>Landfill 4</c:v>
                </c:pt>
              </c:strCache>
            </c:strRef>
          </c:tx>
          <c:spPr>
            <a:solidFill>
              <a:schemeClr val="accent4"/>
            </a:solidFill>
            <a:ln>
              <a:noFill/>
            </a:ln>
            <a:effectLst/>
          </c:spPr>
          <c:invertIfNegative val="0"/>
          <c:cat>
            <c:strRef>
              <c:f>'Data Analysis'!$B$63:$B$68</c:f>
              <c:strCache>
                <c:ptCount val="6"/>
                <c:pt idx="0">
                  <c:v>Central</c:v>
                </c:pt>
                <c:pt idx="1">
                  <c:v>Northeast</c:v>
                </c:pt>
                <c:pt idx="2">
                  <c:v>Northwest</c:v>
                </c:pt>
                <c:pt idx="3">
                  <c:v>South</c:v>
                </c:pt>
                <c:pt idx="4">
                  <c:v>Southeast</c:v>
                </c:pt>
                <c:pt idx="5">
                  <c:v>Southwest</c:v>
                </c:pt>
              </c:strCache>
            </c:strRef>
          </c:cat>
          <c:val>
            <c:numRef>
              <c:f>'Data Analysis'!$F$63:$F$68</c:f>
              <c:numCache>
                <c:formatCode>#,##0</c:formatCode>
                <c:ptCount val="6"/>
                <c:pt idx="0">
                  <c:v>5397735.0974794524</c:v>
                </c:pt>
                <c:pt idx="1">
                  <c:v>463883.52509589039</c:v>
                </c:pt>
                <c:pt idx="2">
                  <c:v>0</c:v>
                </c:pt>
                <c:pt idx="3">
                  <c:v>1336269.0988424658</c:v>
                </c:pt>
                <c:pt idx="4">
                  <c:v>7600757.2261917815</c:v>
                </c:pt>
                <c:pt idx="5">
                  <c:v>3368446.0062328768</c:v>
                </c:pt>
              </c:numCache>
            </c:numRef>
          </c:val>
          <c:extLst>
            <c:ext xmlns:c16="http://schemas.microsoft.com/office/drawing/2014/chart" uri="{C3380CC4-5D6E-409C-BE32-E72D297353CC}">
              <c16:uniqueId val="{00000003-59C8-40D3-A503-AF998C9F6258}"/>
            </c:ext>
          </c:extLst>
        </c:ser>
        <c:ser>
          <c:idx val="4"/>
          <c:order val="4"/>
          <c:tx>
            <c:strRef>
              <c:f>'Data Analysis'!$G$53</c:f>
              <c:strCache>
                <c:ptCount val="1"/>
                <c:pt idx="0">
                  <c:v>Landfill 5</c:v>
                </c:pt>
              </c:strCache>
            </c:strRef>
          </c:tx>
          <c:spPr>
            <a:solidFill>
              <a:schemeClr val="accent5"/>
            </a:solidFill>
            <a:ln>
              <a:noFill/>
            </a:ln>
            <a:effectLst/>
          </c:spPr>
          <c:invertIfNegative val="0"/>
          <c:cat>
            <c:strRef>
              <c:f>'Data Analysis'!$B$63:$B$68</c:f>
              <c:strCache>
                <c:ptCount val="6"/>
                <c:pt idx="0">
                  <c:v>Central</c:v>
                </c:pt>
                <c:pt idx="1">
                  <c:v>Northeast</c:v>
                </c:pt>
                <c:pt idx="2">
                  <c:v>Northwest</c:v>
                </c:pt>
                <c:pt idx="3">
                  <c:v>South</c:v>
                </c:pt>
                <c:pt idx="4">
                  <c:v>Southeast</c:v>
                </c:pt>
                <c:pt idx="5">
                  <c:v>Southwest</c:v>
                </c:pt>
              </c:strCache>
            </c:strRef>
          </c:cat>
          <c:val>
            <c:numRef>
              <c:f>'Data Analysis'!$G$63:$G$68</c:f>
              <c:numCache>
                <c:formatCode>#,##0</c:formatCode>
                <c:ptCount val="6"/>
                <c:pt idx="0">
                  <c:v>2167044.5751506854</c:v>
                </c:pt>
                <c:pt idx="1">
                  <c:v>1906047.0821917807</c:v>
                </c:pt>
                <c:pt idx="2">
                  <c:v>475919.54630136985</c:v>
                </c:pt>
                <c:pt idx="3">
                  <c:v>27424.720602739748</c:v>
                </c:pt>
                <c:pt idx="4">
                  <c:v>4199275.8647123287</c:v>
                </c:pt>
                <c:pt idx="5">
                  <c:v>5192388.7001095889</c:v>
                </c:pt>
              </c:numCache>
            </c:numRef>
          </c:val>
          <c:extLst>
            <c:ext xmlns:c16="http://schemas.microsoft.com/office/drawing/2014/chart" uri="{C3380CC4-5D6E-409C-BE32-E72D297353CC}">
              <c16:uniqueId val="{00000004-59C8-40D3-A503-AF998C9F6258}"/>
            </c:ext>
          </c:extLst>
        </c:ser>
        <c:ser>
          <c:idx val="5"/>
          <c:order val="5"/>
          <c:tx>
            <c:strRef>
              <c:f>'Data Analysis'!$H$53</c:f>
              <c:strCache>
                <c:ptCount val="1"/>
                <c:pt idx="0">
                  <c:v>Landfill 6</c:v>
                </c:pt>
              </c:strCache>
            </c:strRef>
          </c:tx>
          <c:spPr>
            <a:solidFill>
              <a:schemeClr val="accent6"/>
            </a:solidFill>
            <a:ln>
              <a:noFill/>
            </a:ln>
            <a:effectLst/>
          </c:spPr>
          <c:invertIfNegative val="0"/>
          <c:cat>
            <c:strRef>
              <c:f>'Data Analysis'!$B$63:$B$68</c:f>
              <c:strCache>
                <c:ptCount val="6"/>
                <c:pt idx="0">
                  <c:v>Central</c:v>
                </c:pt>
                <c:pt idx="1">
                  <c:v>Northeast</c:v>
                </c:pt>
                <c:pt idx="2">
                  <c:v>Northwest</c:v>
                </c:pt>
                <c:pt idx="3">
                  <c:v>South</c:v>
                </c:pt>
                <c:pt idx="4">
                  <c:v>Southeast</c:v>
                </c:pt>
                <c:pt idx="5">
                  <c:v>Southwest</c:v>
                </c:pt>
              </c:strCache>
            </c:strRef>
          </c:cat>
          <c:val>
            <c:numRef>
              <c:f>'Data Analysis'!$H$63:$H$68</c:f>
              <c:numCache>
                <c:formatCode>General</c:formatCode>
                <c:ptCount val="6"/>
                <c:pt idx="0" formatCode="#,##0">
                  <c:v>15454854.096290559</c:v>
                </c:pt>
                <c:pt idx="3" formatCode="#,##0">
                  <c:v>0</c:v>
                </c:pt>
                <c:pt idx="4" formatCode="#,##0">
                  <c:v>2030681.8911232878</c:v>
                </c:pt>
                <c:pt idx="5" formatCode="#,##0">
                  <c:v>377094.73265753424</c:v>
                </c:pt>
              </c:numCache>
            </c:numRef>
          </c:val>
          <c:extLst>
            <c:ext xmlns:c16="http://schemas.microsoft.com/office/drawing/2014/chart" uri="{C3380CC4-5D6E-409C-BE32-E72D297353CC}">
              <c16:uniqueId val="{00000005-59C8-40D3-A503-AF998C9F6258}"/>
            </c:ext>
          </c:extLst>
        </c:ser>
        <c:ser>
          <c:idx val="6"/>
          <c:order val="6"/>
          <c:tx>
            <c:strRef>
              <c:f>'Data Analysis'!$I$53</c:f>
              <c:strCache>
                <c:ptCount val="1"/>
                <c:pt idx="0">
                  <c:v>Landfill 7</c:v>
                </c:pt>
              </c:strCache>
            </c:strRef>
          </c:tx>
          <c:spPr>
            <a:solidFill>
              <a:schemeClr val="accent1">
                <a:lumMod val="60000"/>
              </a:schemeClr>
            </a:solidFill>
            <a:ln>
              <a:noFill/>
            </a:ln>
            <a:effectLst/>
          </c:spPr>
          <c:invertIfNegative val="0"/>
          <c:cat>
            <c:strRef>
              <c:f>'Data Analysis'!$B$63:$B$68</c:f>
              <c:strCache>
                <c:ptCount val="6"/>
                <c:pt idx="0">
                  <c:v>Central</c:v>
                </c:pt>
                <c:pt idx="1">
                  <c:v>Northeast</c:v>
                </c:pt>
                <c:pt idx="2">
                  <c:v>Northwest</c:v>
                </c:pt>
                <c:pt idx="3">
                  <c:v>South</c:v>
                </c:pt>
                <c:pt idx="4">
                  <c:v>Southeast</c:v>
                </c:pt>
                <c:pt idx="5">
                  <c:v>Southwest</c:v>
                </c:pt>
              </c:strCache>
            </c:strRef>
          </c:cat>
          <c:val>
            <c:numRef>
              <c:f>'Data Analysis'!$I$63:$I$68</c:f>
              <c:numCache>
                <c:formatCode>General</c:formatCode>
                <c:ptCount val="6"/>
                <c:pt idx="0" formatCode="#,##0">
                  <c:v>4356297.3323835619</c:v>
                </c:pt>
                <c:pt idx="3" formatCode="#,##0">
                  <c:v>6868032.8410958899</c:v>
                </c:pt>
                <c:pt idx="4" formatCode="#,##0">
                  <c:v>2077068.2810958903</c:v>
                </c:pt>
                <c:pt idx="5" formatCode="#,##0">
                  <c:v>16547370.082787672</c:v>
                </c:pt>
              </c:numCache>
            </c:numRef>
          </c:val>
          <c:extLst>
            <c:ext xmlns:c16="http://schemas.microsoft.com/office/drawing/2014/chart" uri="{C3380CC4-5D6E-409C-BE32-E72D297353CC}">
              <c16:uniqueId val="{00000006-59C8-40D3-A503-AF998C9F6258}"/>
            </c:ext>
          </c:extLst>
        </c:ser>
        <c:ser>
          <c:idx val="7"/>
          <c:order val="7"/>
          <c:tx>
            <c:strRef>
              <c:f>'Data Analysis'!$J$53</c:f>
              <c:strCache>
                <c:ptCount val="1"/>
                <c:pt idx="0">
                  <c:v>Landfill 8</c:v>
                </c:pt>
              </c:strCache>
            </c:strRef>
          </c:tx>
          <c:spPr>
            <a:solidFill>
              <a:schemeClr val="accent2">
                <a:lumMod val="60000"/>
              </a:schemeClr>
            </a:solidFill>
            <a:ln>
              <a:noFill/>
            </a:ln>
            <a:effectLst/>
          </c:spPr>
          <c:invertIfNegative val="0"/>
          <c:cat>
            <c:strRef>
              <c:f>'Data Analysis'!$B$63:$B$68</c:f>
              <c:strCache>
                <c:ptCount val="6"/>
                <c:pt idx="0">
                  <c:v>Central</c:v>
                </c:pt>
                <c:pt idx="1">
                  <c:v>Northeast</c:v>
                </c:pt>
                <c:pt idx="2">
                  <c:v>Northwest</c:v>
                </c:pt>
                <c:pt idx="3">
                  <c:v>South</c:v>
                </c:pt>
                <c:pt idx="4">
                  <c:v>Southeast</c:v>
                </c:pt>
                <c:pt idx="5">
                  <c:v>Southwest</c:v>
                </c:pt>
              </c:strCache>
            </c:strRef>
          </c:cat>
          <c:val>
            <c:numRef>
              <c:f>'Data Analysis'!$J$63:$J$68</c:f>
              <c:numCache>
                <c:formatCode>General</c:formatCode>
                <c:ptCount val="6"/>
                <c:pt idx="0" formatCode="#,##0">
                  <c:v>982532.85821917816</c:v>
                </c:pt>
                <c:pt idx="4" formatCode="#,##0">
                  <c:v>486239.18149315065</c:v>
                </c:pt>
                <c:pt idx="5" formatCode="#,##0">
                  <c:v>3787671.3052054793</c:v>
                </c:pt>
              </c:numCache>
            </c:numRef>
          </c:val>
          <c:extLst>
            <c:ext xmlns:c16="http://schemas.microsoft.com/office/drawing/2014/chart" uri="{C3380CC4-5D6E-409C-BE32-E72D297353CC}">
              <c16:uniqueId val="{00000007-59C8-40D3-A503-AF998C9F6258}"/>
            </c:ext>
          </c:extLst>
        </c:ser>
        <c:ser>
          <c:idx val="8"/>
          <c:order val="8"/>
          <c:tx>
            <c:strRef>
              <c:f>'Data Analysis'!$K$53</c:f>
              <c:strCache>
                <c:ptCount val="1"/>
                <c:pt idx="0">
                  <c:v>Landfill 9</c:v>
                </c:pt>
              </c:strCache>
            </c:strRef>
          </c:tx>
          <c:spPr>
            <a:solidFill>
              <a:schemeClr val="accent3">
                <a:lumMod val="60000"/>
              </a:schemeClr>
            </a:solidFill>
            <a:ln>
              <a:noFill/>
            </a:ln>
            <a:effectLst/>
          </c:spPr>
          <c:invertIfNegative val="0"/>
          <c:cat>
            <c:strRef>
              <c:f>'Data Analysis'!$B$63:$B$68</c:f>
              <c:strCache>
                <c:ptCount val="6"/>
                <c:pt idx="0">
                  <c:v>Central</c:v>
                </c:pt>
                <c:pt idx="1">
                  <c:v>Northeast</c:v>
                </c:pt>
                <c:pt idx="2">
                  <c:v>Northwest</c:v>
                </c:pt>
                <c:pt idx="3">
                  <c:v>South</c:v>
                </c:pt>
                <c:pt idx="4">
                  <c:v>Southeast</c:v>
                </c:pt>
                <c:pt idx="5">
                  <c:v>Southwest</c:v>
                </c:pt>
              </c:strCache>
            </c:strRef>
          </c:cat>
          <c:val>
            <c:numRef>
              <c:f>'Data Analysis'!$K$63:$K$68</c:f>
              <c:numCache>
                <c:formatCode>General</c:formatCode>
                <c:ptCount val="6"/>
                <c:pt idx="5" formatCode="#,##0">
                  <c:v>902357.64068493166</c:v>
                </c:pt>
              </c:numCache>
            </c:numRef>
          </c:val>
          <c:extLst>
            <c:ext xmlns:c16="http://schemas.microsoft.com/office/drawing/2014/chart" uri="{C3380CC4-5D6E-409C-BE32-E72D297353CC}">
              <c16:uniqueId val="{00000008-59C8-40D3-A503-AF998C9F6258}"/>
            </c:ext>
          </c:extLst>
        </c:ser>
        <c:dLbls>
          <c:showLegendKey val="0"/>
          <c:showVal val="0"/>
          <c:showCatName val="0"/>
          <c:showSerName val="0"/>
          <c:showPercent val="0"/>
          <c:showBubbleSize val="0"/>
        </c:dLbls>
        <c:gapWidth val="70"/>
        <c:overlap val="100"/>
        <c:axId val="772881184"/>
        <c:axId val="772880224"/>
      </c:barChart>
      <c:catAx>
        <c:axId val="772881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772880224"/>
        <c:crosses val="autoZero"/>
        <c:auto val="1"/>
        <c:lblAlgn val="ctr"/>
        <c:lblOffset val="100"/>
        <c:noMultiLvlLbl val="0"/>
      </c:catAx>
      <c:valAx>
        <c:axId val="772880224"/>
        <c:scaling>
          <c:orientation val="minMax"/>
          <c:max val="16000000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a:t>Constructed Class I Landfill Capacity Remaining as of Jan. 1, 2025 </a:t>
                </a:r>
              </a:p>
              <a:p>
                <a:pPr>
                  <a:defRPr/>
                </a:pPr>
                <a:r>
                  <a:rPr lang="en-US"/>
                  <a:t>(millions of tons)</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772881184"/>
        <c:crosses val="autoZero"/>
        <c:crossBetween val="between"/>
        <c:dispUnits>
          <c:builtInUnit val="million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Data Analysis'!$C$53</c:f>
              <c:strCache>
                <c:ptCount val="1"/>
                <c:pt idx="0">
                  <c:v>Landfill 1</c:v>
                </c:pt>
              </c:strCache>
            </c:strRef>
          </c:tx>
          <c:spPr>
            <a:solidFill>
              <a:schemeClr val="accent1"/>
            </a:solidFill>
            <a:ln>
              <a:noFill/>
            </a:ln>
            <a:effectLst/>
          </c:spPr>
          <c:invertIfNegative val="0"/>
          <c:cat>
            <c:strRef>
              <c:f>'Data Analysis'!$B$63:$B$68</c:f>
              <c:strCache>
                <c:ptCount val="6"/>
                <c:pt idx="0">
                  <c:v>Central</c:v>
                </c:pt>
                <c:pt idx="1">
                  <c:v>Northeast</c:v>
                </c:pt>
                <c:pt idx="2">
                  <c:v>Northwest</c:v>
                </c:pt>
                <c:pt idx="3">
                  <c:v>South</c:v>
                </c:pt>
                <c:pt idx="4">
                  <c:v>Southeast</c:v>
                </c:pt>
                <c:pt idx="5">
                  <c:v>Southwest</c:v>
                </c:pt>
              </c:strCache>
            </c:strRef>
          </c:cat>
          <c:val>
            <c:numRef>
              <c:f>'Data Analysis'!$C$63:$C$68</c:f>
              <c:numCache>
                <c:formatCode>#,##0</c:formatCode>
                <c:ptCount val="6"/>
                <c:pt idx="0">
                  <c:v>3927784.6779726031</c:v>
                </c:pt>
                <c:pt idx="1">
                  <c:v>729382.27687671233</c:v>
                </c:pt>
                <c:pt idx="2">
                  <c:v>2055147.7676438359</c:v>
                </c:pt>
                <c:pt idx="3">
                  <c:v>1007789.155150685</c:v>
                </c:pt>
                <c:pt idx="4">
                  <c:v>26936.089698630138</c:v>
                </c:pt>
                <c:pt idx="5">
                  <c:v>411662.2714109589</c:v>
                </c:pt>
              </c:numCache>
            </c:numRef>
          </c:val>
          <c:extLst>
            <c:ext xmlns:c16="http://schemas.microsoft.com/office/drawing/2014/chart" uri="{C3380CC4-5D6E-409C-BE32-E72D297353CC}">
              <c16:uniqueId val="{00000000-363F-8440-A7CB-132C6BD5C1E7}"/>
            </c:ext>
          </c:extLst>
        </c:ser>
        <c:ser>
          <c:idx val="1"/>
          <c:order val="1"/>
          <c:tx>
            <c:strRef>
              <c:f>'Data Analysis'!$D$53</c:f>
              <c:strCache>
                <c:ptCount val="1"/>
                <c:pt idx="0">
                  <c:v>Landfill 2</c:v>
                </c:pt>
              </c:strCache>
            </c:strRef>
          </c:tx>
          <c:spPr>
            <a:solidFill>
              <a:schemeClr val="accent2"/>
            </a:solidFill>
            <a:ln>
              <a:noFill/>
            </a:ln>
            <a:effectLst/>
          </c:spPr>
          <c:invertIfNegative val="0"/>
          <c:cat>
            <c:strRef>
              <c:f>'Data Analysis'!$B$63:$B$68</c:f>
              <c:strCache>
                <c:ptCount val="6"/>
                <c:pt idx="0">
                  <c:v>Central</c:v>
                </c:pt>
                <c:pt idx="1">
                  <c:v>Northeast</c:v>
                </c:pt>
                <c:pt idx="2">
                  <c:v>Northwest</c:v>
                </c:pt>
                <c:pt idx="3">
                  <c:v>South</c:v>
                </c:pt>
                <c:pt idx="4">
                  <c:v>Southeast</c:v>
                </c:pt>
                <c:pt idx="5">
                  <c:v>Southwest</c:v>
                </c:pt>
              </c:strCache>
            </c:strRef>
          </c:cat>
          <c:val>
            <c:numRef>
              <c:f>'Data Analysis'!$D$63:$D$68</c:f>
              <c:numCache>
                <c:formatCode>#,##0</c:formatCode>
                <c:ptCount val="6"/>
                <c:pt idx="0">
                  <c:v>0</c:v>
                </c:pt>
                <c:pt idx="1">
                  <c:v>4570212.4085479453</c:v>
                </c:pt>
                <c:pt idx="2">
                  <c:v>3549857.2371232877</c:v>
                </c:pt>
                <c:pt idx="3">
                  <c:v>5969773.0890410962</c:v>
                </c:pt>
                <c:pt idx="4">
                  <c:v>6283183.3071232876</c:v>
                </c:pt>
                <c:pt idx="5">
                  <c:v>379222.16893150687</c:v>
                </c:pt>
              </c:numCache>
            </c:numRef>
          </c:val>
          <c:extLst>
            <c:ext xmlns:c16="http://schemas.microsoft.com/office/drawing/2014/chart" uri="{C3380CC4-5D6E-409C-BE32-E72D297353CC}">
              <c16:uniqueId val="{00000001-363F-8440-A7CB-132C6BD5C1E7}"/>
            </c:ext>
          </c:extLst>
        </c:ser>
        <c:ser>
          <c:idx val="2"/>
          <c:order val="2"/>
          <c:tx>
            <c:strRef>
              <c:f>'Data Analysis'!$E$53</c:f>
              <c:strCache>
                <c:ptCount val="1"/>
                <c:pt idx="0">
                  <c:v>Landfill 3</c:v>
                </c:pt>
              </c:strCache>
            </c:strRef>
          </c:tx>
          <c:spPr>
            <a:solidFill>
              <a:schemeClr val="accent3"/>
            </a:solidFill>
            <a:ln>
              <a:noFill/>
            </a:ln>
            <a:effectLst/>
          </c:spPr>
          <c:invertIfNegative val="0"/>
          <c:cat>
            <c:strRef>
              <c:f>'Data Analysis'!$B$63:$B$68</c:f>
              <c:strCache>
                <c:ptCount val="6"/>
                <c:pt idx="0">
                  <c:v>Central</c:v>
                </c:pt>
                <c:pt idx="1">
                  <c:v>Northeast</c:v>
                </c:pt>
                <c:pt idx="2">
                  <c:v>Northwest</c:v>
                </c:pt>
                <c:pt idx="3">
                  <c:v>South</c:v>
                </c:pt>
                <c:pt idx="4">
                  <c:v>Southeast</c:v>
                </c:pt>
                <c:pt idx="5">
                  <c:v>Southwest</c:v>
                </c:pt>
              </c:strCache>
            </c:strRef>
          </c:cat>
          <c:val>
            <c:numRef>
              <c:f>'Data Analysis'!$E$63:$E$68</c:f>
              <c:numCache>
                <c:formatCode>#,##0</c:formatCode>
                <c:ptCount val="6"/>
                <c:pt idx="0">
                  <c:v>456594</c:v>
                </c:pt>
                <c:pt idx="1">
                  <c:v>1936106.0184794518</c:v>
                </c:pt>
                <c:pt idx="2">
                  <c:v>1825971.819178082</c:v>
                </c:pt>
                <c:pt idx="3">
                  <c:v>175375.59506849316</c:v>
                </c:pt>
                <c:pt idx="4">
                  <c:v>3257300.3136986303</c:v>
                </c:pt>
                <c:pt idx="5">
                  <c:v>491644.16368493153</c:v>
                </c:pt>
              </c:numCache>
            </c:numRef>
          </c:val>
          <c:extLst>
            <c:ext xmlns:c16="http://schemas.microsoft.com/office/drawing/2014/chart" uri="{C3380CC4-5D6E-409C-BE32-E72D297353CC}">
              <c16:uniqueId val="{00000002-363F-8440-A7CB-132C6BD5C1E7}"/>
            </c:ext>
          </c:extLst>
        </c:ser>
        <c:ser>
          <c:idx val="3"/>
          <c:order val="3"/>
          <c:tx>
            <c:strRef>
              <c:f>'Data Analysis'!$F$53</c:f>
              <c:strCache>
                <c:ptCount val="1"/>
                <c:pt idx="0">
                  <c:v>Landfill 4</c:v>
                </c:pt>
              </c:strCache>
            </c:strRef>
          </c:tx>
          <c:spPr>
            <a:solidFill>
              <a:schemeClr val="accent4"/>
            </a:solidFill>
            <a:ln>
              <a:noFill/>
            </a:ln>
            <a:effectLst/>
          </c:spPr>
          <c:invertIfNegative val="0"/>
          <c:cat>
            <c:strRef>
              <c:f>'Data Analysis'!$B$63:$B$68</c:f>
              <c:strCache>
                <c:ptCount val="6"/>
                <c:pt idx="0">
                  <c:v>Central</c:v>
                </c:pt>
                <c:pt idx="1">
                  <c:v>Northeast</c:v>
                </c:pt>
                <c:pt idx="2">
                  <c:v>Northwest</c:v>
                </c:pt>
                <c:pt idx="3">
                  <c:v>South</c:v>
                </c:pt>
                <c:pt idx="4">
                  <c:v>Southeast</c:v>
                </c:pt>
                <c:pt idx="5">
                  <c:v>Southwest</c:v>
                </c:pt>
              </c:strCache>
            </c:strRef>
          </c:cat>
          <c:val>
            <c:numRef>
              <c:f>'Data Analysis'!$F$63:$F$68</c:f>
              <c:numCache>
                <c:formatCode>#,##0</c:formatCode>
                <c:ptCount val="6"/>
                <c:pt idx="0">
                  <c:v>5397735.0974794524</c:v>
                </c:pt>
                <c:pt idx="1">
                  <c:v>463883.52509589039</c:v>
                </c:pt>
                <c:pt idx="2">
                  <c:v>0</c:v>
                </c:pt>
                <c:pt idx="3">
                  <c:v>1003906.9162397261</c:v>
                </c:pt>
                <c:pt idx="4">
                  <c:v>7600757.2261917815</c:v>
                </c:pt>
                <c:pt idx="5">
                  <c:v>3368446.0062328768</c:v>
                </c:pt>
              </c:numCache>
            </c:numRef>
          </c:val>
          <c:extLst>
            <c:ext xmlns:c16="http://schemas.microsoft.com/office/drawing/2014/chart" uri="{C3380CC4-5D6E-409C-BE32-E72D297353CC}">
              <c16:uniqueId val="{00000003-363F-8440-A7CB-132C6BD5C1E7}"/>
            </c:ext>
          </c:extLst>
        </c:ser>
        <c:ser>
          <c:idx val="4"/>
          <c:order val="4"/>
          <c:tx>
            <c:strRef>
              <c:f>'Data Analysis'!$G$53</c:f>
              <c:strCache>
                <c:ptCount val="1"/>
                <c:pt idx="0">
                  <c:v>Landfill 5</c:v>
                </c:pt>
              </c:strCache>
            </c:strRef>
          </c:tx>
          <c:spPr>
            <a:solidFill>
              <a:schemeClr val="accent5"/>
            </a:solidFill>
            <a:ln>
              <a:noFill/>
            </a:ln>
            <a:effectLst/>
          </c:spPr>
          <c:invertIfNegative val="0"/>
          <c:cat>
            <c:strRef>
              <c:f>'Data Analysis'!$B$63:$B$68</c:f>
              <c:strCache>
                <c:ptCount val="6"/>
                <c:pt idx="0">
                  <c:v>Central</c:v>
                </c:pt>
                <c:pt idx="1">
                  <c:v>Northeast</c:v>
                </c:pt>
                <c:pt idx="2">
                  <c:v>Northwest</c:v>
                </c:pt>
                <c:pt idx="3">
                  <c:v>South</c:v>
                </c:pt>
                <c:pt idx="4">
                  <c:v>Southeast</c:v>
                </c:pt>
                <c:pt idx="5">
                  <c:v>Southwest</c:v>
                </c:pt>
              </c:strCache>
            </c:strRef>
          </c:cat>
          <c:val>
            <c:numRef>
              <c:f>'Data Analysis'!$G$63:$G$68</c:f>
              <c:numCache>
                <c:formatCode>#,##0</c:formatCode>
                <c:ptCount val="6"/>
                <c:pt idx="0">
                  <c:v>2167044.5751506854</c:v>
                </c:pt>
                <c:pt idx="1">
                  <c:v>1906047.0821917807</c:v>
                </c:pt>
                <c:pt idx="2">
                  <c:v>475919.54630136985</c:v>
                </c:pt>
                <c:pt idx="3">
                  <c:v>27424.720602739748</c:v>
                </c:pt>
                <c:pt idx="4">
                  <c:v>4199275.8647123287</c:v>
                </c:pt>
                <c:pt idx="5">
                  <c:v>5192388.7001095889</c:v>
                </c:pt>
              </c:numCache>
            </c:numRef>
          </c:val>
          <c:extLst>
            <c:ext xmlns:c16="http://schemas.microsoft.com/office/drawing/2014/chart" uri="{C3380CC4-5D6E-409C-BE32-E72D297353CC}">
              <c16:uniqueId val="{00000004-363F-8440-A7CB-132C6BD5C1E7}"/>
            </c:ext>
          </c:extLst>
        </c:ser>
        <c:ser>
          <c:idx val="5"/>
          <c:order val="5"/>
          <c:tx>
            <c:strRef>
              <c:f>'Data Analysis'!$H$53</c:f>
              <c:strCache>
                <c:ptCount val="1"/>
                <c:pt idx="0">
                  <c:v>Landfill 6</c:v>
                </c:pt>
              </c:strCache>
            </c:strRef>
          </c:tx>
          <c:spPr>
            <a:solidFill>
              <a:schemeClr val="accent6"/>
            </a:solidFill>
            <a:ln>
              <a:noFill/>
            </a:ln>
            <a:effectLst/>
          </c:spPr>
          <c:invertIfNegative val="0"/>
          <c:cat>
            <c:strRef>
              <c:f>'Data Analysis'!$B$63:$B$68</c:f>
              <c:strCache>
                <c:ptCount val="6"/>
                <c:pt idx="0">
                  <c:v>Central</c:v>
                </c:pt>
                <c:pt idx="1">
                  <c:v>Northeast</c:v>
                </c:pt>
                <c:pt idx="2">
                  <c:v>Northwest</c:v>
                </c:pt>
                <c:pt idx="3">
                  <c:v>South</c:v>
                </c:pt>
                <c:pt idx="4">
                  <c:v>Southeast</c:v>
                </c:pt>
                <c:pt idx="5">
                  <c:v>Southwest</c:v>
                </c:pt>
              </c:strCache>
            </c:strRef>
          </c:cat>
          <c:val>
            <c:numRef>
              <c:f>'Data Analysis'!$H$63:$H$68</c:f>
              <c:numCache>
                <c:formatCode>General</c:formatCode>
                <c:ptCount val="6"/>
                <c:pt idx="0" formatCode="#,##0">
                  <c:v>15454854.096290559</c:v>
                </c:pt>
                <c:pt idx="3" formatCode="#,##0">
                  <c:v>0</c:v>
                </c:pt>
                <c:pt idx="4" formatCode="#,##0">
                  <c:v>2030681.8911232878</c:v>
                </c:pt>
                <c:pt idx="5" formatCode="#,##0">
                  <c:v>278428.00597260275</c:v>
                </c:pt>
              </c:numCache>
            </c:numRef>
          </c:val>
          <c:extLst>
            <c:ext xmlns:c16="http://schemas.microsoft.com/office/drawing/2014/chart" uri="{C3380CC4-5D6E-409C-BE32-E72D297353CC}">
              <c16:uniqueId val="{00000005-363F-8440-A7CB-132C6BD5C1E7}"/>
            </c:ext>
          </c:extLst>
        </c:ser>
        <c:ser>
          <c:idx val="6"/>
          <c:order val="6"/>
          <c:tx>
            <c:strRef>
              <c:f>'Data Analysis'!$I$53</c:f>
              <c:strCache>
                <c:ptCount val="1"/>
                <c:pt idx="0">
                  <c:v>Landfill 7</c:v>
                </c:pt>
              </c:strCache>
            </c:strRef>
          </c:tx>
          <c:spPr>
            <a:solidFill>
              <a:schemeClr val="accent1">
                <a:lumMod val="60000"/>
              </a:schemeClr>
            </a:solidFill>
            <a:ln>
              <a:noFill/>
            </a:ln>
            <a:effectLst/>
          </c:spPr>
          <c:invertIfNegative val="0"/>
          <c:cat>
            <c:strRef>
              <c:f>'Data Analysis'!$B$63:$B$68</c:f>
              <c:strCache>
                <c:ptCount val="6"/>
                <c:pt idx="0">
                  <c:v>Central</c:v>
                </c:pt>
                <c:pt idx="1">
                  <c:v>Northeast</c:v>
                </c:pt>
                <c:pt idx="2">
                  <c:v>Northwest</c:v>
                </c:pt>
                <c:pt idx="3">
                  <c:v>South</c:v>
                </c:pt>
                <c:pt idx="4">
                  <c:v>Southeast</c:v>
                </c:pt>
                <c:pt idx="5">
                  <c:v>Southwest</c:v>
                </c:pt>
              </c:strCache>
            </c:strRef>
          </c:cat>
          <c:val>
            <c:numRef>
              <c:f>'Data Analysis'!$I$63:$I$68</c:f>
              <c:numCache>
                <c:formatCode>General</c:formatCode>
                <c:ptCount val="6"/>
                <c:pt idx="0" formatCode="#,##0">
                  <c:v>4356297.3323835619</c:v>
                </c:pt>
                <c:pt idx="3" formatCode="#,##0">
                  <c:v>6868032.8410958899</c:v>
                </c:pt>
                <c:pt idx="4" formatCode="#,##0">
                  <c:v>1475463.0304657535</c:v>
                </c:pt>
                <c:pt idx="5" formatCode="#,##0">
                  <c:v>16547370.082787672</c:v>
                </c:pt>
              </c:numCache>
            </c:numRef>
          </c:val>
          <c:extLst>
            <c:ext xmlns:c16="http://schemas.microsoft.com/office/drawing/2014/chart" uri="{C3380CC4-5D6E-409C-BE32-E72D297353CC}">
              <c16:uniqueId val="{00000006-363F-8440-A7CB-132C6BD5C1E7}"/>
            </c:ext>
          </c:extLst>
        </c:ser>
        <c:ser>
          <c:idx val="7"/>
          <c:order val="7"/>
          <c:tx>
            <c:strRef>
              <c:f>'Data Analysis'!$J$53</c:f>
              <c:strCache>
                <c:ptCount val="1"/>
                <c:pt idx="0">
                  <c:v>Landfill 8</c:v>
                </c:pt>
              </c:strCache>
            </c:strRef>
          </c:tx>
          <c:spPr>
            <a:solidFill>
              <a:schemeClr val="accent2">
                <a:lumMod val="60000"/>
              </a:schemeClr>
            </a:solidFill>
            <a:ln>
              <a:noFill/>
            </a:ln>
            <a:effectLst/>
          </c:spPr>
          <c:invertIfNegative val="0"/>
          <c:cat>
            <c:strRef>
              <c:f>'Data Analysis'!$B$63:$B$68</c:f>
              <c:strCache>
                <c:ptCount val="6"/>
                <c:pt idx="0">
                  <c:v>Central</c:v>
                </c:pt>
                <c:pt idx="1">
                  <c:v>Northeast</c:v>
                </c:pt>
                <c:pt idx="2">
                  <c:v>Northwest</c:v>
                </c:pt>
                <c:pt idx="3">
                  <c:v>South</c:v>
                </c:pt>
                <c:pt idx="4">
                  <c:v>Southeast</c:v>
                </c:pt>
                <c:pt idx="5">
                  <c:v>Southwest</c:v>
                </c:pt>
              </c:strCache>
            </c:strRef>
          </c:cat>
          <c:val>
            <c:numRef>
              <c:f>'Data Analysis'!$J$63:$J$68</c:f>
              <c:numCache>
                <c:formatCode>General</c:formatCode>
                <c:ptCount val="6"/>
                <c:pt idx="0" formatCode="#,##0">
                  <c:v>982532.85821917816</c:v>
                </c:pt>
                <c:pt idx="4" formatCode="#,##0">
                  <c:v>486239.18149315065</c:v>
                </c:pt>
                <c:pt idx="5" formatCode="#,##0">
                  <c:v>3787671.3052054793</c:v>
                </c:pt>
              </c:numCache>
            </c:numRef>
          </c:val>
          <c:extLst>
            <c:ext xmlns:c16="http://schemas.microsoft.com/office/drawing/2014/chart" uri="{C3380CC4-5D6E-409C-BE32-E72D297353CC}">
              <c16:uniqueId val="{00000007-363F-8440-A7CB-132C6BD5C1E7}"/>
            </c:ext>
          </c:extLst>
        </c:ser>
        <c:ser>
          <c:idx val="8"/>
          <c:order val="8"/>
          <c:tx>
            <c:strRef>
              <c:f>'Data Analysis'!$K$53</c:f>
              <c:strCache>
                <c:ptCount val="1"/>
                <c:pt idx="0">
                  <c:v>Landfill 9</c:v>
                </c:pt>
              </c:strCache>
            </c:strRef>
          </c:tx>
          <c:spPr>
            <a:solidFill>
              <a:schemeClr val="accent3">
                <a:lumMod val="60000"/>
              </a:schemeClr>
            </a:solidFill>
            <a:ln>
              <a:noFill/>
            </a:ln>
            <a:effectLst/>
          </c:spPr>
          <c:invertIfNegative val="0"/>
          <c:cat>
            <c:strRef>
              <c:f>'Data Analysis'!$B$63:$B$68</c:f>
              <c:strCache>
                <c:ptCount val="6"/>
                <c:pt idx="0">
                  <c:v>Central</c:v>
                </c:pt>
                <c:pt idx="1">
                  <c:v>Northeast</c:v>
                </c:pt>
                <c:pt idx="2">
                  <c:v>Northwest</c:v>
                </c:pt>
                <c:pt idx="3">
                  <c:v>South</c:v>
                </c:pt>
                <c:pt idx="4">
                  <c:v>Southeast</c:v>
                </c:pt>
                <c:pt idx="5">
                  <c:v>Southwest</c:v>
                </c:pt>
              </c:strCache>
            </c:strRef>
          </c:cat>
          <c:val>
            <c:numRef>
              <c:f>'Data Analysis'!$K$63:$K$68</c:f>
              <c:numCache>
                <c:formatCode>General</c:formatCode>
                <c:ptCount val="6"/>
                <c:pt idx="5" formatCode="#,##0">
                  <c:v>902357.64068493166</c:v>
                </c:pt>
              </c:numCache>
            </c:numRef>
          </c:val>
          <c:extLst>
            <c:ext xmlns:c16="http://schemas.microsoft.com/office/drawing/2014/chart" uri="{C3380CC4-5D6E-409C-BE32-E72D297353CC}">
              <c16:uniqueId val="{00000008-363F-8440-A7CB-132C6BD5C1E7}"/>
            </c:ext>
          </c:extLst>
        </c:ser>
        <c:dLbls>
          <c:showLegendKey val="0"/>
          <c:showVal val="0"/>
          <c:showCatName val="0"/>
          <c:showSerName val="0"/>
          <c:showPercent val="0"/>
          <c:showBubbleSize val="0"/>
        </c:dLbls>
        <c:gapWidth val="150"/>
        <c:overlap val="100"/>
        <c:axId val="772881184"/>
        <c:axId val="772880224"/>
      </c:barChart>
      <c:catAx>
        <c:axId val="772881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772880224"/>
        <c:crosses val="autoZero"/>
        <c:auto val="1"/>
        <c:lblAlgn val="ctr"/>
        <c:lblOffset val="100"/>
        <c:noMultiLvlLbl val="0"/>
      </c:catAx>
      <c:valAx>
        <c:axId val="772880224"/>
        <c:scaling>
          <c:orientation val="minMax"/>
          <c:max val="160000000"/>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dirty="0"/>
                  <a:t>Class I Landfill Capacity Remaining as of Jan. 1, 2025 (millions of tons)</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772881184"/>
        <c:crosses val="autoZero"/>
        <c:crossBetween val="between"/>
        <c:dispUnits>
          <c:builtInUnit val="million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8764026646104E-2"/>
          <c:y val="4.0757609243966535E-2"/>
          <c:w val="0.93197076639562171"/>
          <c:h val="0.93123150846372638"/>
        </c:manualLayout>
      </c:layout>
      <c:barChart>
        <c:barDir val="col"/>
        <c:grouping val="stacked"/>
        <c:varyColors val="0"/>
        <c:ser>
          <c:idx val="0"/>
          <c:order val="0"/>
          <c:tx>
            <c:strRef>
              <c:f>'Data Analysis'!$C$53</c:f>
              <c:strCache>
                <c:ptCount val="1"/>
                <c:pt idx="0">
                  <c:v>Landfill 1</c:v>
                </c:pt>
              </c:strCache>
            </c:strRef>
          </c:tx>
          <c:spPr>
            <a:pattFill prst="wdUpDiag">
              <a:fgClr>
                <a:schemeClr val="accent1"/>
              </a:fgClr>
              <a:bgClr>
                <a:schemeClr val="bg1"/>
              </a:bgClr>
            </a:pattFill>
            <a:ln w="19050">
              <a:solidFill>
                <a:schemeClr val="accent1"/>
              </a:solidFill>
            </a:ln>
            <a:effectLst/>
          </c:spPr>
          <c:invertIfNegative val="0"/>
          <c:cat>
            <c:strRef>
              <c:f>'Data Analysis'!$B$54:$B$59</c:f>
              <c:strCache>
                <c:ptCount val="6"/>
                <c:pt idx="0">
                  <c:v>Central</c:v>
                </c:pt>
                <c:pt idx="1">
                  <c:v>Northeast</c:v>
                </c:pt>
                <c:pt idx="2">
                  <c:v>Northwest</c:v>
                </c:pt>
                <c:pt idx="3">
                  <c:v>South</c:v>
                </c:pt>
                <c:pt idx="4">
                  <c:v>Southeast</c:v>
                </c:pt>
                <c:pt idx="5">
                  <c:v>Southwest</c:v>
                </c:pt>
              </c:strCache>
            </c:strRef>
          </c:cat>
          <c:val>
            <c:numRef>
              <c:f>'Data Analysis'!$C$54:$C$59</c:f>
              <c:numCache>
                <c:formatCode>#,##0</c:formatCode>
                <c:ptCount val="6"/>
                <c:pt idx="0">
                  <c:v>3927784.6779726031</c:v>
                </c:pt>
                <c:pt idx="1">
                  <c:v>1424767.2768767122</c:v>
                </c:pt>
                <c:pt idx="2">
                  <c:v>2055147.7676438359</c:v>
                </c:pt>
                <c:pt idx="3">
                  <c:v>1007789.155150685</c:v>
                </c:pt>
                <c:pt idx="4">
                  <c:v>26936.089698630138</c:v>
                </c:pt>
                <c:pt idx="5">
                  <c:v>3029957.454410959</c:v>
                </c:pt>
              </c:numCache>
            </c:numRef>
          </c:val>
          <c:extLst>
            <c:ext xmlns:c16="http://schemas.microsoft.com/office/drawing/2014/chart" uri="{C3380CC4-5D6E-409C-BE32-E72D297353CC}">
              <c16:uniqueId val="{00000000-FDFD-4659-86EB-F1ABAE3E86F2}"/>
            </c:ext>
          </c:extLst>
        </c:ser>
        <c:ser>
          <c:idx val="1"/>
          <c:order val="1"/>
          <c:tx>
            <c:strRef>
              <c:f>'Data Analysis'!$D$53</c:f>
              <c:strCache>
                <c:ptCount val="1"/>
                <c:pt idx="0">
                  <c:v>Landfill 2</c:v>
                </c:pt>
              </c:strCache>
            </c:strRef>
          </c:tx>
          <c:spPr>
            <a:pattFill prst="wdUpDiag">
              <a:fgClr>
                <a:schemeClr val="accent2"/>
              </a:fgClr>
              <a:bgClr>
                <a:schemeClr val="bg1"/>
              </a:bgClr>
            </a:pattFill>
            <a:ln w="19050">
              <a:solidFill>
                <a:schemeClr val="accent2"/>
              </a:solidFill>
            </a:ln>
            <a:effectLst/>
          </c:spPr>
          <c:invertIfNegative val="0"/>
          <c:cat>
            <c:strRef>
              <c:f>'Data Analysis'!$B$54:$B$59</c:f>
              <c:strCache>
                <c:ptCount val="6"/>
                <c:pt idx="0">
                  <c:v>Central</c:v>
                </c:pt>
                <c:pt idx="1">
                  <c:v>Northeast</c:v>
                </c:pt>
                <c:pt idx="2">
                  <c:v>Northwest</c:v>
                </c:pt>
                <c:pt idx="3">
                  <c:v>South</c:v>
                </c:pt>
                <c:pt idx="4">
                  <c:v>Southeast</c:v>
                </c:pt>
                <c:pt idx="5">
                  <c:v>Southwest</c:v>
                </c:pt>
              </c:strCache>
            </c:strRef>
          </c:cat>
          <c:val>
            <c:numRef>
              <c:f>'Data Analysis'!$D$54:$D$59</c:f>
              <c:numCache>
                <c:formatCode>#,##0</c:formatCode>
                <c:ptCount val="6"/>
                <c:pt idx="0">
                  <c:v>0</c:v>
                </c:pt>
                <c:pt idx="1">
                  <c:v>50815062.408547945</c:v>
                </c:pt>
                <c:pt idx="2">
                  <c:v>3549857.2371232877</c:v>
                </c:pt>
                <c:pt idx="3">
                  <c:v>12424857.339041095</c:v>
                </c:pt>
                <c:pt idx="4">
                  <c:v>8584798.6671232879</c:v>
                </c:pt>
                <c:pt idx="5">
                  <c:v>379222.16893150687</c:v>
                </c:pt>
              </c:numCache>
            </c:numRef>
          </c:val>
          <c:extLst>
            <c:ext xmlns:c16="http://schemas.microsoft.com/office/drawing/2014/chart" uri="{C3380CC4-5D6E-409C-BE32-E72D297353CC}">
              <c16:uniqueId val="{00000001-FDFD-4659-86EB-F1ABAE3E86F2}"/>
            </c:ext>
          </c:extLst>
        </c:ser>
        <c:ser>
          <c:idx val="2"/>
          <c:order val="2"/>
          <c:tx>
            <c:strRef>
              <c:f>'Data Analysis'!$E$53</c:f>
              <c:strCache>
                <c:ptCount val="1"/>
                <c:pt idx="0">
                  <c:v>Landfill 3</c:v>
                </c:pt>
              </c:strCache>
            </c:strRef>
          </c:tx>
          <c:spPr>
            <a:pattFill prst="wdUpDiag">
              <a:fgClr>
                <a:schemeClr val="accent3"/>
              </a:fgClr>
              <a:bgClr>
                <a:schemeClr val="bg1"/>
              </a:bgClr>
            </a:pattFill>
            <a:ln w="19050">
              <a:solidFill>
                <a:schemeClr val="accent3"/>
              </a:solidFill>
            </a:ln>
            <a:effectLst/>
          </c:spPr>
          <c:invertIfNegative val="0"/>
          <c:cat>
            <c:strRef>
              <c:f>'Data Analysis'!$B$54:$B$59</c:f>
              <c:strCache>
                <c:ptCount val="6"/>
                <c:pt idx="0">
                  <c:v>Central</c:v>
                </c:pt>
                <c:pt idx="1">
                  <c:v>Northeast</c:v>
                </c:pt>
                <c:pt idx="2">
                  <c:v>Northwest</c:v>
                </c:pt>
                <c:pt idx="3">
                  <c:v>South</c:v>
                </c:pt>
                <c:pt idx="4">
                  <c:v>Southeast</c:v>
                </c:pt>
                <c:pt idx="5">
                  <c:v>Southwest</c:v>
                </c:pt>
              </c:strCache>
            </c:strRef>
          </c:cat>
          <c:val>
            <c:numRef>
              <c:f>'Data Analysis'!$E$54:$E$59</c:f>
              <c:numCache>
                <c:formatCode>#,##0</c:formatCode>
                <c:ptCount val="6"/>
                <c:pt idx="0">
                  <c:v>456594</c:v>
                </c:pt>
                <c:pt idx="1">
                  <c:v>1936106.0184794518</c:v>
                </c:pt>
                <c:pt idx="2">
                  <c:v>27481502.139178082</c:v>
                </c:pt>
                <c:pt idx="3">
                  <c:v>175375.59506849316</c:v>
                </c:pt>
                <c:pt idx="4">
                  <c:v>3257300.3136986303</c:v>
                </c:pt>
                <c:pt idx="5">
                  <c:v>5544714.1636849316</c:v>
                </c:pt>
              </c:numCache>
            </c:numRef>
          </c:val>
          <c:extLst>
            <c:ext xmlns:c16="http://schemas.microsoft.com/office/drawing/2014/chart" uri="{C3380CC4-5D6E-409C-BE32-E72D297353CC}">
              <c16:uniqueId val="{00000002-FDFD-4659-86EB-F1ABAE3E86F2}"/>
            </c:ext>
          </c:extLst>
        </c:ser>
        <c:ser>
          <c:idx val="3"/>
          <c:order val="3"/>
          <c:tx>
            <c:strRef>
              <c:f>'Data Analysis'!$F$53</c:f>
              <c:strCache>
                <c:ptCount val="1"/>
                <c:pt idx="0">
                  <c:v>Landfill 4</c:v>
                </c:pt>
              </c:strCache>
            </c:strRef>
          </c:tx>
          <c:spPr>
            <a:pattFill prst="wdUpDiag">
              <a:fgClr>
                <a:schemeClr val="accent4"/>
              </a:fgClr>
              <a:bgClr>
                <a:schemeClr val="bg1"/>
              </a:bgClr>
            </a:pattFill>
            <a:ln w="19050">
              <a:solidFill>
                <a:schemeClr val="accent4"/>
              </a:solidFill>
            </a:ln>
            <a:effectLst/>
          </c:spPr>
          <c:invertIfNegative val="0"/>
          <c:cat>
            <c:strRef>
              <c:f>'Data Analysis'!$B$54:$B$59</c:f>
              <c:strCache>
                <c:ptCount val="6"/>
                <c:pt idx="0">
                  <c:v>Central</c:v>
                </c:pt>
                <c:pt idx="1">
                  <c:v>Northeast</c:v>
                </c:pt>
                <c:pt idx="2">
                  <c:v>Northwest</c:v>
                </c:pt>
                <c:pt idx="3">
                  <c:v>South</c:v>
                </c:pt>
                <c:pt idx="4">
                  <c:v>Southeast</c:v>
                </c:pt>
                <c:pt idx="5">
                  <c:v>Southwest</c:v>
                </c:pt>
              </c:strCache>
            </c:strRef>
          </c:cat>
          <c:val>
            <c:numRef>
              <c:f>'Data Analysis'!$F$54:$F$59</c:f>
              <c:numCache>
                <c:formatCode>#,##0</c:formatCode>
                <c:ptCount val="6"/>
                <c:pt idx="0">
                  <c:v>14298735.097479451</c:v>
                </c:pt>
                <c:pt idx="1">
                  <c:v>463883.52509589039</c:v>
                </c:pt>
                <c:pt idx="2">
                  <c:v>0</c:v>
                </c:pt>
                <c:pt idx="3">
                  <c:v>5173053.5832397267</c:v>
                </c:pt>
                <c:pt idx="4">
                  <c:v>7600757.2261917815</c:v>
                </c:pt>
                <c:pt idx="5">
                  <c:v>3368446.0062328768</c:v>
                </c:pt>
              </c:numCache>
            </c:numRef>
          </c:val>
          <c:extLst>
            <c:ext xmlns:c16="http://schemas.microsoft.com/office/drawing/2014/chart" uri="{C3380CC4-5D6E-409C-BE32-E72D297353CC}">
              <c16:uniqueId val="{00000003-FDFD-4659-86EB-F1ABAE3E86F2}"/>
            </c:ext>
          </c:extLst>
        </c:ser>
        <c:ser>
          <c:idx val="4"/>
          <c:order val="4"/>
          <c:tx>
            <c:strRef>
              <c:f>'Data Analysis'!$G$53</c:f>
              <c:strCache>
                <c:ptCount val="1"/>
                <c:pt idx="0">
                  <c:v>Landfill 5</c:v>
                </c:pt>
              </c:strCache>
            </c:strRef>
          </c:tx>
          <c:spPr>
            <a:pattFill prst="wdUpDiag">
              <a:fgClr>
                <a:schemeClr val="accent5"/>
              </a:fgClr>
              <a:bgClr>
                <a:schemeClr val="bg1"/>
              </a:bgClr>
            </a:pattFill>
            <a:ln w="19050">
              <a:solidFill>
                <a:schemeClr val="accent5"/>
              </a:solidFill>
            </a:ln>
            <a:effectLst/>
          </c:spPr>
          <c:invertIfNegative val="0"/>
          <c:cat>
            <c:strRef>
              <c:f>'Data Analysis'!$B$54:$B$59</c:f>
              <c:strCache>
                <c:ptCount val="6"/>
                <c:pt idx="0">
                  <c:v>Central</c:v>
                </c:pt>
                <c:pt idx="1">
                  <c:v>Northeast</c:v>
                </c:pt>
                <c:pt idx="2">
                  <c:v>Northwest</c:v>
                </c:pt>
                <c:pt idx="3">
                  <c:v>South</c:v>
                </c:pt>
                <c:pt idx="4">
                  <c:v>Southeast</c:v>
                </c:pt>
                <c:pt idx="5">
                  <c:v>Southwest</c:v>
                </c:pt>
              </c:strCache>
            </c:strRef>
          </c:cat>
          <c:val>
            <c:numRef>
              <c:f>'Data Analysis'!$G$54:$G$59</c:f>
              <c:numCache>
                <c:formatCode>#,##0</c:formatCode>
                <c:ptCount val="6"/>
                <c:pt idx="0">
                  <c:v>56434294.325150691</c:v>
                </c:pt>
                <c:pt idx="1">
                  <c:v>1906047.0821917807</c:v>
                </c:pt>
                <c:pt idx="2">
                  <c:v>5740529.9463013699</c:v>
                </c:pt>
                <c:pt idx="3">
                  <c:v>2939737.12060274</c:v>
                </c:pt>
                <c:pt idx="4">
                  <c:v>12330614.608212329</c:v>
                </c:pt>
                <c:pt idx="5">
                  <c:v>5192388.7001095889</c:v>
                </c:pt>
              </c:numCache>
            </c:numRef>
          </c:val>
          <c:extLst>
            <c:ext xmlns:c16="http://schemas.microsoft.com/office/drawing/2014/chart" uri="{C3380CC4-5D6E-409C-BE32-E72D297353CC}">
              <c16:uniqueId val="{00000004-FDFD-4659-86EB-F1ABAE3E86F2}"/>
            </c:ext>
          </c:extLst>
        </c:ser>
        <c:ser>
          <c:idx val="5"/>
          <c:order val="5"/>
          <c:tx>
            <c:strRef>
              <c:f>'Data Analysis'!$H$53</c:f>
              <c:strCache>
                <c:ptCount val="1"/>
                <c:pt idx="0">
                  <c:v>Landfill 6</c:v>
                </c:pt>
              </c:strCache>
            </c:strRef>
          </c:tx>
          <c:spPr>
            <a:pattFill prst="wdUpDiag">
              <a:fgClr>
                <a:schemeClr val="accent6"/>
              </a:fgClr>
              <a:bgClr>
                <a:schemeClr val="bg1"/>
              </a:bgClr>
            </a:pattFill>
            <a:ln w="19050">
              <a:solidFill>
                <a:schemeClr val="accent6"/>
              </a:solidFill>
            </a:ln>
            <a:effectLst/>
          </c:spPr>
          <c:invertIfNegative val="0"/>
          <c:cat>
            <c:strRef>
              <c:f>'Data Analysis'!$B$54:$B$59</c:f>
              <c:strCache>
                <c:ptCount val="6"/>
                <c:pt idx="0">
                  <c:v>Central</c:v>
                </c:pt>
                <c:pt idx="1">
                  <c:v>Northeast</c:v>
                </c:pt>
                <c:pt idx="2">
                  <c:v>Northwest</c:v>
                </c:pt>
                <c:pt idx="3">
                  <c:v>South</c:v>
                </c:pt>
                <c:pt idx="4">
                  <c:v>Southeast</c:v>
                </c:pt>
                <c:pt idx="5">
                  <c:v>Southwest</c:v>
                </c:pt>
              </c:strCache>
            </c:strRef>
          </c:cat>
          <c:val>
            <c:numRef>
              <c:f>'Data Analysis'!$H$54:$H$59</c:f>
              <c:numCache>
                <c:formatCode>General</c:formatCode>
                <c:ptCount val="6"/>
                <c:pt idx="0" formatCode="#,##0">
                  <c:v>15454854.096290559</c:v>
                </c:pt>
                <c:pt idx="3" formatCode="#,##0">
                  <c:v>0</c:v>
                </c:pt>
                <c:pt idx="4" formatCode="#,##0">
                  <c:v>49884481.891123287</c:v>
                </c:pt>
                <c:pt idx="5" formatCode="#,##0">
                  <c:v>278428.00597260275</c:v>
                </c:pt>
              </c:numCache>
            </c:numRef>
          </c:val>
          <c:extLst>
            <c:ext xmlns:c16="http://schemas.microsoft.com/office/drawing/2014/chart" uri="{C3380CC4-5D6E-409C-BE32-E72D297353CC}">
              <c16:uniqueId val="{00000005-FDFD-4659-86EB-F1ABAE3E86F2}"/>
            </c:ext>
          </c:extLst>
        </c:ser>
        <c:ser>
          <c:idx val="6"/>
          <c:order val="6"/>
          <c:tx>
            <c:strRef>
              <c:f>'Data Analysis'!$I$53</c:f>
              <c:strCache>
                <c:ptCount val="1"/>
                <c:pt idx="0">
                  <c:v>Landfill 7</c:v>
                </c:pt>
              </c:strCache>
            </c:strRef>
          </c:tx>
          <c:spPr>
            <a:pattFill prst="wdUpDiag">
              <a:fgClr>
                <a:schemeClr val="accent1">
                  <a:lumMod val="50000"/>
                </a:schemeClr>
              </a:fgClr>
              <a:bgClr>
                <a:schemeClr val="bg1"/>
              </a:bgClr>
            </a:pattFill>
            <a:ln w="19050">
              <a:solidFill>
                <a:schemeClr val="accent1">
                  <a:lumMod val="50000"/>
                </a:schemeClr>
              </a:solidFill>
            </a:ln>
            <a:effectLst/>
          </c:spPr>
          <c:invertIfNegative val="0"/>
          <c:cat>
            <c:strRef>
              <c:f>'Data Analysis'!$B$54:$B$59</c:f>
              <c:strCache>
                <c:ptCount val="6"/>
                <c:pt idx="0">
                  <c:v>Central</c:v>
                </c:pt>
                <c:pt idx="1">
                  <c:v>Northeast</c:v>
                </c:pt>
                <c:pt idx="2">
                  <c:v>Northwest</c:v>
                </c:pt>
                <c:pt idx="3">
                  <c:v>South</c:v>
                </c:pt>
                <c:pt idx="4">
                  <c:v>Southeast</c:v>
                </c:pt>
                <c:pt idx="5">
                  <c:v>Southwest</c:v>
                </c:pt>
              </c:strCache>
            </c:strRef>
          </c:cat>
          <c:val>
            <c:numRef>
              <c:f>'Data Analysis'!$I$54:$I$59</c:f>
              <c:numCache>
                <c:formatCode>General</c:formatCode>
                <c:ptCount val="6"/>
                <c:pt idx="0" formatCode="#,##0">
                  <c:v>47635751.582383558</c:v>
                </c:pt>
                <c:pt idx="3" formatCode="#,##0">
                  <c:v>6868032.8410958899</c:v>
                </c:pt>
                <c:pt idx="4" formatCode="#,##0">
                  <c:v>24548520.195465751</c:v>
                </c:pt>
                <c:pt idx="5" formatCode="#,##0">
                  <c:v>48337928.08278767</c:v>
                </c:pt>
              </c:numCache>
            </c:numRef>
          </c:val>
          <c:extLst>
            <c:ext xmlns:c16="http://schemas.microsoft.com/office/drawing/2014/chart" uri="{C3380CC4-5D6E-409C-BE32-E72D297353CC}">
              <c16:uniqueId val="{00000006-FDFD-4659-86EB-F1ABAE3E86F2}"/>
            </c:ext>
          </c:extLst>
        </c:ser>
        <c:ser>
          <c:idx val="7"/>
          <c:order val="7"/>
          <c:tx>
            <c:strRef>
              <c:f>'Data Analysis'!$J$53</c:f>
              <c:strCache>
                <c:ptCount val="1"/>
                <c:pt idx="0">
                  <c:v>Landfill 8</c:v>
                </c:pt>
              </c:strCache>
            </c:strRef>
          </c:tx>
          <c:spPr>
            <a:pattFill prst="wdUpDiag">
              <a:fgClr>
                <a:schemeClr val="accent2">
                  <a:lumMod val="50000"/>
                </a:schemeClr>
              </a:fgClr>
              <a:bgClr>
                <a:schemeClr val="bg1"/>
              </a:bgClr>
            </a:pattFill>
            <a:ln w="19050">
              <a:solidFill>
                <a:schemeClr val="accent2">
                  <a:lumMod val="50000"/>
                </a:schemeClr>
              </a:solidFill>
            </a:ln>
            <a:effectLst/>
          </c:spPr>
          <c:invertIfNegative val="0"/>
          <c:cat>
            <c:strRef>
              <c:f>'Data Analysis'!$B$54:$B$59</c:f>
              <c:strCache>
                <c:ptCount val="6"/>
                <c:pt idx="0">
                  <c:v>Central</c:v>
                </c:pt>
                <c:pt idx="1">
                  <c:v>Northeast</c:v>
                </c:pt>
                <c:pt idx="2">
                  <c:v>Northwest</c:v>
                </c:pt>
                <c:pt idx="3">
                  <c:v>South</c:v>
                </c:pt>
                <c:pt idx="4">
                  <c:v>Southeast</c:v>
                </c:pt>
                <c:pt idx="5">
                  <c:v>Southwest</c:v>
                </c:pt>
              </c:strCache>
            </c:strRef>
          </c:cat>
          <c:val>
            <c:numRef>
              <c:f>'Data Analysis'!$J$54:$J$59</c:f>
              <c:numCache>
                <c:formatCode>General</c:formatCode>
                <c:ptCount val="6"/>
                <c:pt idx="0" formatCode="#,##0">
                  <c:v>982532.85821917816</c:v>
                </c:pt>
                <c:pt idx="4" formatCode="#,##0">
                  <c:v>13226963.358493151</c:v>
                </c:pt>
                <c:pt idx="5" formatCode="#,##0">
                  <c:v>3787671.3052054793</c:v>
                </c:pt>
              </c:numCache>
            </c:numRef>
          </c:val>
          <c:extLst>
            <c:ext xmlns:c16="http://schemas.microsoft.com/office/drawing/2014/chart" uri="{C3380CC4-5D6E-409C-BE32-E72D297353CC}">
              <c16:uniqueId val="{00000007-FDFD-4659-86EB-F1ABAE3E86F2}"/>
            </c:ext>
          </c:extLst>
        </c:ser>
        <c:ser>
          <c:idx val="8"/>
          <c:order val="8"/>
          <c:tx>
            <c:strRef>
              <c:f>'Data Analysis'!$K$53</c:f>
              <c:strCache>
                <c:ptCount val="1"/>
                <c:pt idx="0">
                  <c:v>Landfill 9</c:v>
                </c:pt>
              </c:strCache>
            </c:strRef>
          </c:tx>
          <c:spPr>
            <a:pattFill prst="wdUpDiag">
              <a:fgClr>
                <a:schemeClr val="accent1"/>
              </a:fgClr>
              <a:bgClr>
                <a:schemeClr val="bg1"/>
              </a:bgClr>
            </a:pattFill>
            <a:ln>
              <a:solidFill>
                <a:schemeClr val="accent3">
                  <a:lumMod val="50000"/>
                </a:schemeClr>
              </a:solidFill>
            </a:ln>
            <a:effectLst/>
          </c:spPr>
          <c:invertIfNegative val="0"/>
          <c:dPt>
            <c:idx val="5"/>
            <c:invertIfNegative val="0"/>
            <c:bubble3D val="0"/>
            <c:spPr>
              <a:pattFill prst="wdUpDiag">
                <a:fgClr>
                  <a:schemeClr val="accent3">
                    <a:lumMod val="50000"/>
                  </a:schemeClr>
                </a:fgClr>
                <a:bgClr>
                  <a:schemeClr val="bg1"/>
                </a:bgClr>
              </a:pattFill>
              <a:ln w="19050">
                <a:solidFill>
                  <a:schemeClr val="accent3">
                    <a:lumMod val="50000"/>
                  </a:schemeClr>
                </a:solidFill>
              </a:ln>
              <a:effectLst/>
            </c:spPr>
            <c:extLst>
              <c:ext xmlns:c16="http://schemas.microsoft.com/office/drawing/2014/chart" uri="{C3380CC4-5D6E-409C-BE32-E72D297353CC}">
                <c16:uniqueId val="{00000009-FDFD-4659-86EB-F1ABAE3E86F2}"/>
              </c:ext>
            </c:extLst>
          </c:dPt>
          <c:cat>
            <c:strRef>
              <c:f>'Data Analysis'!$B$54:$B$59</c:f>
              <c:strCache>
                <c:ptCount val="6"/>
                <c:pt idx="0">
                  <c:v>Central</c:v>
                </c:pt>
                <c:pt idx="1">
                  <c:v>Northeast</c:v>
                </c:pt>
                <c:pt idx="2">
                  <c:v>Northwest</c:v>
                </c:pt>
                <c:pt idx="3">
                  <c:v>South</c:v>
                </c:pt>
                <c:pt idx="4">
                  <c:v>Southeast</c:v>
                </c:pt>
                <c:pt idx="5">
                  <c:v>Southwest</c:v>
                </c:pt>
              </c:strCache>
            </c:strRef>
          </c:cat>
          <c:val>
            <c:numRef>
              <c:f>'Data Analysis'!$K$54:$K$59</c:f>
              <c:numCache>
                <c:formatCode>General</c:formatCode>
                <c:ptCount val="6"/>
                <c:pt idx="5" formatCode="#,##0">
                  <c:v>5267792.4456849312</c:v>
                </c:pt>
              </c:numCache>
            </c:numRef>
          </c:val>
          <c:extLst>
            <c:ext xmlns:c16="http://schemas.microsoft.com/office/drawing/2014/chart" uri="{C3380CC4-5D6E-409C-BE32-E72D297353CC}">
              <c16:uniqueId val="{00000008-FDFD-4659-86EB-F1ABAE3E86F2}"/>
            </c:ext>
          </c:extLst>
        </c:ser>
        <c:dLbls>
          <c:showLegendKey val="0"/>
          <c:showVal val="0"/>
          <c:showCatName val="0"/>
          <c:showSerName val="0"/>
          <c:showPercent val="0"/>
          <c:showBubbleSize val="0"/>
        </c:dLbls>
        <c:gapWidth val="150"/>
        <c:overlap val="100"/>
        <c:axId val="772881184"/>
        <c:axId val="772880224"/>
      </c:barChart>
      <c:catAx>
        <c:axId val="772881184"/>
        <c:scaling>
          <c:orientation val="minMax"/>
        </c:scaling>
        <c:delete val="1"/>
        <c:axPos val="b"/>
        <c:numFmt formatCode="General" sourceLinked="1"/>
        <c:majorTickMark val="none"/>
        <c:minorTickMark val="none"/>
        <c:tickLblPos val="nextTo"/>
        <c:crossAx val="772880224"/>
        <c:crosses val="autoZero"/>
        <c:auto val="1"/>
        <c:lblAlgn val="ctr"/>
        <c:lblOffset val="100"/>
        <c:noMultiLvlLbl val="0"/>
      </c:catAx>
      <c:valAx>
        <c:axId val="772880224"/>
        <c:scaling>
          <c:orientation val="minMax"/>
        </c:scaling>
        <c:delete val="1"/>
        <c:axPos val="l"/>
        <c:numFmt formatCode="#,##0" sourceLinked="1"/>
        <c:majorTickMark val="none"/>
        <c:minorTickMark val="none"/>
        <c:tickLblPos val="nextTo"/>
        <c:crossAx val="772881184"/>
        <c:crosses val="autoZero"/>
        <c:crossBetween val="between"/>
        <c:dispUnits>
          <c:builtInUnit val="million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v>Permitted</c:v>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Data Analysis'!$B$72:$B$77</c:f>
              <c:strCache>
                <c:ptCount val="6"/>
                <c:pt idx="0">
                  <c:v>Central</c:v>
                </c:pt>
                <c:pt idx="1">
                  <c:v>Northeast</c:v>
                </c:pt>
                <c:pt idx="2">
                  <c:v>Northwest</c:v>
                </c:pt>
                <c:pt idx="3">
                  <c:v>South</c:v>
                </c:pt>
                <c:pt idx="4">
                  <c:v>Southeast</c:v>
                </c:pt>
                <c:pt idx="5">
                  <c:v>Southwest</c:v>
                </c:pt>
              </c:strCache>
            </c:strRef>
          </c:cat>
          <c:val>
            <c:numRef>
              <c:f>'Data Analysis'!$E$72:$E$77</c:f>
              <c:numCache>
                <c:formatCode>General</c:formatCode>
                <c:ptCount val="6"/>
                <c:pt idx="0">
                  <c:v>18</c:v>
                </c:pt>
                <c:pt idx="1">
                  <c:v>23</c:v>
                </c:pt>
                <c:pt idx="2">
                  <c:v>14</c:v>
                </c:pt>
                <c:pt idx="3">
                  <c:v>13</c:v>
                </c:pt>
                <c:pt idx="4">
                  <c:v>13</c:v>
                </c:pt>
                <c:pt idx="5">
                  <c:v>16</c:v>
                </c:pt>
              </c:numCache>
            </c:numRef>
          </c:val>
          <c:extLst>
            <c:ext xmlns:c16="http://schemas.microsoft.com/office/drawing/2014/chart" uri="{C3380CC4-5D6E-409C-BE32-E72D297353CC}">
              <c16:uniqueId val="{00000000-9576-4ABB-A875-F6FC6CAC1F08}"/>
            </c:ext>
          </c:extLst>
        </c:ser>
        <c:ser>
          <c:idx val="1"/>
          <c:order val="1"/>
          <c:tx>
            <c:v>Constructed</c:v>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Data Analysis'!$F$72:$F$77</c:f>
              <c:numCache>
                <c:formatCode>General</c:formatCode>
                <c:ptCount val="6"/>
                <c:pt idx="0">
                  <c:v>5</c:v>
                </c:pt>
                <c:pt idx="1">
                  <c:v>5</c:v>
                </c:pt>
                <c:pt idx="2">
                  <c:v>3</c:v>
                </c:pt>
                <c:pt idx="3">
                  <c:v>8</c:v>
                </c:pt>
                <c:pt idx="4">
                  <c:v>3</c:v>
                </c:pt>
                <c:pt idx="5">
                  <c:v>8</c:v>
                </c:pt>
              </c:numCache>
            </c:numRef>
          </c:val>
          <c:extLst>
            <c:ext xmlns:c16="http://schemas.microsoft.com/office/drawing/2014/chart" uri="{C3380CC4-5D6E-409C-BE32-E72D297353CC}">
              <c16:uniqueId val="{00000001-9576-4ABB-A875-F6FC6CAC1F08}"/>
            </c:ext>
          </c:extLst>
        </c:ser>
        <c:dLbls>
          <c:dLblPos val="outEnd"/>
          <c:showLegendKey val="0"/>
          <c:showVal val="1"/>
          <c:showCatName val="0"/>
          <c:showSerName val="0"/>
          <c:showPercent val="0"/>
          <c:showBubbleSize val="0"/>
        </c:dLbls>
        <c:gapWidth val="100"/>
        <c:overlap val="-27"/>
        <c:axId val="988428767"/>
        <c:axId val="988429247"/>
      </c:barChart>
      <c:catAx>
        <c:axId val="9884287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988429247"/>
        <c:crosses val="autoZero"/>
        <c:auto val="1"/>
        <c:lblAlgn val="ctr"/>
        <c:lblOffset val="100"/>
        <c:noMultiLvlLbl val="0"/>
      </c:catAx>
      <c:valAx>
        <c:axId val="988429247"/>
        <c:scaling>
          <c:orientation val="minMax"/>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a:t>Full Years of Permitted Class I Landfill Capacity Remaining as of Jan. 1, 2025</a:t>
                </a:r>
              </a:p>
              <a:p>
                <a:pPr>
                  <a:defRPr/>
                </a:pPr>
                <a:endParaRPr lang="en-US"/>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98842876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WTE and MRF'!$F$3</c:f>
              <c:strCache>
                <c:ptCount val="1"/>
                <c:pt idx="0">
                  <c:v>WTE 1</c:v>
                </c:pt>
              </c:strCache>
            </c:strRef>
          </c:tx>
          <c:spPr>
            <a:solidFill>
              <a:schemeClr val="accent1"/>
            </a:solidFill>
            <a:ln>
              <a:noFill/>
            </a:ln>
            <a:effectLst/>
          </c:spPr>
          <c:invertIfNegative val="0"/>
          <c:cat>
            <c:strRef>
              <c:f>'WTE and MRF'!$E$4:$E$9</c:f>
              <c:strCache>
                <c:ptCount val="6"/>
                <c:pt idx="0">
                  <c:v>Central</c:v>
                </c:pt>
                <c:pt idx="1">
                  <c:v>Northeast</c:v>
                </c:pt>
                <c:pt idx="2">
                  <c:v>Northwest</c:v>
                </c:pt>
                <c:pt idx="3">
                  <c:v>South</c:v>
                </c:pt>
                <c:pt idx="4">
                  <c:v>Southeast</c:v>
                </c:pt>
                <c:pt idx="5">
                  <c:v>Southwest</c:v>
                </c:pt>
              </c:strCache>
            </c:strRef>
          </c:cat>
          <c:val>
            <c:numRef>
              <c:f>'WTE and MRF'!$F$4:$F$9</c:f>
              <c:numCache>
                <c:formatCode>General</c:formatCode>
                <c:ptCount val="6"/>
                <c:pt idx="0" formatCode="#,##0">
                  <c:v>163000</c:v>
                </c:pt>
                <c:pt idx="3" formatCode="#,##0">
                  <c:v>610000</c:v>
                </c:pt>
                <c:pt idx="4" formatCode="#,##0">
                  <c:v>821250</c:v>
                </c:pt>
                <c:pt idx="5" formatCode="#,##0">
                  <c:v>550000</c:v>
                </c:pt>
              </c:numCache>
            </c:numRef>
          </c:val>
          <c:extLst>
            <c:ext xmlns:c16="http://schemas.microsoft.com/office/drawing/2014/chart" uri="{C3380CC4-5D6E-409C-BE32-E72D297353CC}">
              <c16:uniqueId val="{00000000-BCEF-48E7-9505-F3D6C2F8C4CD}"/>
            </c:ext>
          </c:extLst>
        </c:ser>
        <c:ser>
          <c:idx val="1"/>
          <c:order val="1"/>
          <c:tx>
            <c:strRef>
              <c:f>'WTE and MRF'!$G$3</c:f>
              <c:strCache>
                <c:ptCount val="1"/>
                <c:pt idx="0">
                  <c:v>WTE 2</c:v>
                </c:pt>
              </c:strCache>
            </c:strRef>
          </c:tx>
          <c:spPr>
            <a:solidFill>
              <a:schemeClr val="accent2"/>
            </a:solidFill>
            <a:ln>
              <a:noFill/>
            </a:ln>
            <a:effectLst/>
          </c:spPr>
          <c:invertIfNegative val="0"/>
          <c:cat>
            <c:strRef>
              <c:f>'WTE and MRF'!$E$4:$E$9</c:f>
              <c:strCache>
                <c:ptCount val="6"/>
                <c:pt idx="0">
                  <c:v>Central</c:v>
                </c:pt>
                <c:pt idx="1">
                  <c:v>Northeast</c:v>
                </c:pt>
                <c:pt idx="2">
                  <c:v>Northwest</c:v>
                </c:pt>
                <c:pt idx="3">
                  <c:v>South</c:v>
                </c:pt>
                <c:pt idx="4">
                  <c:v>Southeast</c:v>
                </c:pt>
                <c:pt idx="5">
                  <c:v>Southwest</c:v>
                </c:pt>
              </c:strCache>
            </c:strRef>
          </c:cat>
          <c:val>
            <c:numRef>
              <c:f>'WTE and MRF'!$G$4:$G$9</c:f>
              <c:numCache>
                <c:formatCode>General</c:formatCode>
                <c:ptCount val="6"/>
                <c:pt idx="4" formatCode="#,##0">
                  <c:v>817000</c:v>
                </c:pt>
                <c:pt idx="5" formatCode="#,##0">
                  <c:v>340000</c:v>
                </c:pt>
              </c:numCache>
            </c:numRef>
          </c:val>
          <c:extLst>
            <c:ext xmlns:c16="http://schemas.microsoft.com/office/drawing/2014/chart" uri="{C3380CC4-5D6E-409C-BE32-E72D297353CC}">
              <c16:uniqueId val="{00000001-BCEF-48E7-9505-F3D6C2F8C4CD}"/>
            </c:ext>
          </c:extLst>
        </c:ser>
        <c:ser>
          <c:idx val="2"/>
          <c:order val="2"/>
          <c:tx>
            <c:strRef>
              <c:f>'WTE and MRF'!$H$3</c:f>
              <c:strCache>
                <c:ptCount val="1"/>
                <c:pt idx="0">
                  <c:v>WTE 3</c:v>
                </c:pt>
              </c:strCache>
            </c:strRef>
          </c:tx>
          <c:spPr>
            <a:solidFill>
              <a:schemeClr val="accent3"/>
            </a:solidFill>
            <a:ln>
              <a:noFill/>
            </a:ln>
            <a:effectLst/>
          </c:spPr>
          <c:invertIfNegative val="0"/>
          <c:cat>
            <c:strRef>
              <c:f>'WTE and MRF'!$E$4:$E$9</c:f>
              <c:strCache>
                <c:ptCount val="6"/>
                <c:pt idx="0">
                  <c:v>Central</c:v>
                </c:pt>
                <c:pt idx="1">
                  <c:v>Northeast</c:v>
                </c:pt>
                <c:pt idx="2">
                  <c:v>Northwest</c:v>
                </c:pt>
                <c:pt idx="3">
                  <c:v>South</c:v>
                </c:pt>
                <c:pt idx="4">
                  <c:v>Southeast</c:v>
                </c:pt>
                <c:pt idx="5">
                  <c:v>Southwest</c:v>
                </c:pt>
              </c:strCache>
            </c:strRef>
          </c:cat>
          <c:val>
            <c:numRef>
              <c:f>'WTE and MRF'!$H$4:$H$9</c:f>
              <c:numCache>
                <c:formatCode>General</c:formatCode>
                <c:ptCount val="6"/>
                <c:pt idx="4" formatCode="#,##0">
                  <c:v>1000000</c:v>
                </c:pt>
                <c:pt idx="5" formatCode="#,##0">
                  <c:v>985500</c:v>
                </c:pt>
              </c:numCache>
            </c:numRef>
          </c:val>
          <c:extLst>
            <c:ext xmlns:c16="http://schemas.microsoft.com/office/drawing/2014/chart" uri="{C3380CC4-5D6E-409C-BE32-E72D297353CC}">
              <c16:uniqueId val="{00000002-BCEF-48E7-9505-F3D6C2F8C4CD}"/>
            </c:ext>
          </c:extLst>
        </c:ser>
        <c:ser>
          <c:idx val="3"/>
          <c:order val="3"/>
          <c:tx>
            <c:strRef>
              <c:f>'WTE and MRF'!$I$3</c:f>
              <c:strCache>
                <c:ptCount val="1"/>
                <c:pt idx="0">
                  <c:v>WTE 4</c:v>
                </c:pt>
              </c:strCache>
            </c:strRef>
          </c:tx>
          <c:spPr>
            <a:solidFill>
              <a:schemeClr val="accent4"/>
            </a:solidFill>
            <a:ln>
              <a:noFill/>
            </a:ln>
            <a:effectLst/>
          </c:spPr>
          <c:invertIfNegative val="0"/>
          <c:cat>
            <c:strRef>
              <c:f>'WTE and MRF'!$E$4:$E$9</c:f>
              <c:strCache>
                <c:ptCount val="6"/>
                <c:pt idx="0">
                  <c:v>Central</c:v>
                </c:pt>
                <c:pt idx="1">
                  <c:v>Northeast</c:v>
                </c:pt>
                <c:pt idx="2">
                  <c:v>Northwest</c:v>
                </c:pt>
                <c:pt idx="3">
                  <c:v>South</c:v>
                </c:pt>
                <c:pt idx="4">
                  <c:v>Southeast</c:v>
                </c:pt>
                <c:pt idx="5">
                  <c:v>Southwest</c:v>
                </c:pt>
              </c:strCache>
            </c:strRef>
          </c:cat>
          <c:val>
            <c:numRef>
              <c:f>'WTE and MRF'!$I$4:$I$9</c:f>
              <c:numCache>
                <c:formatCode>General</c:formatCode>
                <c:ptCount val="6"/>
                <c:pt idx="5" formatCode="#,##0">
                  <c:v>310000</c:v>
                </c:pt>
              </c:numCache>
            </c:numRef>
          </c:val>
          <c:extLst>
            <c:ext xmlns:c16="http://schemas.microsoft.com/office/drawing/2014/chart" uri="{C3380CC4-5D6E-409C-BE32-E72D297353CC}">
              <c16:uniqueId val="{00000003-BCEF-48E7-9505-F3D6C2F8C4CD}"/>
            </c:ext>
          </c:extLst>
        </c:ser>
        <c:dLbls>
          <c:showLegendKey val="0"/>
          <c:showVal val="0"/>
          <c:showCatName val="0"/>
          <c:showSerName val="0"/>
          <c:showPercent val="0"/>
          <c:showBubbleSize val="0"/>
        </c:dLbls>
        <c:gapWidth val="100"/>
        <c:overlap val="100"/>
        <c:axId val="1863186192"/>
        <c:axId val="1863189072"/>
      </c:barChart>
      <c:catAx>
        <c:axId val="1863186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863189072"/>
        <c:crosses val="autoZero"/>
        <c:auto val="1"/>
        <c:lblAlgn val="ctr"/>
        <c:lblOffset val="100"/>
        <c:noMultiLvlLbl val="0"/>
      </c:catAx>
      <c:valAx>
        <c:axId val="186318907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a:t>Annual WTE Capacity</a:t>
                </a:r>
              </a:p>
              <a:p>
                <a:pPr>
                  <a:defRPr/>
                </a:pPr>
                <a:r>
                  <a:rPr lang="en-US"/>
                  <a:t>(millions of tons)</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863186192"/>
        <c:crosses val="autoZero"/>
        <c:crossBetween val="between"/>
        <c:dispUnits>
          <c:builtInUnit val="million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sz="1800"/>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WTE and MRF'!$F$23</c:f>
              <c:strCache>
                <c:ptCount val="1"/>
                <c:pt idx="0">
                  <c:v>MRF 1</c:v>
                </c:pt>
              </c:strCache>
            </c:strRef>
          </c:tx>
          <c:spPr>
            <a:solidFill>
              <a:schemeClr val="accent1"/>
            </a:solidFill>
            <a:ln>
              <a:noFill/>
            </a:ln>
            <a:effectLst/>
          </c:spPr>
          <c:invertIfNegative val="0"/>
          <c:cat>
            <c:strRef>
              <c:f>'WTE and MRF'!$E$24:$E$29</c:f>
              <c:strCache>
                <c:ptCount val="6"/>
                <c:pt idx="0">
                  <c:v>Central</c:v>
                </c:pt>
                <c:pt idx="1">
                  <c:v>Northeast</c:v>
                </c:pt>
                <c:pt idx="2">
                  <c:v>Northwest</c:v>
                </c:pt>
                <c:pt idx="3">
                  <c:v>South</c:v>
                </c:pt>
                <c:pt idx="4">
                  <c:v>Southeast</c:v>
                </c:pt>
                <c:pt idx="5">
                  <c:v>Southwest</c:v>
                </c:pt>
              </c:strCache>
            </c:strRef>
          </c:cat>
          <c:val>
            <c:numRef>
              <c:f>'WTE and MRF'!$F$24:$F$29</c:f>
              <c:numCache>
                <c:formatCode>#,##0</c:formatCode>
                <c:ptCount val="6"/>
                <c:pt idx="0">
                  <c:v>36000</c:v>
                </c:pt>
                <c:pt idx="1">
                  <c:v>91000</c:v>
                </c:pt>
                <c:pt idx="2">
                  <c:v>76000</c:v>
                </c:pt>
                <c:pt idx="3">
                  <c:v>30000</c:v>
                </c:pt>
                <c:pt idx="4">
                  <c:v>125000</c:v>
                </c:pt>
                <c:pt idx="5">
                  <c:v>90000</c:v>
                </c:pt>
              </c:numCache>
            </c:numRef>
          </c:val>
          <c:extLst>
            <c:ext xmlns:c16="http://schemas.microsoft.com/office/drawing/2014/chart" uri="{C3380CC4-5D6E-409C-BE32-E72D297353CC}">
              <c16:uniqueId val="{00000000-1965-452E-B743-96E769CCBC97}"/>
            </c:ext>
          </c:extLst>
        </c:ser>
        <c:ser>
          <c:idx val="1"/>
          <c:order val="1"/>
          <c:tx>
            <c:strRef>
              <c:f>'WTE and MRF'!$G$23</c:f>
              <c:strCache>
                <c:ptCount val="1"/>
                <c:pt idx="0">
                  <c:v>MRF 2</c:v>
                </c:pt>
              </c:strCache>
            </c:strRef>
          </c:tx>
          <c:spPr>
            <a:solidFill>
              <a:schemeClr val="accent2"/>
            </a:solidFill>
            <a:ln>
              <a:noFill/>
            </a:ln>
            <a:effectLst/>
          </c:spPr>
          <c:invertIfNegative val="0"/>
          <c:cat>
            <c:strRef>
              <c:f>'WTE and MRF'!$E$24:$E$29</c:f>
              <c:strCache>
                <c:ptCount val="6"/>
                <c:pt idx="0">
                  <c:v>Central</c:v>
                </c:pt>
                <c:pt idx="1">
                  <c:v>Northeast</c:v>
                </c:pt>
                <c:pt idx="2">
                  <c:v>Northwest</c:v>
                </c:pt>
                <c:pt idx="3">
                  <c:v>South</c:v>
                </c:pt>
                <c:pt idx="4">
                  <c:v>Southeast</c:v>
                </c:pt>
                <c:pt idx="5">
                  <c:v>Southwest</c:v>
                </c:pt>
              </c:strCache>
            </c:strRef>
          </c:cat>
          <c:val>
            <c:numRef>
              <c:f>'WTE and MRF'!$G$24:$G$29</c:f>
              <c:numCache>
                <c:formatCode>#,##0</c:formatCode>
                <c:ptCount val="6"/>
                <c:pt idx="0">
                  <c:v>125000</c:v>
                </c:pt>
                <c:pt idx="1">
                  <c:v>18000</c:v>
                </c:pt>
                <c:pt idx="2">
                  <c:v>21250</c:v>
                </c:pt>
                <c:pt idx="3">
                  <c:v>120000</c:v>
                </c:pt>
                <c:pt idx="4">
                  <c:v>214000</c:v>
                </c:pt>
                <c:pt idx="5">
                  <c:v>175000</c:v>
                </c:pt>
              </c:numCache>
            </c:numRef>
          </c:val>
          <c:extLst>
            <c:ext xmlns:c16="http://schemas.microsoft.com/office/drawing/2014/chart" uri="{C3380CC4-5D6E-409C-BE32-E72D297353CC}">
              <c16:uniqueId val="{00000001-1965-452E-B743-96E769CCBC97}"/>
            </c:ext>
          </c:extLst>
        </c:ser>
        <c:ser>
          <c:idx val="2"/>
          <c:order val="2"/>
          <c:tx>
            <c:strRef>
              <c:f>'WTE and MRF'!$H$23</c:f>
              <c:strCache>
                <c:ptCount val="1"/>
                <c:pt idx="0">
                  <c:v>MRF 3</c:v>
                </c:pt>
              </c:strCache>
            </c:strRef>
          </c:tx>
          <c:spPr>
            <a:solidFill>
              <a:schemeClr val="accent3"/>
            </a:solidFill>
            <a:ln>
              <a:noFill/>
            </a:ln>
            <a:effectLst/>
          </c:spPr>
          <c:invertIfNegative val="0"/>
          <c:cat>
            <c:strRef>
              <c:f>'WTE and MRF'!$E$24:$E$29</c:f>
              <c:strCache>
                <c:ptCount val="6"/>
                <c:pt idx="0">
                  <c:v>Central</c:v>
                </c:pt>
                <c:pt idx="1">
                  <c:v>Northeast</c:v>
                </c:pt>
                <c:pt idx="2">
                  <c:v>Northwest</c:v>
                </c:pt>
                <c:pt idx="3">
                  <c:v>South</c:v>
                </c:pt>
                <c:pt idx="4">
                  <c:v>Southeast</c:v>
                </c:pt>
                <c:pt idx="5">
                  <c:v>Southwest</c:v>
                </c:pt>
              </c:strCache>
            </c:strRef>
          </c:cat>
          <c:val>
            <c:numRef>
              <c:f>'WTE and MRF'!$H$24:$H$29</c:f>
              <c:numCache>
                <c:formatCode>General</c:formatCode>
                <c:ptCount val="6"/>
                <c:pt idx="3" formatCode="#,##0">
                  <c:v>96000</c:v>
                </c:pt>
                <c:pt idx="4" formatCode="#,##0">
                  <c:v>108000</c:v>
                </c:pt>
                <c:pt idx="5" formatCode="#,##0">
                  <c:v>73000</c:v>
                </c:pt>
              </c:numCache>
            </c:numRef>
          </c:val>
          <c:extLst>
            <c:ext xmlns:c16="http://schemas.microsoft.com/office/drawing/2014/chart" uri="{C3380CC4-5D6E-409C-BE32-E72D297353CC}">
              <c16:uniqueId val="{00000002-1965-452E-B743-96E769CCBC97}"/>
            </c:ext>
          </c:extLst>
        </c:ser>
        <c:ser>
          <c:idx val="3"/>
          <c:order val="3"/>
          <c:tx>
            <c:strRef>
              <c:f>'WTE and MRF'!$I$23</c:f>
              <c:strCache>
                <c:ptCount val="1"/>
                <c:pt idx="0">
                  <c:v>MRF 4</c:v>
                </c:pt>
              </c:strCache>
            </c:strRef>
          </c:tx>
          <c:spPr>
            <a:solidFill>
              <a:schemeClr val="accent4"/>
            </a:solidFill>
            <a:ln>
              <a:noFill/>
            </a:ln>
            <a:effectLst/>
          </c:spPr>
          <c:invertIfNegative val="0"/>
          <c:cat>
            <c:strRef>
              <c:f>'WTE and MRF'!$E$24:$E$29</c:f>
              <c:strCache>
                <c:ptCount val="6"/>
                <c:pt idx="0">
                  <c:v>Central</c:v>
                </c:pt>
                <c:pt idx="1">
                  <c:v>Northeast</c:v>
                </c:pt>
                <c:pt idx="2">
                  <c:v>Northwest</c:v>
                </c:pt>
                <c:pt idx="3">
                  <c:v>South</c:v>
                </c:pt>
                <c:pt idx="4">
                  <c:v>Southeast</c:v>
                </c:pt>
                <c:pt idx="5">
                  <c:v>Southwest</c:v>
                </c:pt>
              </c:strCache>
            </c:strRef>
          </c:cat>
          <c:val>
            <c:numRef>
              <c:f>'WTE and MRF'!$I$24:$I$29</c:f>
              <c:numCache>
                <c:formatCode>General</c:formatCode>
                <c:ptCount val="6"/>
                <c:pt idx="4" formatCode="#,##0">
                  <c:v>51500</c:v>
                </c:pt>
              </c:numCache>
            </c:numRef>
          </c:val>
          <c:extLst>
            <c:ext xmlns:c16="http://schemas.microsoft.com/office/drawing/2014/chart" uri="{C3380CC4-5D6E-409C-BE32-E72D297353CC}">
              <c16:uniqueId val="{00000003-1965-452E-B743-96E769CCBC97}"/>
            </c:ext>
          </c:extLst>
        </c:ser>
        <c:dLbls>
          <c:showLegendKey val="0"/>
          <c:showVal val="0"/>
          <c:showCatName val="0"/>
          <c:showSerName val="0"/>
          <c:showPercent val="0"/>
          <c:showBubbleSize val="0"/>
        </c:dLbls>
        <c:gapWidth val="150"/>
        <c:overlap val="100"/>
        <c:axId val="2047113136"/>
        <c:axId val="2047113616"/>
      </c:barChart>
      <c:catAx>
        <c:axId val="2047113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47113616"/>
        <c:crosses val="autoZero"/>
        <c:auto val="1"/>
        <c:lblAlgn val="ctr"/>
        <c:lblOffset val="100"/>
        <c:noMultiLvlLbl val="0"/>
      </c:catAx>
      <c:valAx>
        <c:axId val="204711361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a:t>Annual MRF Capacity </a:t>
                </a:r>
              </a:p>
              <a:p>
                <a:pPr>
                  <a:defRPr/>
                </a:pPr>
                <a:r>
                  <a:rPr lang="en-US"/>
                  <a:t>(millions of tons)</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47113136"/>
        <c:crosses val="autoZero"/>
        <c:crossBetween val="between"/>
        <c:dispUnits>
          <c:builtInUnit val="million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sz="18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4"/>
          <c:order val="0"/>
          <c:tx>
            <c:strRef>
              <c:f>'Data Analysis'!$D$82</c:f>
              <c:strCache>
                <c:ptCount val="1"/>
                <c:pt idx="0">
                  <c:v>Permitted Capacity </c:v>
                </c:pt>
              </c:strCache>
            </c:strRef>
          </c:tx>
          <c:spPr>
            <a:ln w="28575" cap="rnd">
              <a:solidFill>
                <a:schemeClr val="accent5"/>
              </a:solidFill>
              <a:prstDash val="lgDash"/>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D$83:$D$123</c:f>
              <c:numCache>
                <c:formatCode>#,##0</c:formatCode>
                <c:ptCount val="41"/>
                <c:pt idx="0">
                  <c:v>458050905.78407818</c:v>
                </c:pt>
                <c:pt idx="1">
                  <c:v>458050905.78407818</c:v>
                </c:pt>
                <c:pt idx="2">
                  <c:v>458050905.78407818</c:v>
                </c:pt>
                <c:pt idx="3">
                  <c:v>458050905.78407818</c:v>
                </c:pt>
                <c:pt idx="4">
                  <c:v>458050905.78407818</c:v>
                </c:pt>
                <c:pt idx="5">
                  <c:v>458050905.78407818</c:v>
                </c:pt>
                <c:pt idx="6">
                  <c:v>458050905.78407818</c:v>
                </c:pt>
                <c:pt idx="7">
                  <c:v>458050905.78407818</c:v>
                </c:pt>
                <c:pt idx="8">
                  <c:v>458050905.78407818</c:v>
                </c:pt>
                <c:pt idx="9">
                  <c:v>458050905.78407818</c:v>
                </c:pt>
                <c:pt idx="10">
                  <c:v>458050905.78407818</c:v>
                </c:pt>
                <c:pt idx="11">
                  <c:v>458050905.78407818</c:v>
                </c:pt>
                <c:pt idx="12">
                  <c:v>458050905.78407818</c:v>
                </c:pt>
                <c:pt idx="13">
                  <c:v>458050905.78407818</c:v>
                </c:pt>
                <c:pt idx="14">
                  <c:v>458050905.78407818</c:v>
                </c:pt>
                <c:pt idx="15">
                  <c:v>458050905.78407818</c:v>
                </c:pt>
                <c:pt idx="16">
                  <c:v>458050905.78407818</c:v>
                </c:pt>
                <c:pt idx="17">
                  <c:v>458050905.78407818</c:v>
                </c:pt>
                <c:pt idx="18">
                  <c:v>458050905.78407818</c:v>
                </c:pt>
                <c:pt idx="19">
                  <c:v>458050905.78407818</c:v>
                </c:pt>
                <c:pt idx="20">
                  <c:v>458050905.78407818</c:v>
                </c:pt>
                <c:pt idx="21">
                  <c:v>458050905.78407818</c:v>
                </c:pt>
                <c:pt idx="22">
                  <c:v>458050905.78407818</c:v>
                </c:pt>
                <c:pt idx="23">
                  <c:v>458050905.78407818</c:v>
                </c:pt>
                <c:pt idx="24">
                  <c:v>458050905.78407818</c:v>
                </c:pt>
                <c:pt idx="25">
                  <c:v>458050905.78407818</c:v>
                </c:pt>
                <c:pt idx="26">
                  <c:v>458050905.78407818</c:v>
                </c:pt>
                <c:pt idx="27">
                  <c:v>458050905.78407818</c:v>
                </c:pt>
                <c:pt idx="28">
                  <c:v>458050905.78407818</c:v>
                </c:pt>
                <c:pt idx="29">
                  <c:v>458050905.78407818</c:v>
                </c:pt>
                <c:pt idx="30">
                  <c:v>458050905.78407818</c:v>
                </c:pt>
                <c:pt idx="31">
                  <c:v>458050905.78407818</c:v>
                </c:pt>
                <c:pt idx="32">
                  <c:v>458050905.78407818</c:v>
                </c:pt>
                <c:pt idx="33">
                  <c:v>458050905.78407818</c:v>
                </c:pt>
                <c:pt idx="34">
                  <c:v>458050905.78407818</c:v>
                </c:pt>
                <c:pt idx="35">
                  <c:v>458050905.78407818</c:v>
                </c:pt>
                <c:pt idx="36">
                  <c:v>458050905.78407818</c:v>
                </c:pt>
                <c:pt idx="37">
                  <c:v>458050905.78407818</c:v>
                </c:pt>
                <c:pt idx="38">
                  <c:v>458050905.78407818</c:v>
                </c:pt>
                <c:pt idx="39">
                  <c:v>458050905.78407818</c:v>
                </c:pt>
                <c:pt idx="40">
                  <c:v>458050905.78407818</c:v>
                </c:pt>
              </c:numCache>
              <c:extLst/>
            </c:numRef>
          </c:val>
          <c:smooth val="0"/>
          <c:extLst>
            <c:ext xmlns:c16="http://schemas.microsoft.com/office/drawing/2014/chart" uri="{C3380CC4-5D6E-409C-BE32-E72D297353CC}">
              <c16:uniqueId val="{00000000-1EDD-4DD7-A2B5-D3DC27FC73CB}"/>
            </c:ext>
          </c:extLst>
        </c:ser>
        <c:ser>
          <c:idx val="3"/>
          <c:order val="1"/>
          <c:tx>
            <c:strRef>
              <c:f>'Data Analysis'!$E$82</c:f>
              <c:strCache>
                <c:ptCount val="1"/>
                <c:pt idx="0">
                  <c:v>Constructed Capacity</c:v>
                </c:pt>
              </c:strCache>
            </c:strRef>
          </c:tx>
          <c:spPr>
            <a:ln w="28575" cap="rnd">
              <a:solidFill>
                <a:schemeClr val="accent4"/>
              </a:solidFill>
              <a:prstDash val="dash"/>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E$83:$E$123</c:f>
              <c:numCache>
                <c:formatCode>#,##0</c:formatCode>
                <c:ptCount val="41"/>
                <c:pt idx="0">
                  <c:v>123059334.04557826</c:v>
                </c:pt>
                <c:pt idx="1">
                  <c:v>123059334.04557826</c:v>
                </c:pt>
                <c:pt idx="2">
                  <c:v>123059334.04557826</c:v>
                </c:pt>
                <c:pt idx="3">
                  <c:v>123059334.04557826</c:v>
                </c:pt>
                <c:pt idx="4">
                  <c:v>123059334.04557826</c:v>
                </c:pt>
                <c:pt idx="5">
                  <c:v>123059334.04557826</c:v>
                </c:pt>
                <c:pt idx="6">
                  <c:v>123059334.04557826</c:v>
                </c:pt>
                <c:pt idx="7">
                  <c:v>123059334.04557826</c:v>
                </c:pt>
                <c:pt idx="8">
                  <c:v>123059334.04557826</c:v>
                </c:pt>
                <c:pt idx="9">
                  <c:v>123059334.04557826</c:v>
                </c:pt>
                <c:pt idx="10">
                  <c:v>123059334.04557826</c:v>
                </c:pt>
                <c:pt idx="11">
                  <c:v>123059334.04557826</c:v>
                </c:pt>
                <c:pt idx="12">
                  <c:v>123059334.04557826</c:v>
                </c:pt>
                <c:pt idx="13">
                  <c:v>123059334.04557826</c:v>
                </c:pt>
                <c:pt idx="14">
                  <c:v>123059334.04557826</c:v>
                </c:pt>
                <c:pt idx="15">
                  <c:v>123059334.04557826</c:v>
                </c:pt>
                <c:pt idx="16">
                  <c:v>123059334.04557826</c:v>
                </c:pt>
                <c:pt idx="17">
                  <c:v>123059334.04557826</c:v>
                </c:pt>
                <c:pt idx="18">
                  <c:v>123059334.04557826</c:v>
                </c:pt>
                <c:pt idx="19">
                  <c:v>123059334.04557826</c:v>
                </c:pt>
                <c:pt idx="20">
                  <c:v>123059334.04557826</c:v>
                </c:pt>
                <c:pt idx="21">
                  <c:v>123059334.04557826</c:v>
                </c:pt>
                <c:pt idx="22">
                  <c:v>123059334.04557826</c:v>
                </c:pt>
                <c:pt idx="23">
                  <c:v>123059334.04557826</c:v>
                </c:pt>
                <c:pt idx="24">
                  <c:v>123059334.04557826</c:v>
                </c:pt>
                <c:pt idx="25">
                  <c:v>123059334.04557826</c:v>
                </c:pt>
                <c:pt idx="26">
                  <c:v>123059334.04557826</c:v>
                </c:pt>
                <c:pt idx="27">
                  <c:v>123059334.04557826</c:v>
                </c:pt>
                <c:pt idx="28">
                  <c:v>123059334.04557826</c:v>
                </c:pt>
                <c:pt idx="29">
                  <c:v>123059334.04557826</c:v>
                </c:pt>
                <c:pt idx="30">
                  <c:v>123059334.04557826</c:v>
                </c:pt>
                <c:pt idx="31">
                  <c:v>123059334.04557826</c:v>
                </c:pt>
                <c:pt idx="32">
                  <c:v>123059334.04557826</c:v>
                </c:pt>
                <c:pt idx="33">
                  <c:v>123059334.04557826</c:v>
                </c:pt>
                <c:pt idx="34">
                  <c:v>123059334.04557826</c:v>
                </c:pt>
                <c:pt idx="35">
                  <c:v>123059334.04557826</c:v>
                </c:pt>
                <c:pt idx="36">
                  <c:v>123059334.04557826</c:v>
                </c:pt>
                <c:pt idx="37">
                  <c:v>123059334.04557826</c:v>
                </c:pt>
                <c:pt idx="38">
                  <c:v>123059334.04557826</c:v>
                </c:pt>
                <c:pt idx="39">
                  <c:v>123059334.04557826</c:v>
                </c:pt>
                <c:pt idx="40">
                  <c:v>123059334.04557826</c:v>
                </c:pt>
              </c:numCache>
              <c:extLst/>
            </c:numRef>
          </c:val>
          <c:smooth val="0"/>
          <c:extLst>
            <c:ext xmlns:c16="http://schemas.microsoft.com/office/drawing/2014/chart" uri="{C3380CC4-5D6E-409C-BE32-E72D297353CC}">
              <c16:uniqueId val="{00000001-1EDD-4DD7-A2B5-D3DC27FC73CB}"/>
            </c:ext>
          </c:extLst>
        </c:ser>
        <c:dLbls>
          <c:showLegendKey val="0"/>
          <c:showVal val="0"/>
          <c:showCatName val="0"/>
          <c:showSerName val="0"/>
          <c:showPercent val="0"/>
          <c:showBubbleSize val="0"/>
        </c:dLbls>
        <c:smooth val="0"/>
        <c:axId val="1341526047"/>
        <c:axId val="1343039903"/>
      </c:lineChart>
      <c:catAx>
        <c:axId val="1341526047"/>
        <c:scaling>
          <c:orientation val="minMax"/>
        </c:scaling>
        <c:delete val="0"/>
        <c:axPos val="b"/>
        <c:numFmt formatCode="General" sourceLinked="1"/>
        <c:majorTickMark val="cross"/>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343039903"/>
        <c:crosses val="autoZero"/>
        <c:auto val="0"/>
        <c:lblAlgn val="ctr"/>
        <c:lblOffset val="100"/>
        <c:tickLblSkip val="4"/>
        <c:noMultiLvlLbl val="0"/>
      </c:catAx>
      <c:valAx>
        <c:axId val="1343039903"/>
        <c:scaling>
          <c:orientation val="minMax"/>
          <c:max val="500000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a:t>Millions of Class I Landfill Tons</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341526047"/>
        <c:crosses val="autoZero"/>
        <c:crossBetween val="midCat"/>
        <c:dispUnits>
          <c:builtInUnit val="million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4"/>
          <c:order val="0"/>
          <c:tx>
            <c:strRef>
              <c:f>'Data Analysis'!$D$82</c:f>
              <c:strCache>
                <c:ptCount val="1"/>
                <c:pt idx="0">
                  <c:v>Permitted Capacity </c:v>
                </c:pt>
              </c:strCache>
            </c:strRef>
          </c:tx>
          <c:spPr>
            <a:ln w="28575" cap="rnd">
              <a:solidFill>
                <a:schemeClr val="accent5"/>
              </a:solidFill>
              <a:prstDash val="lgDash"/>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D$83:$D$123</c:f>
              <c:numCache>
                <c:formatCode>#,##0</c:formatCode>
                <c:ptCount val="41"/>
                <c:pt idx="0">
                  <c:v>458050905.78407818</c:v>
                </c:pt>
                <c:pt idx="1">
                  <c:v>458050905.78407818</c:v>
                </c:pt>
                <c:pt idx="2">
                  <c:v>458050905.78407818</c:v>
                </c:pt>
                <c:pt idx="3">
                  <c:v>458050905.78407818</c:v>
                </c:pt>
                <c:pt idx="4">
                  <c:v>458050905.78407818</c:v>
                </c:pt>
                <c:pt idx="5">
                  <c:v>458050905.78407818</c:v>
                </c:pt>
                <c:pt idx="6">
                  <c:v>458050905.78407818</c:v>
                </c:pt>
                <c:pt idx="7">
                  <c:v>458050905.78407818</c:v>
                </c:pt>
                <c:pt idx="8">
                  <c:v>458050905.78407818</c:v>
                </c:pt>
                <c:pt idx="9">
                  <c:v>458050905.78407818</c:v>
                </c:pt>
                <c:pt idx="10">
                  <c:v>458050905.78407818</c:v>
                </c:pt>
                <c:pt idx="11">
                  <c:v>458050905.78407818</c:v>
                </c:pt>
                <c:pt idx="12">
                  <c:v>458050905.78407818</c:v>
                </c:pt>
                <c:pt idx="13">
                  <c:v>458050905.78407818</c:v>
                </c:pt>
                <c:pt idx="14">
                  <c:v>458050905.78407818</c:v>
                </c:pt>
                <c:pt idx="15">
                  <c:v>458050905.78407818</c:v>
                </c:pt>
                <c:pt idx="16">
                  <c:v>458050905.78407818</c:v>
                </c:pt>
                <c:pt idx="17">
                  <c:v>458050905.78407818</c:v>
                </c:pt>
                <c:pt idx="18">
                  <c:v>458050905.78407818</c:v>
                </c:pt>
                <c:pt idx="19">
                  <c:v>458050905.78407818</c:v>
                </c:pt>
                <c:pt idx="20">
                  <c:v>458050905.78407818</c:v>
                </c:pt>
                <c:pt idx="21">
                  <c:v>458050905.78407818</c:v>
                </c:pt>
                <c:pt idx="22">
                  <c:v>458050905.78407818</c:v>
                </c:pt>
                <c:pt idx="23">
                  <c:v>458050905.78407818</c:v>
                </c:pt>
                <c:pt idx="24">
                  <c:v>458050905.78407818</c:v>
                </c:pt>
                <c:pt idx="25">
                  <c:v>458050905.78407818</c:v>
                </c:pt>
                <c:pt idx="26">
                  <c:v>458050905.78407818</c:v>
                </c:pt>
                <c:pt idx="27">
                  <c:v>458050905.78407818</c:v>
                </c:pt>
                <c:pt idx="28">
                  <c:v>458050905.78407818</c:v>
                </c:pt>
                <c:pt idx="29">
                  <c:v>458050905.78407818</c:v>
                </c:pt>
                <c:pt idx="30">
                  <c:v>458050905.78407818</c:v>
                </c:pt>
                <c:pt idx="31">
                  <c:v>458050905.78407818</c:v>
                </c:pt>
                <c:pt idx="32">
                  <c:v>458050905.78407818</c:v>
                </c:pt>
                <c:pt idx="33">
                  <c:v>458050905.78407818</c:v>
                </c:pt>
                <c:pt idx="34">
                  <c:v>458050905.78407818</c:v>
                </c:pt>
                <c:pt idx="35">
                  <c:v>458050905.78407818</c:v>
                </c:pt>
                <c:pt idx="36">
                  <c:v>458050905.78407818</c:v>
                </c:pt>
                <c:pt idx="37">
                  <c:v>458050905.78407818</c:v>
                </c:pt>
                <c:pt idx="38">
                  <c:v>458050905.78407818</c:v>
                </c:pt>
                <c:pt idx="39">
                  <c:v>458050905.78407818</c:v>
                </c:pt>
                <c:pt idx="40">
                  <c:v>458050905.78407818</c:v>
                </c:pt>
              </c:numCache>
              <c:extLst/>
            </c:numRef>
          </c:val>
          <c:smooth val="0"/>
          <c:extLst>
            <c:ext xmlns:c16="http://schemas.microsoft.com/office/drawing/2014/chart" uri="{C3380CC4-5D6E-409C-BE32-E72D297353CC}">
              <c16:uniqueId val="{00000000-1EDD-4DD7-A2B5-D3DC27FC73CB}"/>
            </c:ext>
          </c:extLst>
        </c:ser>
        <c:ser>
          <c:idx val="3"/>
          <c:order val="1"/>
          <c:tx>
            <c:strRef>
              <c:f>'Data Analysis'!$E$82</c:f>
              <c:strCache>
                <c:ptCount val="1"/>
                <c:pt idx="0">
                  <c:v>Constructed Capacity</c:v>
                </c:pt>
              </c:strCache>
            </c:strRef>
          </c:tx>
          <c:spPr>
            <a:ln w="28575" cap="rnd">
              <a:solidFill>
                <a:schemeClr val="accent4"/>
              </a:solidFill>
              <a:prstDash val="dash"/>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E$83:$E$123</c:f>
              <c:numCache>
                <c:formatCode>#,##0</c:formatCode>
                <c:ptCount val="41"/>
                <c:pt idx="0">
                  <c:v>123059334.04557826</c:v>
                </c:pt>
                <c:pt idx="1">
                  <c:v>123059334.04557826</c:v>
                </c:pt>
                <c:pt idx="2">
                  <c:v>123059334.04557826</c:v>
                </c:pt>
                <c:pt idx="3">
                  <c:v>123059334.04557826</c:v>
                </c:pt>
                <c:pt idx="4">
                  <c:v>123059334.04557826</c:v>
                </c:pt>
                <c:pt idx="5">
                  <c:v>123059334.04557826</c:v>
                </c:pt>
                <c:pt idx="6">
                  <c:v>123059334.04557826</c:v>
                </c:pt>
                <c:pt idx="7">
                  <c:v>123059334.04557826</c:v>
                </c:pt>
                <c:pt idx="8">
                  <c:v>123059334.04557826</c:v>
                </c:pt>
                <c:pt idx="9">
                  <c:v>123059334.04557826</c:v>
                </c:pt>
                <c:pt idx="10">
                  <c:v>123059334.04557826</c:v>
                </c:pt>
                <c:pt idx="11">
                  <c:v>123059334.04557826</c:v>
                </c:pt>
                <c:pt idx="12">
                  <c:v>123059334.04557826</c:v>
                </c:pt>
                <c:pt idx="13">
                  <c:v>123059334.04557826</c:v>
                </c:pt>
                <c:pt idx="14">
                  <c:v>123059334.04557826</c:v>
                </c:pt>
                <c:pt idx="15">
                  <c:v>123059334.04557826</c:v>
                </c:pt>
                <c:pt idx="16">
                  <c:v>123059334.04557826</c:v>
                </c:pt>
                <c:pt idx="17">
                  <c:v>123059334.04557826</c:v>
                </c:pt>
                <c:pt idx="18">
                  <c:v>123059334.04557826</c:v>
                </c:pt>
                <c:pt idx="19">
                  <c:v>123059334.04557826</c:v>
                </c:pt>
                <c:pt idx="20">
                  <c:v>123059334.04557826</c:v>
                </c:pt>
                <c:pt idx="21">
                  <c:v>123059334.04557826</c:v>
                </c:pt>
                <c:pt idx="22">
                  <c:v>123059334.04557826</c:v>
                </c:pt>
                <c:pt idx="23">
                  <c:v>123059334.04557826</c:v>
                </c:pt>
                <c:pt idx="24">
                  <c:v>123059334.04557826</c:v>
                </c:pt>
                <c:pt idx="25">
                  <c:v>123059334.04557826</c:v>
                </c:pt>
                <c:pt idx="26">
                  <c:v>123059334.04557826</c:v>
                </c:pt>
                <c:pt idx="27">
                  <c:v>123059334.04557826</c:v>
                </c:pt>
                <c:pt idx="28">
                  <c:v>123059334.04557826</c:v>
                </c:pt>
                <c:pt idx="29">
                  <c:v>123059334.04557826</c:v>
                </c:pt>
                <c:pt idx="30">
                  <c:v>123059334.04557826</c:v>
                </c:pt>
                <c:pt idx="31">
                  <c:v>123059334.04557826</c:v>
                </c:pt>
                <c:pt idx="32">
                  <c:v>123059334.04557826</c:v>
                </c:pt>
                <c:pt idx="33">
                  <c:v>123059334.04557826</c:v>
                </c:pt>
                <c:pt idx="34">
                  <c:v>123059334.04557826</c:v>
                </c:pt>
                <c:pt idx="35">
                  <c:v>123059334.04557826</c:v>
                </c:pt>
                <c:pt idx="36">
                  <c:v>123059334.04557826</c:v>
                </c:pt>
                <c:pt idx="37">
                  <c:v>123059334.04557826</c:v>
                </c:pt>
                <c:pt idx="38">
                  <c:v>123059334.04557826</c:v>
                </c:pt>
                <c:pt idx="39">
                  <c:v>123059334.04557826</c:v>
                </c:pt>
                <c:pt idx="40">
                  <c:v>123059334.04557826</c:v>
                </c:pt>
              </c:numCache>
              <c:extLst/>
            </c:numRef>
          </c:val>
          <c:smooth val="0"/>
          <c:extLst>
            <c:ext xmlns:c16="http://schemas.microsoft.com/office/drawing/2014/chart" uri="{C3380CC4-5D6E-409C-BE32-E72D297353CC}">
              <c16:uniqueId val="{00000001-1EDD-4DD7-A2B5-D3DC27FC73CB}"/>
            </c:ext>
          </c:extLst>
        </c:ser>
        <c:ser>
          <c:idx val="8"/>
          <c:order val="2"/>
          <c:tx>
            <c:strRef>
              <c:f>'Data Analysis'!$K$82</c:f>
              <c:strCache>
                <c:ptCount val="1"/>
                <c:pt idx="0">
                  <c:v>Cumulative Landfilled Tons
(0% increase)</c:v>
                </c:pt>
              </c:strCache>
            </c:strRef>
          </c:tx>
          <c:spPr>
            <a:ln w="28575" cap="rnd">
              <a:solidFill>
                <a:schemeClr val="accent3">
                  <a:lumMod val="60000"/>
                </a:schemeClr>
              </a:solidFill>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K$83:$K$108</c:f>
              <c:numCache>
                <c:formatCode>#,##0</c:formatCode>
                <c:ptCount val="26"/>
                <c:pt idx="0">
                  <c:v>20916561.600000005</c:v>
                </c:pt>
                <c:pt idx="1">
                  <c:v>41833123.20000001</c:v>
                </c:pt>
                <c:pt idx="2">
                  <c:v>62749684.800000012</c:v>
                </c:pt>
                <c:pt idx="3">
                  <c:v>83666246.400000021</c:v>
                </c:pt>
                <c:pt idx="4">
                  <c:v>104582808.00000003</c:v>
                </c:pt>
                <c:pt idx="5">
                  <c:v>125499369.60000004</c:v>
                </c:pt>
                <c:pt idx="6">
                  <c:v>146415931.20000005</c:v>
                </c:pt>
                <c:pt idx="7">
                  <c:v>167332492.80000004</c:v>
                </c:pt>
                <c:pt idx="8">
                  <c:v>188249054.40000004</c:v>
                </c:pt>
                <c:pt idx="9">
                  <c:v>209165616.00000003</c:v>
                </c:pt>
                <c:pt idx="10">
                  <c:v>230082177.60000002</c:v>
                </c:pt>
                <c:pt idx="11">
                  <c:v>250998739.20000002</c:v>
                </c:pt>
                <c:pt idx="12">
                  <c:v>271915300.80000001</c:v>
                </c:pt>
                <c:pt idx="13">
                  <c:v>292831862.40000004</c:v>
                </c:pt>
                <c:pt idx="14">
                  <c:v>313748424.00000006</c:v>
                </c:pt>
                <c:pt idx="15">
                  <c:v>334664985.60000008</c:v>
                </c:pt>
                <c:pt idx="16">
                  <c:v>355581547.20000011</c:v>
                </c:pt>
                <c:pt idx="17">
                  <c:v>376498108.80000013</c:v>
                </c:pt>
                <c:pt idx="18">
                  <c:v>397414670.40000015</c:v>
                </c:pt>
                <c:pt idx="19">
                  <c:v>418331232.00000018</c:v>
                </c:pt>
                <c:pt idx="20">
                  <c:v>439247793.6000002</c:v>
                </c:pt>
                <c:pt idx="21">
                  <c:v>460164355.20000023</c:v>
                </c:pt>
                <c:pt idx="22">
                  <c:v>481080916.80000025</c:v>
                </c:pt>
                <c:pt idx="23">
                  <c:v>501997478.40000027</c:v>
                </c:pt>
                <c:pt idx="24">
                  <c:v>522914040.0000003</c:v>
                </c:pt>
                <c:pt idx="25">
                  <c:v>543830601.60000026</c:v>
                </c:pt>
              </c:numCache>
              <c:extLst/>
            </c:numRef>
          </c:val>
          <c:smooth val="0"/>
          <c:extLst>
            <c:ext xmlns:c16="http://schemas.microsoft.com/office/drawing/2014/chart" uri="{C3380CC4-5D6E-409C-BE32-E72D297353CC}">
              <c16:uniqueId val="{00000004-1EDD-4DD7-A2B5-D3DC27FC73CB}"/>
            </c:ext>
          </c:extLst>
        </c:ser>
        <c:dLbls>
          <c:showLegendKey val="0"/>
          <c:showVal val="0"/>
          <c:showCatName val="0"/>
          <c:showSerName val="0"/>
          <c:showPercent val="0"/>
          <c:showBubbleSize val="0"/>
        </c:dLbls>
        <c:smooth val="0"/>
        <c:axId val="1341526047"/>
        <c:axId val="1343039903"/>
      </c:lineChart>
      <c:catAx>
        <c:axId val="1341526047"/>
        <c:scaling>
          <c:orientation val="minMax"/>
        </c:scaling>
        <c:delete val="0"/>
        <c:axPos val="b"/>
        <c:numFmt formatCode="General" sourceLinked="1"/>
        <c:majorTickMark val="cross"/>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343039903"/>
        <c:crosses val="autoZero"/>
        <c:auto val="0"/>
        <c:lblAlgn val="ctr"/>
        <c:lblOffset val="100"/>
        <c:tickLblSkip val="4"/>
        <c:noMultiLvlLbl val="0"/>
      </c:catAx>
      <c:valAx>
        <c:axId val="1343039903"/>
        <c:scaling>
          <c:orientation val="minMax"/>
          <c:max val="500000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a:t>Millions of Class I Landfill Tons</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341526047"/>
        <c:crosses val="autoZero"/>
        <c:crossBetween val="midCat"/>
        <c:dispUnits>
          <c:builtInUnit val="million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4"/>
          <c:order val="0"/>
          <c:tx>
            <c:strRef>
              <c:f>'Data Analysis'!$D$82</c:f>
              <c:strCache>
                <c:ptCount val="1"/>
                <c:pt idx="0">
                  <c:v>Permitted Capacity </c:v>
                </c:pt>
              </c:strCache>
            </c:strRef>
          </c:tx>
          <c:spPr>
            <a:ln w="28575" cap="rnd">
              <a:solidFill>
                <a:schemeClr val="accent5"/>
              </a:solidFill>
              <a:prstDash val="lgDash"/>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D$83:$D$123</c:f>
              <c:numCache>
                <c:formatCode>#,##0</c:formatCode>
                <c:ptCount val="41"/>
                <c:pt idx="0">
                  <c:v>458050905.78407818</c:v>
                </c:pt>
                <c:pt idx="1">
                  <c:v>458050905.78407818</c:v>
                </c:pt>
                <c:pt idx="2">
                  <c:v>458050905.78407818</c:v>
                </c:pt>
                <c:pt idx="3">
                  <c:v>458050905.78407818</c:v>
                </c:pt>
                <c:pt idx="4">
                  <c:v>458050905.78407818</c:v>
                </c:pt>
                <c:pt idx="5">
                  <c:v>458050905.78407818</c:v>
                </c:pt>
                <c:pt idx="6">
                  <c:v>458050905.78407818</c:v>
                </c:pt>
                <c:pt idx="7">
                  <c:v>458050905.78407818</c:v>
                </c:pt>
                <c:pt idx="8">
                  <c:v>458050905.78407818</c:v>
                </c:pt>
                <c:pt idx="9">
                  <c:v>458050905.78407818</c:v>
                </c:pt>
                <c:pt idx="10">
                  <c:v>458050905.78407818</c:v>
                </c:pt>
                <c:pt idx="11">
                  <c:v>458050905.78407818</c:v>
                </c:pt>
                <c:pt idx="12">
                  <c:v>458050905.78407818</c:v>
                </c:pt>
                <c:pt idx="13">
                  <c:v>458050905.78407818</c:v>
                </c:pt>
                <c:pt idx="14">
                  <c:v>458050905.78407818</c:v>
                </c:pt>
                <c:pt idx="15">
                  <c:v>458050905.78407818</c:v>
                </c:pt>
                <c:pt idx="16">
                  <c:v>458050905.78407818</c:v>
                </c:pt>
                <c:pt idx="17">
                  <c:v>458050905.78407818</c:v>
                </c:pt>
                <c:pt idx="18">
                  <c:v>458050905.78407818</c:v>
                </c:pt>
                <c:pt idx="19">
                  <c:v>458050905.78407818</c:v>
                </c:pt>
                <c:pt idx="20">
                  <c:v>458050905.78407818</c:v>
                </c:pt>
                <c:pt idx="21">
                  <c:v>458050905.78407818</c:v>
                </c:pt>
                <c:pt idx="22">
                  <c:v>458050905.78407818</c:v>
                </c:pt>
                <c:pt idx="23">
                  <c:v>458050905.78407818</c:v>
                </c:pt>
                <c:pt idx="24">
                  <c:v>458050905.78407818</c:v>
                </c:pt>
                <c:pt idx="25">
                  <c:v>458050905.78407818</c:v>
                </c:pt>
                <c:pt idx="26">
                  <c:v>458050905.78407818</c:v>
                </c:pt>
                <c:pt idx="27">
                  <c:v>458050905.78407818</c:v>
                </c:pt>
                <c:pt idx="28">
                  <c:v>458050905.78407818</c:v>
                </c:pt>
                <c:pt idx="29">
                  <c:v>458050905.78407818</c:v>
                </c:pt>
                <c:pt idx="30">
                  <c:v>458050905.78407818</c:v>
                </c:pt>
                <c:pt idx="31">
                  <c:v>458050905.78407818</c:v>
                </c:pt>
                <c:pt idx="32">
                  <c:v>458050905.78407818</c:v>
                </c:pt>
                <c:pt idx="33">
                  <c:v>458050905.78407818</c:v>
                </c:pt>
                <c:pt idx="34">
                  <c:v>458050905.78407818</c:v>
                </c:pt>
                <c:pt idx="35">
                  <c:v>458050905.78407818</c:v>
                </c:pt>
                <c:pt idx="36">
                  <c:v>458050905.78407818</c:v>
                </c:pt>
                <c:pt idx="37">
                  <c:v>458050905.78407818</c:v>
                </c:pt>
                <c:pt idx="38">
                  <c:v>458050905.78407818</c:v>
                </c:pt>
                <c:pt idx="39">
                  <c:v>458050905.78407818</c:v>
                </c:pt>
                <c:pt idx="40">
                  <c:v>458050905.78407818</c:v>
                </c:pt>
              </c:numCache>
              <c:extLst/>
            </c:numRef>
          </c:val>
          <c:smooth val="0"/>
          <c:extLst>
            <c:ext xmlns:c16="http://schemas.microsoft.com/office/drawing/2014/chart" uri="{C3380CC4-5D6E-409C-BE32-E72D297353CC}">
              <c16:uniqueId val="{00000000-1EDD-4DD7-A2B5-D3DC27FC73CB}"/>
            </c:ext>
          </c:extLst>
        </c:ser>
        <c:ser>
          <c:idx val="3"/>
          <c:order val="1"/>
          <c:tx>
            <c:strRef>
              <c:f>'Data Analysis'!$E$82</c:f>
              <c:strCache>
                <c:ptCount val="1"/>
                <c:pt idx="0">
                  <c:v>Constructed Capacity</c:v>
                </c:pt>
              </c:strCache>
            </c:strRef>
          </c:tx>
          <c:spPr>
            <a:ln w="28575" cap="rnd">
              <a:solidFill>
                <a:schemeClr val="accent4"/>
              </a:solidFill>
              <a:prstDash val="dash"/>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E$83:$E$123</c:f>
              <c:numCache>
                <c:formatCode>#,##0</c:formatCode>
                <c:ptCount val="41"/>
                <c:pt idx="0">
                  <c:v>123059334.04557826</c:v>
                </c:pt>
                <c:pt idx="1">
                  <c:v>123059334.04557826</c:v>
                </c:pt>
                <c:pt idx="2">
                  <c:v>123059334.04557826</c:v>
                </c:pt>
                <c:pt idx="3">
                  <c:v>123059334.04557826</c:v>
                </c:pt>
                <c:pt idx="4">
                  <c:v>123059334.04557826</c:v>
                </c:pt>
                <c:pt idx="5">
                  <c:v>123059334.04557826</c:v>
                </c:pt>
                <c:pt idx="6">
                  <c:v>123059334.04557826</c:v>
                </c:pt>
                <c:pt idx="7">
                  <c:v>123059334.04557826</c:v>
                </c:pt>
                <c:pt idx="8">
                  <c:v>123059334.04557826</c:v>
                </c:pt>
                <c:pt idx="9">
                  <c:v>123059334.04557826</c:v>
                </c:pt>
                <c:pt idx="10">
                  <c:v>123059334.04557826</c:v>
                </c:pt>
                <c:pt idx="11">
                  <c:v>123059334.04557826</c:v>
                </c:pt>
                <c:pt idx="12">
                  <c:v>123059334.04557826</c:v>
                </c:pt>
                <c:pt idx="13">
                  <c:v>123059334.04557826</c:v>
                </c:pt>
                <c:pt idx="14">
                  <c:v>123059334.04557826</c:v>
                </c:pt>
                <c:pt idx="15">
                  <c:v>123059334.04557826</c:v>
                </c:pt>
                <c:pt idx="16">
                  <c:v>123059334.04557826</c:v>
                </c:pt>
                <c:pt idx="17">
                  <c:v>123059334.04557826</c:v>
                </c:pt>
                <c:pt idx="18">
                  <c:v>123059334.04557826</c:v>
                </c:pt>
                <c:pt idx="19">
                  <c:v>123059334.04557826</c:v>
                </c:pt>
                <c:pt idx="20">
                  <c:v>123059334.04557826</c:v>
                </c:pt>
                <c:pt idx="21">
                  <c:v>123059334.04557826</c:v>
                </c:pt>
                <c:pt idx="22">
                  <c:v>123059334.04557826</c:v>
                </c:pt>
                <c:pt idx="23">
                  <c:v>123059334.04557826</c:v>
                </c:pt>
                <c:pt idx="24">
                  <c:v>123059334.04557826</c:v>
                </c:pt>
                <c:pt idx="25">
                  <c:v>123059334.04557826</c:v>
                </c:pt>
                <c:pt idx="26">
                  <c:v>123059334.04557826</c:v>
                </c:pt>
                <c:pt idx="27">
                  <c:v>123059334.04557826</c:v>
                </c:pt>
                <c:pt idx="28">
                  <c:v>123059334.04557826</c:v>
                </c:pt>
                <c:pt idx="29">
                  <c:v>123059334.04557826</c:v>
                </c:pt>
                <c:pt idx="30">
                  <c:v>123059334.04557826</c:v>
                </c:pt>
                <c:pt idx="31">
                  <c:v>123059334.04557826</c:v>
                </c:pt>
                <c:pt idx="32">
                  <c:v>123059334.04557826</c:v>
                </c:pt>
                <c:pt idx="33">
                  <c:v>123059334.04557826</c:v>
                </c:pt>
                <c:pt idx="34">
                  <c:v>123059334.04557826</c:v>
                </c:pt>
                <c:pt idx="35">
                  <c:v>123059334.04557826</c:v>
                </c:pt>
                <c:pt idx="36">
                  <c:v>123059334.04557826</c:v>
                </c:pt>
                <c:pt idx="37">
                  <c:v>123059334.04557826</c:v>
                </c:pt>
                <c:pt idx="38">
                  <c:v>123059334.04557826</c:v>
                </c:pt>
                <c:pt idx="39">
                  <c:v>123059334.04557826</c:v>
                </c:pt>
                <c:pt idx="40">
                  <c:v>123059334.04557826</c:v>
                </c:pt>
              </c:numCache>
              <c:extLst/>
            </c:numRef>
          </c:val>
          <c:smooth val="0"/>
          <c:extLst>
            <c:ext xmlns:c16="http://schemas.microsoft.com/office/drawing/2014/chart" uri="{C3380CC4-5D6E-409C-BE32-E72D297353CC}">
              <c16:uniqueId val="{00000001-1EDD-4DD7-A2B5-D3DC27FC73CB}"/>
            </c:ext>
          </c:extLst>
        </c:ser>
        <c:ser>
          <c:idx val="8"/>
          <c:order val="2"/>
          <c:tx>
            <c:strRef>
              <c:f>'Data Analysis'!$K$82</c:f>
              <c:strCache>
                <c:ptCount val="1"/>
                <c:pt idx="0">
                  <c:v>Cumulative Landfilled Tons
(0% increase)</c:v>
                </c:pt>
              </c:strCache>
            </c:strRef>
          </c:tx>
          <c:spPr>
            <a:ln w="28575" cap="rnd">
              <a:solidFill>
                <a:schemeClr val="accent3">
                  <a:lumMod val="60000"/>
                </a:schemeClr>
              </a:solidFill>
              <a:prstDash val="sysDot"/>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K$83:$K$108</c:f>
              <c:numCache>
                <c:formatCode>#,##0</c:formatCode>
                <c:ptCount val="26"/>
                <c:pt idx="0">
                  <c:v>20916561.600000005</c:v>
                </c:pt>
                <c:pt idx="1">
                  <c:v>41833123.20000001</c:v>
                </c:pt>
                <c:pt idx="2">
                  <c:v>62749684.800000012</c:v>
                </c:pt>
                <c:pt idx="3">
                  <c:v>83666246.400000021</c:v>
                </c:pt>
                <c:pt idx="4">
                  <c:v>104582808.00000003</c:v>
                </c:pt>
                <c:pt idx="5">
                  <c:v>125499369.60000004</c:v>
                </c:pt>
                <c:pt idx="6">
                  <c:v>146415931.20000005</c:v>
                </c:pt>
                <c:pt idx="7">
                  <c:v>167332492.80000004</c:v>
                </c:pt>
                <c:pt idx="8">
                  <c:v>188249054.40000004</c:v>
                </c:pt>
                <c:pt idx="9">
                  <c:v>209165616.00000003</c:v>
                </c:pt>
                <c:pt idx="10">
                  <c:v>230082177.60000002</c:v>
                </c:pt>
                <c:pt idx="11">
                  <c:v>250998739.20000002</c:v>
                </c:pt>
                <c:pt idx="12">
                  <c:v>271915300.80000001</c:v>
                </c:pt>
                <c:pt idx="13">
                  <c:v>292831862.40000004</c:v>
                </c:pt>
                <c:pt idx="14">
                  <c:v>313748424.00000006</c:v>
                </c:pt>
                <c:pt idx="15">
                  <c:v>334664985.60000008</c:v>
                </c:pt>
                <c:pt idx="16">
                  <c:v>355581547.20000011</c:v>
                </c:pt>
                <c:pt idx="17">
                  <c:v>376498108.80000013</c:v>
                </c:pt>
                <c:pt idx="18">
                  <c:v>397414670.40000015</c:v>
                </c:pt>
                <c:pt idx="19">
                  <c:v>418331232.00000018</c:v>
                </c:pt>
                <c:pt idx="20">
                  <c:v>439247793.6000002</c:v>
                </c:pt>
                <c:pt idx="21">
                  <c:v>460164355.20000023</c:v>
                </c:pt>
                <c:pt idx="22">
                  <c:v>481080916.80000025</c:v>
                </c:pt>
                <c:pt idx="23">
                  <c:v>501997478.40000027</c:v>
                </c:pt>
                <c:pt idx="24">
                  <c:v>522914040.0000003</c:v>
                </c:pt>
                <c:pt idx="25">
                  <c:v>543830601.60000026</c:v>
                </c:pt>
              </c:numCache>
              <c:extLst/>
            </c:numRef>
          </c:val>
          <c:smooth val="0"/>
          <c:extLst>
            <c:ext xmlns:c16="http://schemas.microsoft.com/office/drawing/2014/chart" uri="{C3380CC4-5D6E-409C-BE32-E72D297353CC}">
              <c16:uniqueId val="{00000004-1EDD-4DD7-A2B5-D3DC27FC73CB}"/>
            </c:ext>
          </c:extLst>
        </c:ser>
        <c:ser>
          <c:idx val="0"/>
          <c:order val="3"/>
          <c:tx>
            <c:strRef>
              <c:f>'Data Analysis'!$M$82</c:f>
              <c:strCache>
                <c:ptCount val="1"/>
                <c:pt idx="0">
                  <c:v>Cumulative Landfilled Tons
(1% increase)</c:v>
                </c:pt>
              </c:strCache>
            </c:strRef>
          </c:tx>
          <c:spPr>
            <a:ln w="28575" cap="rnd">
              <a:solidFill>
                <a:schemeClr val="accent1"/>
              </a:solidFill>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M$83:$M$106</c:f>
              <c:numCache>
                <c:formatCode>#,##0</c:formatCode>
                <c:ptCount val="24"/>
                <c:pt idx="0">
                  <c:v>20916561.600000005</c:v>
                </c:pt>
                <c:pt idx="1">
                  <c:v>42042288.816000015</c:v>
                </c:pt>
                <c:pt idx="2">
                  <c:v>63379273.304160021</c:v>
                </c:pt>
                <c:pt idx="3">
                  <c:v>84929627.637201637</c:v>
                </c:pt>
                <c:pt idx="4">
                  <c:v>106695485.51357366</c:v>
                </c:pt>
                <c:pt idx="5">
                  <c:v>128679001.96870941</c:v>
                </c:pt>
                <c:pt idx="6">
                  <c:v>150882353.58839652</c:v>
                </c:pt>
                <c:pt idx="7">
                  <c:v>173307738.72428051</c:v>
                </c:pt>
                <c:pt idx="8">
                  <c:v>195957377.71152332</c:v>
                </c:pt>
                <c:pt idx="9">
                  <c:v>218833513.08863857</c:v>
                </c:pt>
                <c:pt idx="10">
                  <c:v>241938409.81952497</c:v>
                </c:pt>
                <c:pt idx="11">
                  <c:v>265274355.51772022</c:v>
                </c:pt>
                <c:pt idx="12">
                  <c:v>288843660.67289746</c:v>
                </c:pt>
                <c:pt idx="13">
                  <c:v>312648658.87962645</c:v>
                </c:pt>
                <c:pt idx="14">
                  <c:v>336691707.06842273</c:v>
                </c:pt>
                <c:pt idx="15">
                  <c:v>360975185.73910695</c:v>
                </c:pt>
                <c:pt idx="16">
                  <c:v>385501499.19649804</c:v>
                </c:pt>
                <c:pt idx="17">
                  <c:v>410273075.78846306</c:v>
                </c:pt>
                <c:pt idx="18">
                  <c:v>435292368.1463477</c:v>
                </c:pt>
                <c:pt idx="19">
                  <c:v>460561853.42781121</c:v>
                </c:pt>
                <c:pt idx="20">
                  <c:v>486084033.56208932</c:v>
                </c:pt>
                <c:pt idx="21">
                  <c:v>511861435.49771023</c:v>
                </c:pt>
                <c:pt idx="22">
                  <c:v>537896611.45268738</c:v>
                </c:pt>
                <c:pt idx="23">
                  <c:v>564192139.16721427</c:v>
                </c:pt>
              </c:numCache>
              <c:extLst/>
            </c:numRef>
          </c:val>
          <c:smooth val="0"/>
          <c:extLst>
            <c:ext xmlns:c16="http://schemas.microsoft.com/office/drawing/2014/chart" uri="{C3380CC4-5D6E-409C-BE32-E72D297353CC}">
              <c16:uniqueId val="{00000005-1EDD-4DD7-A2B5-D3DC27FC73CB}"/>
            </c:ext>
          </c:extLst>
        </c:ser>
        <c:dLbls>
          <c:showLegendKey val="0"/>
          <c:showVal val="0"/>
          <c:showCatName val="0"/>
          <c:showSerName val="0"/>
          <c:showPercent val="0"/>
          <c:showBubbleSize val="0"/>
        </c:dLbls>
        <c:smooth val="0"/>
        <c:axId val="1341526047"/>
        <c:axId val="1343039903"/>
      </c:lineChart>
      <c:catAx>
        <c:axId val="1341526047"/>
        <c:scaling>
          <c:orientation val="minMax"/>
        </c:scaling>
        <c:delete val="0"/>
        <c:axPos val="b"/>
        <c:numFmt formatCode="General" sourceLinked="1"/>
        <c:majorTickMark val="cross"/>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343039903"/>
        <c:crosses val="autoZero"/>
        <c:auto val="0"/>
        <c:lblAlgn val="ctr"/>
        <c:lblOffset val="100"/>
        <c:tickLblSkip val="4"/>
        <c:noMultiLvlLbl val="0"/>
      </c:catAx>
      <c:valAx>
        <c:axId val="1343039903"/>
        <c:scaling>
          <c:orientation val="minMax"/>
          <c:max val="500000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a:t>Millions of Class I Landfill Tons</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341526047"/>
        <c:crosses val="autoZero"/>
        <c:crossBetween val="midCat"/>
        <c:dispUnits>
          <c:builtInUnit val="million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4"/>
          <c:order val="0"/>
          <c:tx>
            <c:strRef>
              <c:f>'Data Analysis'!$D$82</c:f>
              <c:strCache>
                <c:ptCount val="1"/>
                <c:pt idx="0">
                  <c:v>Permitted Capacity </c:v>
                </c:pt>
              </c:strCache>
            </c:strRef>
          </c:tx>
          <c:spPr>
            <a:ln w="28575" cap="rnd">
              <a:solidFill>
                <a:schemeClr val="accent5"/>
              </a:solidFill>
              <a:prstDash val="lgDash"/>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D$83:$D$123</c:f>
              <c:numCache>
                <c:formatCode>#,##0</c:formatCode>
                <c:ptCount val="41"/>
                <c:pt idx="0">
                  <c:v>458050905.78407818</c:v>
                </c:pt>
                <c:pt idx="1">
                  <c:v>458050905.78407818</c:v>
                </c:pt>
                <c:pt idx="2">
                  <c:v>458050905.78407818</c:v>
                </c:pt>
                <c:pt idx="3">
                  <c:v>458050905.78407818</c:v>
                </c:pt>
                <c:pt idx="4">
                  <c:v>458050905.78407818</c:v>
                </c:pt>
                <c:pt idx="5">
                  <c:v>458050905.78407818</c:v>
                </c:pt>
                <c:pt idx="6">
                  <c:v>458050905.78407818</c:v>
                </c:pt>
                <c:pt idx="7">
                  <c:v>458050905.78407818</c:v>
                </c:pt>
                <c:pt idx="8">
                  <c:v>458050905.78407818</c:v>
                </c:pt>
                <c:pt idx="9">
                  <c:v>458050905.78407818</c:v>
                </c:pt>
                <c:pt idx="10">
                  <c:v>458050905.78407818</c:v>
                </c:pt>
                <c:pt idx="11">
                  <c:v>458050905.78407818</c:v>
                </c:pt>
                <c:pt idx="12">
                  <c:v>458050905.78407818</c:v>
                </c:pt>
                <c:pt idx="13">
                  <c:v>458050905.78407818</c:v>
                </c:pt>
                <c:pt idx="14">
                  <c:v>458050905.78407818</c:v>
                </c:pt>
                <c:pt idx="15">
                  <c:v>458050905.78407818</c:v>
                </c:pt>
                <c:pt idx="16">
                  <c:v>458050905.78407818</c:v>
                </c:pt>
                <c:pt idx="17">
                  <c:v>458050905.78407818</c:v>
                </c:pt>
                <c:pt idx="18">
                  <c:v>458050905.78407818</c:v>
                </c:pt>
                <c:pt idx="19">
                  <c:v>458050905.78407818</c:v>
                </c:pt>
                <c:pt idx="20">
                  <c:v>458050905.78407818</c:v>
                </c:pt>
                <c:pt idx="21">
                  <c:v>458050905.78407818</c:v>
                </c:pt>
                <c:pt idx="22">
                  <c:v>458050905.78407818</c:v>
                </c:pt>
                <c:pt idx="23">
                  <c:v>458050905.78407818</c:v>
                </c:pt>
                <c:pt idx="24">
                  <c:v>458050905.78407818</c:v>
                </c:pt>
                <c:pt idx="25">
                  <c:v>458050905.78407818</c:v>
                </c:pt>
                <c:pt idx="26">
                  <c:v>458050905.78407818</c:v>
                </c:pt>
                <c:pt idx="27">
                  <c:v>458050905.78407818</c:v>
                </c:pt>
                <c:pt idx="28">
                  <c:v>458050905.78407818</c:v>
                </c:pt>
                <c:pt idx="29">
                  <c:v>458050905.78407818</c:v>
                </c:pt>
                <c:pt idx="30">
                  <c:v>458050905.78407818</c:v>
                </c:pt>
                <c:pt idx="31">
                  <c:v>458050905.78407818</c:v>
                </c:pt>
                <c:pt idx="32">
                  <c:v>458050905.78407818</c:v>
                </c:pt>
                <c:pt idx="33">
                  <c:v>458050905.78407818</c:v>
                </c:pt>
                <c:pt idx="34">
                  <c:v>458050905.78407818</c:v>
                </c:pt>
                <c:pt idx="35">
                  <c:v>458050905.78407818</c:v>
                </c:pt>
                <c:pt idx="36">
                  <c:v>458050905.78407818</c:v>
                </c:pt>
                <c:pt idx="37">
                  <c:v>458050905.78407818</c:v>
                </c:pt>
                <c:pt idx="38">
                  <c:v>458050905.78407818</c:v>
                </c:pt>
                <c:pt idx="39">
                  <c:v>458050905.78407818</c:v>
                </c:pt>
                <c:pt idx="40">
                  <c:v>458050905.78407818</c:v>
                </c:pt>
              </c:numCache>
              <c:extLst/>
            </c:numRef>
          </c:val>
          <c:smooth val="0"/>
          <c:extLst>
            <c:ext xmlns:c16="http://schemas.microsoft.com/office/drawing/2014/chart" uri="{C3380CC4-5D6E-409C-BE32-E72D297353CC}">
              <c16:uniqueId val="{00000000-1EDD-4DD7-A2B5-D3DC27FC73CB}"/>
            </c:ext>
          </c:extLst>
        </c:ser>
        <c:ser>
          <c:idx val="3"/>
          <c:order val="1"/>
          <c:tx>
            <c:strRef>
              <c:f>'Data Analysis'!$E$82</c:f>
              <c:strCache>
                <c:ptCount val="1"/>
                <c:pt idx="0">
                  <c:v>Constructed Capacity</c:v>
                </c:pt>
              </c:strCache>
            </c:strRef>
          </c:tx>
          <c:spPr>
            <a:ln w="28575" cap="rnd">
              <a:solidFill>
                <a:schemeClr val="accent4"/>
              </a:solidFill>
              <a:prstDash val="dash"/>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E$83:$E$123</c:f>
              <c:numCache>
                <c:formatCode>#,##0</c:formatCode>
                <c:ptCount val="41"/>
                <c:pt idx="0">
                  <c:v>123059334.04557826</c:v>
                </c:pt>
                <c:pt idx="1">
                  <c:v>123059334.04557826</c:v>
                </c:pt>
                <c:pt idx="2">
                  <c:v>123059334.04557826</c:v>
                </c:pt>
                <c:pt idx="3">
                  <c:v>123059334.04557826</c:v>
                </c:pt>
                <c:pt idx="4">
                  <c:v>123059334.04557826</c:v>
                </c:pt>
                <c:pt idx="5">
                  <c:v>123059334.04557826</c:v>
                </c:pt>
                <c:pt idx="6">
                  <c:v>123059334.04557826</c:v>
                </c:pt>
                <c:pt idx="7">
                  <c:v>123059334.04557826</c:v>
                </c:pt>
                <c:pt idx="8">
                  <c:v>123059334.04557826</c:v>
                </c:pt>
                <c:pt idx="9">
                  <c:v>123059334.04557826</c:v>
                </c:pt>
                <c:pt idx="10">
                  <c:v>123059334.04557826</c:v>
                </c:pt>
                <c:pt idx="11">
                  <c:v>123059334.04557826</c:v>
                </c:pt>
                <c:pt idx="12">
                  <c:v>123059334.04557826</c:v>
                </c:pt>
                <c:pt idx="13">
                  <c:v>123059334.04557826</c:v>
                </c:pt>
                <c:pt idx="14">
                  <c:v>123059334.04557826</c:v>
                </c:pt>
                <c:pt idx="15">
                  <c:v>123059334.04557826</c:v>
                </c:pt>
                <c:pt idx="16">
                  <c:v>123059334.04557826</c:v>
                </c:pt>
                <c:pt idx="17">
                  <c:v>123059334.04557826</c:v>
                </c:pt>
                <c:pt idx="18">
                  <c:v>123059334.04557826</c:v>
                </c:pt>
                <c:pt idx="19">
                  <c:v>123059334.04557826</c:v>
                </c:pt>
                <c:pt idx="20">
                  <c:v>123059334.04557826</c:v>
                </c:pt>
                <c:pt idx="21">
                  <c:v>123059334.04557826</c:v>
                </c:pt>
                <c:pt idx="22">
                  <c:v>123059334.04557826</c:v>
                </c:pt>
                <c:pt idx="23">
                  <c:v>123059334.04557826</c:v>
                </c:pt>
                <c:pt idx="24">
                  <c:v>123059334.04557826</c:v>
                </c:pt>
                <c:pt idx="25">
                  <c:v>123059334.04557826</c:v>
                </c:pt>
                <c:pt idx="26">
                  <c:v>123059334.04557826</c:v>
                </c:pt>
                <c:pt idx="27">
                  <c:v>123059334.04557826</c:v>
                </c:pt>
                <c:pt idx="28">
                  <c:v>123059334.04557826</c:v>
                </c:pt>
                <c:pt idx="29">
                  <c:v>123059334.04557826</c:v>
                </c:pt>
                <c:pt idx="30">
                  <c:v>123059334.04557826</c:v>
                </c:pt>
                <c:pt idx="31">
                  <c:v>123059334.04557826</c:v>
                </c:pt>
                <c:pt idx="32">
                  <c:v>123059334.04557826</c:v>
                </c:pt>
                <c:pt idx="33">
                  <c:v>123059334.04557826</c:v>
                </c:pt>
                <c:pt idx="34">
                  <c:v>123059334.04557826</c:v>
                </c:pt>
                <c:pt idx="35">
                  <c:v>123059334.04557826</c:v>
                </c:pt>
                <c:pt idx="36">
                  <c:v>123059334.04557826</c:v>
                </c:pt>
                <c:pt idx="37">
                  <c:v>123059334.04557826</c:v>
                </c:pt>
                <c:pt idx="38">
                  <c:v>123059334.04557826</c:v>
                </c:pt>
                <c:pt idx="39">
                  <c:v>123059334.04557826</c:v>
                </c:pt>
                <c:pt idx="40">
                  <c:v>123059334.04557826</c:v>
                </c:pt>
              </c:numCache>
              <c:extLst/>
            </c:numRef>
          </c:val>
          <c:smooth val="0"/>
          <c:extLst>
            <c:ext xmlns:c16="http://schemas.microsoft.com/office/drawing/2014/chart" uri="{C3380CC4-5D6E-409C-BE32-E72D297353CC}">
              <c16:uniqueId val="{00000001-1EDD-4DD7-A2B5-D3DC27FC73CB}"/>
            </c:ext>
          </c:extLst>
        </c:ser>
        <c:ser>
          <c:idx val="8"/>
          <c:order val="2"/>
          <c:tx>
            <c:strRef>
              <c:f>'Data Analysis'!$K$82</c:f>
              <c:strCache>
                <c:ptCount val="1"/>
                <c:pt idx="0">
                  <c:v>Cumulative Landfilled Tons
(0% increase)</c:v>
                </c:pt>
              </c:strCache>
            </c:strRef>
          </c:tx>
          <c:spPr>
            <a:ln w="28575" cap="rnd">
              <a:solidFill>
                <a:schemeClr val="accent3">
                  <a:lumMod val="60000"/>
                </a:schemeClr>
              </a:solidFill>
              <a:prstDash val="sysDot"/>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K$83:$K$108</c:f>
              <c:numCache>
                <c:formatCode>#,##0</c:formatCode>
                <c:ptCount val="26"/>
                <c:pt idx="0">
                  <c:v>20916561.600000005</c:v>
                </c:pt>
                <c:pt idx="1">
                  <c:v>41833123.20000001</c:v>
                </c:pt>
                <c:pt idx="2">
                  <c:v>62749684.800000012</c:v>
                </c:pt>
                <c:pt idx="3">
                  <c:v>83666246.400000021</c:v>
                </c:pt>
                <c:pt idx="4">
                  <c:v>104582808.00000003</c:v>
                </c:pt>
                <c:pt idx="5">
                  <c:v>125499369.60000004</c:v>
                </c:pt>
                <c:pt idx="6">
                  <c:v>146415931.20000005</c:v>
                </c:pt>
                <c:pt idx="7">
                  <c:v>167332492.80000004</c:v>
                </c:pt>
                <c:pt idx="8">
                  <c:v>188249054.40000004</c:v>
                </c:pt>
                <c:pt idx="9">
                  <c:v>209165616.00000003</c:v>
                </c:pt>
                <c:pt idx="10">
                  <c:v>230082177.60000002</c:v>
                </c:pt>
                <c:pt idx="11">
                  <c:v>250998739.20000002</c:v>
                </c:pt>
                <c:pt idx="12">
                  <c:v>271915300.80000001</c:v>
                </c:pt>
                <c:pt idx="13">
                  <c:v>292831862.40000004</c:v>
                </c:pt>
                <c:pt idx="14">
                  <c:v>313748424.00000006</c:v>
                </c:pt>
                <c:pt idx="15">
                  <c:v>334664985.60000008</c:v>
                </c:pt>
                <c:pt idx="16">
                  <c:v>355581547.20000011</c:v>
                </c:pt>
                <c:pt idx="17">
                  <c:v>376498108.80000013</c:v>
                </c:pt>
                <c:pt idx="18">
                  <c:v>397414670.40000015</c:v>
                </c:pt>
                <c:pt idx="19">
                  <c:v>418331232.00000018</c:v>
                </c:pt>
                <c:pt idx="20">
                  <c:v>439247793.6000002</c:v>
                </c:pt>
                <c:pt idx="21">
                  <c:v>460164355.20000023</c:v>
                </c:pt>
                <c:pt idx="22">
                  <c:v>481080916.80000025</c:v>
                </c:pt>
                <c:pt idx="23">
                  <c:v>501997478.40000027</c:v>
                </c:pt>
                <c:pt idx="24">
                  <c:v>522914040.0000003</c:v>
                </c:pt>
                <c:pt idx="25">
                  <c:v>543830601.60000026</c:v>
                </c:pt>
              </c:numCache>
              <c:extLst/>
            </c:numRef>
          </c:val>
          <c:smooth val="0"/>
          <c:extLst>
            <c:ext xmlns:c16="http://schemas.microsoft.com/office/drawing/2014/chart" uri="{C3380CC4-5D6E-409C-BE32-E72D297353CC}">
              <c16:uniqueId val="{00000004-1EDD-4DD7-A2B5-D3DC27FC73CB}"/>
            </c:ext>
          </c:extLst>
        </c:ser>
        <c:ser>
          <c:idx val="0"/>
          <c:order val="3"/>
          <c:tx>
            <c:strRef>
              <c:f>'Data Analysis'!$M$82</c:f>
              <c:strCache>
                <c:ptCount val="1"/>
                <c:pt idx="0">
                  <c:v>Cumulative Landfilled Tons
(1% increase)</c:v>
                </c:pt>
              </c:strCache>
            </c:strRef>
          </c:tx>
          <c:spPr>
            <a:ln w="28575" cap="rnd">
              <a:solidFill>
                <a:schemeClr val="accent1"/>
              </a:solidFill>
              <a:prstDash val="sysDot"/>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M$83:$M$106</c:f>
              <c:numCache>
                <c:formatCode>#,##0</c:formatCode>
                <c:ptCount val="24"/>
                <c:pt idx="0">
                  <c:v>20916561.600000005</c:v>
                </c:pt>
                <c:pt idx="1">
                  <c:v>42042288.816000015</c:v>
                </c:pt>
                <c:pt idx="2">
                  <c:v>63379273.304160021</c:v>
                </c:pt>
                <c:pt idx="3">
                  <c:v>84929627.637201637</c:v>
                </c:pt>
                <c:pt idx="4">
                  <c:v>106695485.51357366</c:v>
                </c:pt>
                <c:pt idx="5">
                  <c:v>128679001.96870941</c:v>
                </c:pt>
                <c:pt idx="6">
                  <c:v>150882353.58839652</c:v>
                </c:pt>
                <c:pt idx="7">
                  <c:v>173307738.72428051</c:v>
                </c:pt>
                <c:pt idx="8">
                  <c:v>195957377.71152332</c:v>
                </c:pt>
                <c:pt idx="9">
                  <c:v>218833513.08863857</c:v>
                </c:pt>
                <c:pt idx="10">
                  <c:v>241938409.81952497</c:v>
                </c:pt>
                <c:pt idx="11">
                  <c:v>265274355.51772022</c:v>
                </c:pt>
                <c:pt idx="12">
                  <c:v>288843660.67289746</c:v>
                </c:pt>
                <c:pt idx="13">
                  <c:v>312648658.87962645</c:v>
                </c:pt>
                <c:pt idx="14">
                  <c:v>336691707.06842273</c:v>
                </c:pt>
                <c:pt idx="15">
                  <c:v>360975185.73910695</c:v>
                </c:pt>
                <c:pt idx="16">
                  <c:v>385501499.19649804</c:v>
                </c:pt>
                <c:pt idx="17">
                  <c:v>410273075.78846306</c:v>
                </c:pt>
                <c:pt idx="18">
                  <c:v>435292368.1463477</c:v>
                </c:pt>
                <c:pt idx="19">
                  <c:v>460561853.42781121</c:v>
                </c:pt>
                <c:pt idx="20">
                  <c:v>486084033.56208932</c:v>
                </c:pt>
                <c:pt idx="21">
                  <c:v>511861435.49771023</c:v>
                </c:pt>
                <c:pt idx="22">
                  <c:v>537896611.45268738</c:v>
                </c:pt>
                <c:pt idx="23">
                  <c:v>564192139.16721427</c:v>
                </c:pt>
              </c:numCache>
              <c:extLst/>
            </c:numRef>
          </c:val>
          <c:smooth val="0"/>
          <c:extLst>
            <c:ext xmlns:c16="http://schemas.microsoft.com/office/drawing/2014/chart" uri="{C3380CC4-5D6E-409C-BE32-E72D297353CC}">
              <c16:uniqueId val="{00000005-1EDD-4DD7-A2B5-D3DC27FC73CB}"/>
            </c:ext>
          </c:extLst>
        </c:ser>
        <c:ser>
          <c:idx val="2"/>
          <c:order val="4"/>
          <c:tx>
            <c:strRef>
              <c:f>'Data Analysis'!$O$82</c:f>
              <c:strCache>
                <c:ptCount val="1"/>
                <c:pt idx="0">
                  <c:v>Cumulative Landfilled Tons
(3% increase)</c:v>
                </c:pt>
              </c:strCache>
            </c:strRef>
          </c:tx>
          <c:spPr>
            <a:ln w="28575" cap="rnd">
              <a:solidFill>
                <a:schemeClr val="accent3"/>
              </a:solidFill>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O$83:$O$102</c:f>
              <c:numCache>
                <c:formatCode>#,##0</c:formatCode>
                <c:ptCount val="20"/>
                <c:pt idx="0">
                  <c:v>20916561.600000005</c:v>
                </c:pt>
                <c:pt idx="1">
                  <c:v>42460620.048000008</c:v>
                </c:pt>
                <c:pt idx="2">
                  <c:v>64651000.249440014</c:v>
                </c:pt>
                <c:pt idx="3">
                  <c:v>87507091.856923223</c:v>
                </c:pt>
                <c:pt idx="4">
                  <c:v>111048866.21263093</c:v>
                </c:pt>
                <c:pt idx="5">
                  <c:v>135296893.79900986</c:v>
                </c:pt>
                <c:pt idx="6">
                  <c:v>160272362.21298015</c:v>
                </c:pt>
                <c:pt idx="7">
                  <c:v>185997094.67936957</c:v>
                </c:pt>
                <c:pt idx="8">
                  <c:v>212493569.11975068</c:v>
                </c:pt>
                <c:pt idx="9">
                  <c:v>239784937.79334322</c:v>
                </c:pt>
                <c:pt idx="10">
                  <c:v>267895047.52714354</c:v>
                </c:pt>
                <c:pt idx="11">
                  <c:v>296848460.55295783</c:v>
                </c:pt>
                <c:pt idx="12">
                  <c:v>326670475.96954656</c:v>
                </c:pt>
                <c:pt idx="13">
                  <c:v>357387151.84863299</c:v>
                </c:pt>
                <c:pt idx="14">
                  <c:v>389025328.00409198</c:v>
                </c:pt>
                <c:pt idx="15">
                  <c:v>421612649.44421476</c:v>
                </c:pt>
                <c:pt idx="16">
                  <c:v>455177590.52754122</c:v>
                </c:pt>
                <c:pt idx="17">
                  <c:v>489749479.84336746</c:v>
                </c:pt>
                <c:pt idx="18">
                  <c:v>525358525.83866847</c:v>
                </c:pt>
                <c:pt idx="19">
                  <c:v>562035843.21382856</c:v>
                </c:pt>
              </c:numCache>
              <c:extLst/>
            </c:numRef>
          </c:val>
          <c:smooth val="0"/>
          <c:extLst>
            <c:ext xmlns:c16="http://schemas.microsoft.com/office/drawing/2014/chart" uri="{C3380CC4-5D6E-409C-BE32-E72D297353CC}">
              <c16:uniqueId val="{00000006-1EDD-4DD7-A2B5-D3DC27FC73CB}"/>
            </c:ext>
          </c:extLst>
        </c:ser>
        <c:dLbls>
          <c:showLegendKey val="0"/>
          <c:showVal val="0"/>
          <c:showCatName val="0"/>
          <c:showSerName val="0"/>
          <c:showPercent val="0"/>
          <c:showBubbleSize val="0"/>
        </c:dLbls>
        <c:smooth val="0"/>
        <c:axId val="1341526047"/>
        <c:axId val="1343039903"/>
      </c:lineChart>
      <c:catAx>
        <c:axId val="1341526047"/>
        <c:scaling>
          <c:orientation val="minMax"/>
        </c:scaling>
        <c:delete val="0"/>
        <c:axPos val="b"/>
        <c:numFmt formatCode="General" sourceLinked="1"/>
        <c:majorTickMark val="cross"/>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343039903"/>
        <c:crosses val="autoZero"/>
        <c:auto val="0"/>
        <c:lblAlgn val="ctr"/>
        <c:lblOffset val="100"/>
        <c:tickLblSkip val="4"/>
        <c:noMultiLvlLbl val="0"/>
      </c:catAx>
      <c:valAx>
        <c:axId val="1343039903"/>
        <c:scaling>
          <c:orientation val="minMax"/>
          <c:max val="500000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a:t>Millions of Class I Landfill Tons</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341526047"/>
        <c:crosses val="autoZero"/>
        <c:crossBetween val="midCat"/>
        <c:dispUnits>
          <c:builtInUnit val="million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4"/>
          <c:order val="0"/>
          <c:tx>
            <c:strRef>
              <c:f>'Data Analysis'!$D$82</c:f>
              <c:strCache>
                <c:ptCount val="1"/>
                <c:pt idx="0">
                  <c:v>Permitted Capacity </c:v>
                </c:pt>
              </c:strCache>
            </c:strRef>
          </c:tx>
          <c:spPr>
            <a:ln w="28575" cap="rnd">
              <a:solidFill>
                <a:schemeClr val="accent5"/>
              </a:solidFill>
              <a:prstDash val="lgDash"/>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D$83:$D$123</c:f>
              <c:numCache>
                <c:formatCode>#,##0</c:formatCode>
                <c:ptCount val="41"/>
                <c:pt idx="0">
                  <c:v>458050905.78407818</c:v>
                </c:pt>
                <c:pt idx="1">
                  <c:v>458050905.78407818</c:v>
                </c:pt>
                <c:pt idx="2">
                  <c:v>458050905.78407818</c:v>
                </c:pt>
                <c:pt idx="3">
                  <c:v>458050905.78407818</c:v>
                </c:pt>
                <c:pt idx="4">
                  <c:v>458050905.78407818</c:v>
                </c:pt>
                <c:pt idx="5">
                  <c:v>458050905.78407818</c:v>
                </c:pt>
                <c:pt idx="6">
                  <c:v>458050905.78407818</c:v>
                </c:pt>
                <c:pt idx="7">
                  <c:v>458050905.78407818</c:v>
                </c:pt>
                <c:pt idx="8">
                  <c:v>458050905.78407818</c:v>
                </c:pt>
                <c:pt idx="9">
                  <c:v>458050905.78407818</c:v>
                </c:pt>
                <c:pt idx="10">
                  <c:v>458050905.78407818</c:v>
                </c:pt>
                <c:pt idx="11">
                  <c:v>458050905.78407818</c:v>
                </c:pt>
                <c:pt idx="12">
                  <c:v>458050905.78407818</c:v>
                </c:pt>
                <c:pt idx="13">
                  <c:v>458050905.78407818</c:v>
                </c:pt>
                <c:pt idx="14">
                  <c:v>458050905.78407818</c:v>
                </c:pt>
                <c:pt idx="15">
                  <c:v>458050905.78407818</c:v>
                </c:pt>
                <c:pt idx="16">
                  <c:v>458050905.78407818</c:v>
                </c:pt>
                <c:pt idx="17">
                  <c:v>458050905.78407818</c:v>
                </c:pt>
                <c:pt idx="18">
                  <c:v>458050905.78407818</c:v>
                </c:pt>
                <c:pt idx="19">
                  <c:v>458050905.78407818</c:v>
                </c:pt>
                <c:pt idx="20">
                  <c:v>458050905.78407818</c:v>
                </c:pt>
                <c:pt idx="21">
                  <c:v>458050905.78407818</c:v>
                </c:pt>
                <c:pt idx="22">
                  <c:v>458050905.78407818</c:v>
                </c:pt>
                <c:pt idx="23">
                  <c:v>458050905.78407818</c:v>
                </c:pt>
                <c:pt idx="24">
                  <c:v>458050905.78407818</c:v>
                </c:pt>
                <c:pt idx="25">
                  <c:v>458050905.78407818</c:v>
                </c:pt>
                <c:pt idx="26">
                  <c:v>458050905.78407818</c:v>
                </c:pt>
                <c:pt idx="27">
                  <c:v>458050905.78407818</c:v>
                </c:pt>
                <c:pt idx="28">
                  <c:v>458050905.78407818</c:v>
                </c:pt>
                <c:pt idx="29">
                  <c:v>458050905.78407818</c:v>
                </c:pt>
                <c:pt idx="30">
                  <c:v>458050905.78407818</c:v>
                </c:pt>
                <c:pt idx="31">
                  <c:v>458050905.78407818</c:v>
                </c:pt>
                <c:pt idx="32">
                  <c:v>458050905.78407818</c:v>
                </c:pt>
                <c:pt idx="33">
                  <c:v>458050905.78407818</c:v>
                </c:pt>
                <c:pt idx="34">
                  <c:v>458050905.78407818</c:v>
                </c:pt>
                <c:pt idx="35">
                  <c:v>458050905.78407818</c:v>
                </c:pt>
                <c:pt idx="36">
                  <c:v>458050905.78407818</c:v>
                </c:pt>
                <c:pt idx="37">
                  <c:v>458050905.78407818</c:v>
                </c:pt>
                <c:pt idx="38">
                  <c:v>458050905.78407818</c:v>
                </c:pt>
                <c:pt idx="39">
                  <c:v>458050905.78407818</c:v>
                </c:pt>
                <c:pt idx="40">
                  <c:v>458050905.78407818</c:v>
                </c:pt>
              </c:numCache>
              <c:extLst/>
            </c:numRef>
          </c:val>
          <c:smooth val="0"/>
          <c:extLst>
            <c:ext xmlns:c16="http://schemas.microsoft.com/office/drawing/2014/chart" uri="{C3380CC4-5D6E-409C-BE32-E72D297353CC}">
              <c16:uniqueId val="{00000000-1EDD-4DD7-A2B5-D3DC27FC73CB}"/>
            </c:ext>
          </c:extLst>
        </c:ser>
        <c:ser>
          <c:idx val="3"/>
          <c:order val="1"/>
          <c:tx>
            <c:strRef>
              <c:f>'Data Analysis'!$E$82</c:f>
              <c:strCache>
                <c:ptCount val="1"/>
                <c:pt idx="0">
                  <c:v>Constructed Capacity</c:v>
                </c:pt>
              </c:strCache>
            </c:strRef>
          </c:tx>
          <c:spPr>
            <a:ln w="28575" cap="rnd">
              <a:solidFill>
                <a:schemeClr val="accent4"/>
              </a:solidFill>
              <a:prstDash val="dash"/>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E$83:$E$123</c:f>
              <c:numCache>
                <c:formatCode>#,##0</c:formatCode>
                <c:ptCount val="41"/>
                <c:pt idx="0">
                  <c:v>123059334.04557826</c:v>
                </c:pt>
                <c:pt idx="1">
                  <c:v>123059334.04557826</c:v>
                </c:pt>
                <c:pt idx="2">
                  <c:v>123059334.04557826</c:v>
                </c:pt>
                <c:pt idx="3">
                  <c:v>123059334.04557826</c:v>
                </c:pt>
                <c:pt idx="4">
                  <c:v>123059334.04557826</c:v>
                </c:pt>
                <c:pt idx="5">
                  <c:v>123059334.04557826</c:v>
                </c:pt>
                <c:pt idx="6">
                  <c:v>123059334.04557826</c:v>
                </c:pt>
                <c:pt idx="7">
                  <c:v>123059334.04557826</c:v>
                </c:pt>
                <c:pt idx="8">
                  <c:v>123059334.04557826</c:v>
                </c:pt>
                <c:pt idx="9">
                  <c:v>123059334.04557826</c:v>
                </c:pt>
                <c:pt idx="10">
                  <c:v>123059334.04557826</c:v>
                </c:pt>
                <c:pt idx="11">
                  <c:v>123059334.04557826</c:v>
                </c:pt>
                <c:pt idx="12">
                  <c:v>123059334.04557826</c:v>
                </c:pt>
                <c:pt idx="13">
                  <c:v>123059334.04557826</c:v>
                </c:pt>
                <c:pt idx="14">
                  <c:v>123059334.04557826</c:v>
                </c:pt>
                <c:pt idx="15">
                  <c:v>123059334.04557826</c:v>
                </c:pt>
                <c:pt idx="16">
                  <c:v>123059334.04557826</c:v>
                </c:pt>
                <c:pt idx="17">
                  <c:v>123059334.04557826</c:v>
                </c:pt>
                <c:pt idx="18">
                  <c:v>123059334.04557826</c:v>
                </c:pt>
                <c:pt idx="19">
                  <c:v>123059334.04557826</c:v>
                </c:pt>
                <c:pt idx="20">
                  <c:v>123059334.04557826</c:v>
                </c:pt>
                <c:pt idx="21">
                  <c:v>123059334.04557826</c:v>
                </c:pt>
                <c:pt idx="22">
                  <c:v>123059334.04557826</c:v>
                </c:pt>
                <c:pt idx="23">
                  <c:v>123059334.04557826</c:v>
                </c:pt>
                <c:pt idx="24">
                  <c:v>123059334.04557826</c:v>
                </c:pt>
                <c:pt idx="25">
                  <c:v>123059334.04557826</c:v>
                </c:pt>
                <c:pt idx="26">
                  <c:v>123059334.04557826</c:v>
                </c:pt>
                <c:pt idx="27">
                  <c:v>123059334.04557826</c:v>
                </c:pt>
                <c:pt idx="28">
                  <c:v>123059334.04557826</c:v>
                </c:pt>
                <c:pt idx="29">
                  <c:v>123059334.04557826</c:v>
                </c:pt>
                <c:pt idx="30">
                  <c:v>123059334.04557826</c:v>
                </c:pt>
                <c:pt idx="31">
                  <c:v>123059334.04557826</c:v>
                </c:pt>
                <c:pt idx="32">
                  <c:v>123059334.04557826</c:v>
                </c:pt>
                <c:pt idx="33">
                  <c:v>123059334.04557826</c:v>
                </c:pt>
                <c:pt idx="34">
                  <c:v>123059334.04557826</c:v>
                </c:pt>
                <c:pt idx="35">
                  <c:v>123059334.04557826</c:v>
                </c:pt>
                <c:pt idx="36">
                  <c:v>123059334.04557826</c:v>
                </c:pt>
                <c:pt idx="37">
                  <c:v>123059334.04557826</c:v>
                </c:pt>
                <c:pt idx="38">
                  <c:v>123059334.04557826</c:v>
                </c:pt>
                <c:pt idx="39">
                  <c:v>123059334.04557826</c:v>
                </c:pt>
                <c:pt idx="40">
                  <c:v>123059334.04557826</c:v>
                </c:pt>
              </c:numCache>
              <c:extLst/>
            </c:numRef>
          </c:val>
          <c:smooth val="0"/>
          <c:extLst>
            <c:ext xmlns:c16="http://schemas.microsoft.com/office/drawing/2014/chart" uri="{C3380CC4-5D6E-409C-BE32-E72D297353CC}">
              <c16:uniqueId val="{00000001-1EDD-4DD7-A2B5-D3DC27FC73CB}"/>
            </c:ext>
          </c:extLst>
        </c:ser>
        <c:ser>
          <c:idx val="8"/>
          <c:order val="2"/>
          <c:tx>
            <c:strRef>
              <c:f>'Data Analysis'!$K$82</c:f>
              <c:strCache>
                <c:ptCount val="1"/>
                <c:pt idx="0">
                  <c:v>Cumulative Landfilled Tons
(0% increase)</c:v>
                </c:pt>
              </c:strCache>
            </c:strRef>
          </c:tx>
          <c:spPr>
            <a:ln w="28575" cap="rnd">
              <a:solidFill>
                <a:schemeClr val="accent3">
                  <a:lumMod val="60000"/>
                </a:schemeClr>
              </a:solidFill>
              <a:prstDash val="sysDot"/>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K$83:$K$108</c:f>
              <c:numCache>
                <c:formatCode>#,##0</c:formatCode>
                <c:ptCount val="26"/>
                <c:pt idx="0">
                  <c:v>20916561.600000005</c:v>
                </c:pt>
                <c:pt idx="1">
                  <c:v>41833123.20000001</c:v>
                </c:pt>
                <c:pt idx="2">
                  <c:v>62749684.800000012</c:v>
                </c:pt>
                <c:pt idx="3">
                  <c:v>83666246.400000021</c:v>
                </c:pt>
                <c:pt idx="4">
                  <c:v>104582808.00000003</c:v>
                </c:pt>
                <c:pt idx="5">
                  <c:v>125499369.60000004</c:v>
                </c:pt>
                <c:pt idx="6">
                  <c:v>146415931.20000005</c:v>
                </c:pt>
                <c:pt idx="7">
                  <c:v>167332492.80000004</c:v>
                </c:pt>
                <c:pt idx="8">
                  <c:v>188249054.40000004</c:v>
                </c:pt>
                <c:pt idx="9">
                  <c:v>209165616.00000003</c:v>
                </c:pt>
                <c:pt idx="10">
                  <c:v>230082177.60000002</c:v>
                </c:pt>
                <c:pt idx="11">
                  <c:v>250998739.20000002</c:v>
                </c:pt>
                <c:pt idx="12">
                  <c:v>271915300.80000001</c:v>
                </c:pt>
                <c:pt idx="13">
                  <c:v>292831862.40000004</c:v>
                </c:pt>
                <c:pt idx="14">
                  <c:v>313748424.00000006</c:v>
                </c:pt>
                <c:pt idx="15">
                  <c:v>334664985.60000008</c:v>
                </c:pt>
                <c:pt idx="16">
                  <c:v>355581547.20000011</c:v>
                </c:pt>
                <c:pt idx="17">
                  <c:v>376498108.80000013</c:v>
                </c:pt>
                <c:pt idx="18">
                  <c:v>397414670.40000015</c:v>
                </c:pt>
                <c:pt idx="19">
                  <c:v>418331232.00000018</c:v>
                </c:pt>
                <c:pt idx="20">
                  <c:v>439247793.6000002</c:v>
                </c:pt>
                <c:pt idx="21">
                  <c:v>460164355.20000023</c:v>
                </c:pt>
                <c:pt idx="22">
                  <c:v>481080916.80000025</c:v>
                </c:pt>
                <c:pt idx="23">
                  <c:v>501997478.40000027</c:v>
                </c:pt>
                <c:pt idx="24">
                  <c:v>522914040.0000003</c:v>
                </c:pt>
                <c:pt idx="25">
                  <c:v>543830601.60000026</c:v>
                </c:pt>
              </c:numCache>
              <c:extLst/>
            </c:numRef>
          </c:val>
          <c:smooth val="0"/>
          <c:extLst>
            <c:ext xmlns:c16="http://schemas.microsoft.com/office/drawing/2014/chart" uri="{C3380CC4-5D6E-409C-BE32-E72D297353CC}">
              <c16:uniqueId val="{00000004-1EDD-4DD7-A2B5-D3DC27FC73CB}"/>
            </c:ext>
          </c:extLst>
        </c:ser>
        <c:ser>
          <c:idx val="0"/>
          <c:order val="3"/>
          <c:tx>
            <c:strRef>
              <c:f>'Data Analysis'!$M$82</c:f>
              <c:strCache>
                <c:ptCount val="1"/>
                <c:pt idx="0">
                  <c:v>Cumulative Landfilled Tons
(1% increase)</c:v>
                </c:pt>
              </c:strCache>
            </c:strRef>
          </c:tx>
          <c:spPr>
            <a:ln w="28575" cap="rnd">
              <a:solidFill>
                <a:schemeClr val="accent1"/>
              </a:solidFill>
              <a:prstDash val="sysDot"/>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M$83:$M$106</c:f>
              <c:numCache>
                <c:formatCode>#,##0</c:formatCode>
                <c:ptCount val="24"/>
                <c:pt idx="0">
                  <c:v>20916561.600000005</c:v>
                </c:pt>
                <c:pt idx="1">
                  <c:v>42042288.816000015</c:v>
                </c:pt>
                <c:pt idx="2">
                  <c:v>63379273.304160021</c:v>
                </c:pt>
                <c:pt idx="3">
                  <c:v>84929627.637201637</c:v>
                </c:pt>
                <c:pt idx="4">
                  <c:v>106695485.51357366</c:v>
                </c:pt>
                <c:pt idx="5">
                  <c:v>128679001.96870941</c:v>
                </c:pt>
                <c:pt idx="6">
                  <c:v>150882353.58839652</c:v>
                </c:pt>
                <c:pt idx="7">
                  <c:v>173307738.72428051</c:v>
                </c:pt>
                <c:pt idx="8">
                  <c:v>195957377.71152332</c:v>
                </c:pt>
                <c:pt idx="9">
                  <c:v>218833513.08863857</c:v>
                </c:pt>
                <c:pt idx="10">
                  <c:v>241938409.81952497</c:v>
                </c:pt>
                <c:pt idx="11">
                  <c:v>265274355.51772022</c:v>
                </c:pt>
                <c:pt idx="12">
                  <c:v>288843660.67289746</c:v>
                </c:pt>
                <c:pt idx="13">
                  <c:v>312648658.87962645</c:v>
                </c:pt>
                <c:pt idx="14">
                  <c:v>336691707.06842273</c:v>
                </c:pt>
                <c:pt idx="15">
                  <c:v>360975185.73910695</c:v>
                </c:pt>
                <c:pt idx="16">
                  <c:v>385501499.19649804</c:v>
                </c:pt>
                <c:pt idx="17">
                  <c:v>410273075.78846306</c:v>
                </c:pt>
                <c:pt idx="18">
                  <c:v>435292368.1463477</c:v>
                </c:pt>
                <c:pt idx="19">
                  <c:v>460561853.42781121</c:v>
                </c:pt>
                <c:pt idx="20">
                  <c:v>486084033.56208932</c:v>
                </c:pt>
                <c:pt idx="21">
                  <c:v>511861435.49771023</c:v>
                </c:pt>
                <c:pt idx="22">
                  <c:v>537896611.45268738</c:v>
                </c:pt>
                <c:pt idx="23">
                  <c:v>564192139.16721427</c:v>
                </c:pt>
              </c:numCache>
              <c:extLst/>
            </c:numRef>
          </c:val>
          <c:smooth val="0"/>
          <c:extLst>
            <c:ext xmlns:c16="http://schemas.microsoft.com/office/drawing/2014/chart" uri="{C3380CC4-5D6E-409C-BE32-E72D297353CC}">
              <c16:uniqueId val="{00000005-1EDD-4DD7-A2B5-D3DC27FC73CB}"/>
            </c:ext>
          </c:extLst>
        </c:ser>
        <c:ser>
          <c:idx val="2"/>
          <c:order val="4"/>
          <c:tx>
            <c:strRef>
              <c:f>'Data Analysis'!$O$82</c:f>
              <c:strCache>
                <c:ptCount val="1"/>
                <c:pt idx="0">
                  <c:v>Cumulative Landfilled Tons
(3% increase)</c:v>
                </c:pt>
              </c:strCache>
            </c:strRef>
          </c:tx>
          <c:spPr>
            <a:ln w="28575" cap="rnd">
              <a:solidFill>
                <a:schemeClr val="accent3"/>
              </a:solidFill>
              <a:prstDash val="sysDot"/>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O$83:$O$102</c:f>
              <c:numCache>
                <c:formatCode>#,##0</c:formatCode>
                <c:ptCount val="20"/>
                <c:pt idx="0">
                  <c:v>20916561.600000005</c:v>
                </c:pt>
                <c:pt idx="1">
                  <c:v>42460620.048000008</c:v>
                </c:pt>
                <c:pt idx="2">
                  <c:v>64651000.249440014</c:v>
                </c:pt>
                <c:pt idx="3">
                  <c:v>87507091.856923223</c:v>
                </c:pt>
                <c:pt idx="4">
                  <c:v>111048866.21263093</c:v>
                </c:pt>
                <c:pt idx="5">
                  <c:v>135296893.79900986</c:v>
                </c:pt>
                <c:pt idx="6">
                  <c:v>160272362.21298015</c:v>
                </c:pt>
                <c:pt idx="7">
                  <c:v>185997094.67936957</c:v>
                </c:pt>
                <c:pt idx="8">
                  <c:v>212493569.11975068</c:v>
                </c:pt>
                <c:pt idx="9">
                  <c:v>239784937.79334322</c:v>
                </c:pt>
                <c:pt idx="10">
                  <c:v>267895047.52714354</c:v>
                </c:pt>
                <c:pt idx="11">
                  <c:v>296848460.55295783</c:v>
                </c:pt>
                <c:pt idx="12">
                  <c:v>326670475.96954656</c:v>
                </c:pt>
                <c:pt idx="13">
                  <c:v>357387151.84863299</c:v>
                </c:pt>
                <c:pt idx="14">
                  <c:v>389025328.00409198</c:v>
                </c:pt>
                <c:pt idx="15">
                  <c:v>421612649.44421476</c:v>
                </c:pt>
                <c:pt idx="16">
                  <c:v>455177590.52754122</c:v>
                </c:pt>
                <c:pt idx="17">
                  <c:v>489749479.84336746</c:v>
                </c:pt>
                <c:pt idx="18">
                  <c:v>525358525.83866847</c:v>
                </c:pt>
                <c:pt idx="19">
                  <c:v>562035843.21382856</c:v>
                </c:pt>
              </c:numCache>
              <c:extLst/>
            </c:numRef>
          </c:val>
          <c:smooth val="0"/>
          <c:extLst>
            <c:ext xmlns:c16="http://schemas.microsoft.com/office/drawing/2014/chart" uri="{C3380CC4-5D6E-409C-BE32-E72D297353CC}">
              <c16:uniqueId val="{00000006-1EDD-4DD7-A2B5-D3DC27FC73CB}"/>
            </c:ext>
          </c:extLst>
        </c:ser>
        <c:ser>
          <c:idx val="6"/>
          <c:order val="5"/>
          <c:tx>
            <c:strRef>
              <c:f>'Data Analysis'!$Q$82</c:f>
              <c:strCache>
                <c:ptCount val="1"/>
                <c:pt idx="0">
                  <c:v>Cumulative Landfilled Tons
(5% increase)</c:v>
                </c:pt>
              </c:strCache>
            </c:strRef>
          </c:tx>
          <c:spPr>
            <a:ln w="28575" cap="rnd">
              <a:solidFill>
                <a:schemeClr val="accent1">
                  <a:lumMod val="60000"/>
                </a:schemeClr>
              </a:solidFill>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Q$83:$Q$100</c:f>
              <c:numCache>
                <c:formatCode>#,##0</c:formatCode>
                <c:ptCount val="18"/>
                <c:pt idx="0">
                  <c:v>20916561.600000005</c:v>
                </c:pt>
                <c:pt idx="1">
                  <c:v>42878951.280000016</c:v>
                </c:pt>
                <c:pt idx="2">
                  <c:v>65939460.444000021</c:v>
                </c:pt>
                <c:pt idx="3">
                  <c:v>90152995.066200033</c:v>
                </c:pt>
                <c:pt idx="4">
                  <c:v>115577206.41951004</c:v>
                </c:pt>
                <c:pt idx="5">
                  <c:v>142272628.34048554</c:v>
                </c:pt>
                <c:pt idx="6">
                  <c:v>170302821.35750982</c:v>
                </c:pt>
                <c:pt idx="7">
                  <c:v>199734524.02538532</c:v>
                </c:pt>
                <c:pt idx="8">
                  <c:v>230637811.82665461</c:v>
                </c:pt>
                <c:pt idx="9">
                  <c:v>263086264.01798737</c:v>
                </c:pt>
                <c:pt idx="10">
                  <c:v>297157138.81888676</c:v>
                </c:pt>
                <c:pt idx="11">
                  <c:v>332931557.35983109</c:v>
                </c:pt>
                <c:pt idx="12">
                  <c:v>370494696.82782269</c:v>
                </c:pt>
                <c:pt idx="13">
                  <c:v>409935993.26921386</c:v>
                </c:pt>
                <c:pt idx="14">
                  <c:v>451349354.53267455</c:v>
                </c:pt>
                <c:pt idx="15">
                  <c:v>494833383.8593083</c:v>
                </c:pt>
                <c:pt idx="16">
                  <c:v>540491614.65227377</c:v>
                </c:pt>
                <c:pt idx="17">
                  <c:v>588432756.98488748</c:v>
                </c:pt>
              </c:numCache>
              <c:extLst/>
            </c:numRef>
          </c:val>
          <c:smooth val="0"/>
          <c:extLst>
            <c:ext xmlns:c16="http://schemas.microsoft.com/office/drawing/2014/chart" uri="{C3380CC4-5D6E-409C-BE32-E72D297353CC}">
              <c16:uniqueId val="{00000007-1EDD-4DD7-A2B5-D3DC27FC73CB}"/>
            </c:ext>
          </c:extLst>
        </c:ser>
        <c:dLbls>
          <c:showLegendKey val="0"/>
          <c:showVal val="0"/>
          <c:showCatName val="0"/>
          <c:showSerName val="0"/>
          <c:showPercent val="0"/>
          <c:showBubbleSize val="0"/>
        </c:dLbls>
        <c:smooth val="0"/>
        <c:axId val="1341526047"/>
        <c:axId val="1343039903"/>
      </c:lineChart>
      <c:catAx>
        <c:axId val="1341526047"/>
        <c:scaling>
          <c:orientation val="minMax"/>
        </c:scaling>
        <c:delete val="0"/>
        <c:axPos val="b"/>
        <c:numFmt formatCode="General" sourceLinked="1"/>
        <c:majorTickMark val="cross"/>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343039903"/>
        <c:crosses val="autoZero"/>
        <c:auto val="0"/>
        <c:lblAlgn val="ctr"/>
        <c:lblOffset val="100"/>
        <c:tickLblSkip val="4"/>
        <c:noMultiLvlLbl val="0"/>
      </c:catAx>
      <c:valAx>
        <c:axId val="1343039903"/>
        <c:scaling>
          <c:orientation val="minMax"/>
          <c:max val="500000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a:t>Millions of Class I Landfill Tons</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341526047"/>
        <c:crosses val="autoZero"/>
        <c:crossBetween val="midCat"/>
        <c:dispUnits>
          <c:builtInUnit val="million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4"/>
          <c:order val="0"/>
          <c:tx>
            <c:strRef>
              <c:f>'Data Analysis'!$D$82</c:f>
              <c:strCache>
                <c:ptCount val="1"/>
                <c:pt idx="0">
                  <c:v>Permitted Capacity </c:v>
                </c:pt>
              </c:strCache>
            </c:strRef>
          </c:tx>
          <c:spPr>
            <a:ln w="28575" cap="rnd">
              <a:solidFill>
                <a:schemeClr val="accent5"/>
              </a:solidFill>
              <a:prstDash val="lgDash"/>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D$83:$D$123</c:f>
              <c:numCache>
                <c:formatCode>#,##0</c:formatCode>
                <c:ptCount val="41"/>
                <c:pt idx="0">
                  <c:v>458050905.78407818</c:v>
                </c:pt>
                <c:pt idx="1">
                  <c:v>458050905.78407818</c:v>
                </c:pt>
                <c:pt idx="2">
                  <c:v>458050905.78407818</c:v>
                </c:pt>
                <c:pt idx="3">
                  <c:v>458050905.78407818</c:v>
                </c:pt>
                <c:pt idx="4">
                  <c:v>458050905.78407818</c:v>
                </c:pt>
                <c:pt idx="5">
                  <c:v>458050905.78407818</c:v>
                </c:pt>
                <c:pt idx="6">
                  <c:v>458050905.78407818</c:v>
                </c:pt>
                <c:pt idx="7">
                  <c:v>458050905.78407818</c:v>
                </c:pt>
                <c:pt idx="8">
                  <c:v>458050905.78407818</c:v>
                </c:pt>
                <c:pt idx="9">
                  <c:v>458050905.78407818</c:v>
                </c:pt>
                <c:pt idx="10">
                  <c:v>458050905.78407818</c:v>
                </c:pt>
                <c:pt idx="11">
                  <c:v>458050905.78407818</c:v>
                </c:pt>
                <c:pt idx="12">
                  <c:v>458050905.78407818</c:v>
                </c:pt>
                <c:pt idx="13">
                  <c:v>458050905.78407818</c:v>
                </c:pt>
                <c:pt idx="14">
                  <c:v>458050905.78407818</c:v>
                </c:pt>
                <c:pt idx="15">
                  <c:v>458050905.78407818</c:v>
                </c:pt>
                <c:pt idx="16">
                  <c:v>458050905.78407818</c:v>
                </c:pt>
                <c:pt idx="17">
                  <c:v>458050905.78407818</c:v>
                </c:pt>
                <c:pt idx="18">
                  <c:v>458050905.78407818</c:v>
                </c:pt>
                <c:pt idx="19">
                  <c:v>458050905.78407818</c:v>
                </c:pt>
                <c:pt idx="20">
                  <c:v>458050905.78407818</c:v>
                </c:pt>
                <c:pt idx="21">
                  <c:v>458050905.78407818</c:v>
                </c:pt>
                <c:pt idx="22">
                  <c:v>458050905.78407818</c:v>
                </c:pt>
                <c:pt idx="23">
                  <c:v>458050905.78407818</c:v>
                </c:pt>
                <c:pt idx="24">
                  <c:v>458050905.78407818</c:v>
                </c:pt>
                <c:pt idx="25">
                  <c:v>458050905.78407818</c:v>
                </c:pt>
                <c:pt idx="26">
                  <c:v>458050905.78407818</c:v>
                </c:pt>
                <c:pt idx="27">
                  <c:v>458050905.78407818</c:v>
                </c:pt>
                <c:pt idx="28">
                  <c:v>458050905.78407818</c:v>
                </c:pt>
                <c:pt idx="29">
                  <c:v>458050905.78407818</c:v>
                </c:pt>
                <c:pt idx="30">
                  <c:v>458050905.78407818</c:v>
                </c:pt>
                <c:pt idx="31">
                  <c:v>458050905.78407818</c:v>
                </c:pt>
                <c:pt idx="32">
                  <c:v>458050905.78407818</c:v>
                </c:pt>
                <c:pt idx="33">
                  <c:v>458050905.78407818</c:v>
                </c:pt>
                <c:pt idx="34">
                  <c:v>458050905.78407818</c:v>
                </c:pt>
                <c:pt idx="35">
                  <c:v>458050905.78407818</c:v>
                </c:pt>
                <c:pt idx="36">
                  <c:v>458050905.78407818</c:v>
                </c:pt>
                <c:pt idx="37">
                  <c:v>458050905.78407818</c:v>
                </c:pt>
                <c:pt idx="38">
                  <c:v>458050905.78407818</c:v>
                </c:pt>
                <c:pt idx="39">
                  <c:v>458050905.78407818</c:v>
                </c:pt>
                <c:pt idx="40">
                  <c:v>458050905.78407818</c:v>
                </c:pt>
              </c:numCache>
              <c:extLst/>
            </c:numRef>
          </c:val>
          <c:smooth val="0"/>
          <c:extLst>
            <c:ext xmlns:c16="http://schemas.microsoft.com/office/drawing/2014/chart" uri="{C3380CC4-5D6E-409C-BE32-E72D297353CC}">
              <c16:uniqueId val="{00000000-1EDD-4DD7-A2B5-D3DC27FC73CB}"/>
            </c:ext>
          </c:extLst>
        </c:ser>
        <c:ser>
          <c:idx val="3"/>
          <c:order val="1"/>
          <c:tx>
            <c:strRef>
              <c:f>'Data Analysis'!$E$82</c:f>
              <c:strCache>
                <c:ptCount val="1"/>
                <c:pt idx="0">
                  <c:v>Constructed Capacity</c:v>
                </c:pt>
              </c:strCache>
            </c:strRef>
          </c:tx>
          <c:spPr>
            <a:ln w="28575" cap="rnd">
              <a:solidFill>
                <a:schemeClr val="accent4"/>
              </a:solidFill>
              <a:prstDash val="dash"/>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E$83:$E$123</c:f>
              <c:numCache>
                <c:formatCode>#,##0</c:formatCode>
                <c:ptCount val="41"/>
                <c:pt idx="0">
                  <c:v>123059334.04557826</c:v>
                </c:pt>
                <c:pt idx="1">
                  <c:v>123059334.04557826</c:v>
                </c:pt>
                <c:pt idx="2">
                  <c:v>123059334.04557826</c:v>
                </c:pt>
                <c:pt idx="3">
                  <c:v>123059334.04557826</c:v>
                </c:pt>
                <c:pt idx="4">
                  <c:v>123059334.04557826</c:v>
                </c:pt>
                <c:pt idx="5">
                  <c:v>123059334.04557826</c:v>
                </c:pt>
                <c:pt idx="6">
                  <c:v>123059334.04557826</c:v>
                </c:pt>
                <c:pt idx="7">
                  <c:v>123059334.04557826</c:v>
                </c:pt>
                <c:pt idx="8">
                  <c:v>123059334.04557826</c:v>
                </c:pt>
                <c:pt idx="9">
                  <c:v>123059334.04557826</c:v>
                </c:pt>
                <c:pt idx="10">
                  <c:v>123059334.04557826</c:v>
                </c:pt>
                <c:pt idx="11">
                  <c:v>123059334.04557826</c:v>
                </c:pt>
                <c:pt idx="12">
                  <c:v>123059334.04557826</c:v>
                </c:pt>
                <c:pt idx="13">
                  <c:v>123059334.04557826</c:v>
                </c:pt>
                <c:pt idx="14">
                  <c:v>123059334.04557826</c:v>
                </c:pt>
                <c:pt idx="15">
                  <c:v>123059334.04557826</c:v>
                </c:pt>
                <c:pt idx="16">
                  <c:v>123059334.04557826</c:v>
                </c:pt>
                <c:pt idx="17">
                  <c:v>123059334.04557826</c:v>
                </c:pt>
                <c:pt idx="18">
                  <c:v>123059334.04557826</c:v>
                </c:pt>
                <c:pt idx="19">
                  <c:v>123059334.04557826</c:v>
                </c:pt>
                <c:pt idx="20">
                  <c:v>123059334.04557826</c:v>
                </c:pt>
                <c:pt idx="21">
                  <c:v>123059334.04557826</c:v>
                </c:pt>
                <c:pt idx="22">
                  <c:v>123059334.04557826</c:v>
                </c:pt>
                <c:pt idx="23">
                  <c:v>123059334.04557826</c:v>
                </c:pt>
                <c:pt idx="24">
                  <c:v>123059334.04557826</c:v>
                </c:pt>
                <c:pt idx="25">
                  <c:v>123059334.04557826</c:v>
                </c:pt>
                <c:pt idx="26">
                  <c:v>123059334.04557826</c:v>
                </c:pt>
                <c:pt idx="27">
                  <c:v>123059334.04557826</c:v>
                </c:pt>
                <c:pt idx="28">
                  <c:v>123059334.04557826</c:v>
                </c:pt>
                <c:pt idx="29">
                  <c:v>123059334.04557826</c:v>
                </c:pt>
                <c:pt idx="30">
                  <c:v>123059334.04557826</c:v>
                </c:pt>
                <c:pt idx="31">
                  <c:v>123059334.04557826</c:v>
                </c:pt>
                <c:pt idx="32">
                  <c:v>123059334.04557826</c:v>
                </c:pt>
                <c:pt idx="33">
                  <c:v>123059334.04557826</c:v>
                </c:pt>
                <c:pt idx="34">
                  <c:v>123059334.04557826</c:v>
                </c:pt>
                <c:pt idx="35">
                  <c:v>123059334.04557826</c:v>
                </c:pt>
                <c:pt idx="36">
                  <c:v>123059334.04557826</c:v>
                </c:pt>
                <c:pt idx="37">
                  <c:v>123059334.04557826</c:v>
                </c:pt>
                <c:pt idx="38">
                  <c:v>123059334.04557826</c:v>
                </c:pt>
                <c:pt idx="39">
                  <c:v>123059334.04557826</c:v>
                </c:pt>
                <c:pt idx="40">
                  <c:v>123059334.04557826</c:v>
                </c:pt>
              </c:numCache>
              <c:extLst/>
            </c:numRef>
          </c:val>
          <c:smooth val="0"/>
          <c:extLst>
            <c:ext xmlns:c16="http://schemas.microsoft.com/office/drawing/2014/chart" uri="{C3380CC4-5D6E-409C-BE32-E72D297353CC}">
              <c16:uniqueId val="{00000001-1EDD-4DD7-A2B5-D3DC27FC73CB}"/>
            </c:ext>
          </c:extLst>
        </c:ser>
        <c:ser>
          <c:idx val="1"/>
          <c:order val="2"/>
          <c:tx>
            <c:strRef>
              <c:f>'Data Analysis'!$I$82</c:f>
              <c:strCache>
                <c:ptCount val="1"/>
                <c:pt idx="0">
                  <c:v>Cumulative Landfilled Tons
(-1% increase)</c:v>
                </c:pt>
              </c:strCache>
            </c:strRef>
          </c:tx>
          <c:spPr>
            <a:ln w="28575" cap="rnd">
              <a:solidFill>
                <a:schemeClr val="accent2"/>
              </a:solidFill>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I$83:$I$112</c:f>
              <c:numCache>
                <c:formatCode>#,##0</c:formatCode>
                <c:ptCount val="30"/>
                <c:pt idx="0">
                  <c:v>20916561.600000005</c:v>
                </c:pt>
                <c:pt idx="1">
                  <c:v>41623957.584000006</c:v>
                </c:pt>
                <c:pt idx="2">
                  <c:v>62124279.608160011</c:v>
                </c:pt>
                <c:pt idx="3">
                  <c:v>82419598.41207841</c:v>
                </c:pt>
                <c:pt idx="4">
                  <c:v>102511964.02795763</c:v>
                </c:pt>
                <c:pt idx="5">
                  <c:v>122403405.98767807</c:v>
                </c:pt>
                <c:pt idx="6">
                  <c:v>142095933.52780128</c:v>
                </c:pt>
                <c:pt idx="7">
                  <c:v>161591535.79252326</c:v>
                </c:pt>
                <c:pt idx="8">
                  <c:v>180892182.03459805</c:v>
                </c:pt>
                <c:pt idx="9">
                  <c:v>199999821.81425208</c:v>
                </c:pt>
                <c:pt idx="10">
                  <c:v>218916385.19610956</c:v>
                </c:pt>
                <c:pt idx="11">
                  <c:v>237643782.94414848</c:v>
                </c:pt>
                <c:pt idx="12">
                  <c:v>256183906.71470702</c:v>
                </c:pt>
                <c:pt idx="13">
                  <c:v>274538629.24755996</c:v>
                </c:pt>
                <c:pt idx="14">
                  <c:v>292709804.55508435</c:v>
                </c:pt>
                <c:pt idx="15">
                  <c:v>310699268.10953349</c:v>
                </c:pt>
                <c:pt idx="16">
                  <c:v>328508837.02843815</c:v>
                </c:pt>
                <c:pt idx="17">
                  <c:v>346140310.2581538</c:v>
                </c:pt>
                <c:pt idx="18">
                  <c:v>363595468.75557226</c:v>
                </c:pt>
                <c:pt idx="19">
                  <c:v>380876075.66801655</c:v>
                </c:pt>
                <c:pt idx="20">
                  <c:v>397983876.51133639</c:v>
                </c:pt>
                <c:pt idx="21">
                  <c:v>414920599.346223</c:v>
                </c:pt>
                <c:pt idx="22">
                  <c:v>431687954.95276076</c:v>
                </c:pt>
                <c:pt idx="23">
                  <c:v>448287637.00323313</c:v>
                </c:pt>
                <c:pt idx="24">
                  <c:v>464721322.23320079</c:v>
                </c:pt>
                <c:pt idx="25">
                  <c:v>480990670.61086881</c:v>
                </c:pt>
                <c:pt idx="26">
                  <c:v>497097325.50476015</c:v>
                </c:pt>
                <c:pt idx="27">
                  <c:v>513042913.84971255</c:v>
                </c:pt>
                <c:pt idx="28">
                  <c:v>528829046.3112154</c:v>
                </c:pt>
                <c:pt idx="29">
                  <c:v>544457317.44810319</c:v>
                </c:pt>
              </c:numCache>
              <c:extLst/>
            </c:numRef>
          </c:val>
          <c:smooth val="0"/>
          <c:extLst>
            <c:ext xmlns:c16="http://schemas.microsoft.com/office/drawing/2014/chart" uri="{C3380CC4-5D6E-409C-BE32-E72D297353CC}">
              <c16:uniqueId val="{00000003-1EDD-4DD7-A2B5-D3DC27FC73CB}"/>
            </c:ext>
          </c:extLst>
        </c:ser>
        <c:ser>
          <c:idx val="8"/>
          <c:order val="3"/>
          <c:tx>
            <c:strRef>
              <c:f>'Data Analysis'!$K$82</c:f>
              <c:strCache>
                <c:ptCount val="1"/>
                <c:pt idx="0">
                  <c:v>Cumulative Landfilled Tons
(0% increase)</c:v>
                </c:pt>
              </c:strCache>
            </c:strRef>
          </c:tx>
          <c:spPr>
            <a:ln w="28575" cap="rnd">
              <a:solidFill>
                <a:schemeClr val="accent3">
                  <a:lumMod val="60000"/>
                </a:schemeClr>
              </a:solidFill>
              <a:prstDash val="sysDot"/>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K$83:$K$108</c:f>
              <c:numCache>
                <c:formatCode>#,##0</c:formatCode>
                <c:ptCount val="26"/>
                <c:pt idx="0">
                  <c:v>20916561.600000005</c:v>
                </c:pt>
                <c:pt idx="1">
                  <c:v>41833123.20000001</c:v>
                </c:pt>
                <c:pt idx="2">
                  <c:v>62749684.800000012</c:v>
                </c:pt>
                <c:pt idx="3">
                  <c:v>83666246.400000021</c:v>
                </c:pt>
                <c:pt idx="4">
                  <c:v>104582808.00000003</c:v>
                </c:pt>
                <c:pt idx="5">
                  <c:v>125499369.60000004</c:v>
                </c:pt>
                <c:pt idx="6">
                  <c:v>146415931.20000005</c:v>
                </c:pt>
                <c:pt idx="7">
                  <c:v>167332492.80000004</c:v>
                </c:pt>
                <c:pt idx="8">
                  <c:v>188249054.40000004</c:v>
                </c:pt>
                <c:pt idx="9">
                  <c:v>209165616.00000003</c:v>
                </c:pt>
                <c:pt idx="10">
                  <c:v>230082177.60000002</c:v>
                </c:pt>
                <c:pt idx="11">
                  <c:v>250998739.20000002</c:v>
                </c:pt>
                <c:pt idx="12">
                  <c:v>271915300.80000001</c:v>
                </c:pt>
                <c:pt idx="13">
                  <c:v>292831862.40000004</c:v>
                </c:pt>
                <c:pt idx="14">
                  <c:v>313748424.00000006</c:v>
                </c:pt>
                <c:pt idx="15">
                  <c:v>334664985.60000008</c:v>
                </c:pt>
                <c:pt idx="16">
                  <c:v>355581547.20000011</c:v>
                </c:pt>
                <c:pt idx="17">
                  <c:v>376498108.80000013</c:v>
                </c:pt>
                <c:pt idx="18">
                  <c:v>397414670.40000015</c:v>
                </c:pt>
                <c:pt idx="19">
                  <c:v>418331232.00000018</c:v>
                </c:pt>
                <c:pt idx="20">
                  <c:v>439247793.6000002</c:v>
                </c:pt>
                <c:pt idx="21">
                  <c:v>460164355.20000023</c:v>
                </c:pt>
                <c:pt idx="22">
                  <c:v>481080916.80000025</c:v>
                </c:pt>
                <c:pt idx="23">
                  <c:v>501997478.40000027</c:v>
                </c:pt>
                <c:pt idx="24">
                  <c:v>522914040.0000003</c:v>
                </c:pt>
                <c:pt idx="25">
                  <c:v>543830601.60000026</c:v>
                </c:pt>
              </c:numCache>
              <c:extLst/>
            </c:numRef>
          </c:val>
          <c:smooth val="0"/>
          <c:extLst>
            <c:ext xmlns:c16="http://schemas.microsoft.com/office/drawing/2014/chart" uri="{C3380CC4-5D6E-409C-BE32-E72D297353CC}">
              <c16:uniqueId val="{00000004-1EDD-4DD7-A2B5-D3DC27FC73CB}"/>
            </c:ext>
          </c:extLst>
        </c:ser>
        <c:ser>
          <c:idx val="0"/>
          <c:order val="4"/>
          <c:tx>
            <c:strRef>
              <c:f>'Data Analysis'!$M$82</c:f>
              <c:strCache>
                <c:ptCount val="1"/>
                <c:pt idx="0">
                  <c:v>Cumulative Landfilled Tons
(1% increase)</c:v>
                </c:pt>
              </c:strCache>
            </c:strRef>
          </c:tx>
          <c:spPr>
            <a:ln w="28575" cap="rnd">
              <a:solidFill>
                <a:schemeClr val="accent1"/>
              </a:solidFill>
              <a:prstDash val="sysDot"/>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M$83:$M$106</c:f>
              <c:numCache>
                <c:formatCode>#,##0</c:formatCode>
                <c:ptCount val="24"/>
                <c:pt idx="0">
                  <c:v>20916561.600000005</c:v>
                </c:pt>
                <c:pt idx="1">
                  <c:v>42042288.816000015</c:v>
                </c:pt>
                <c:pt idx="2">
                  <c:v>63379273.304160021</c:v>
                </c:pt>
                <c:pt idx="3">
                  <c:v>84929627.637201637</c:v>
                </c:pt>
                <c:pt idx="4">
                  <c:v>106695485.51357366</c:v>
                </c:pt>
                <c:pt idx="5">
                  <c:v>128679001.96870941</c:v>
                </c:pt>
                <c:pt idx="6">
                  <c:v>150882353.58839652</c:v>
                </c:pt>
                <c:pt idx="7">
                  <c:v>173307738.72428051</c:v>
                </c:pt>
                <c:pt idx="8">
                  <c:v>195957377.71152332</c:v>
                </c:pt>
                <c:pt idx="9">
                  <c:v>218833513.08863857</c:v>
                </c:pt>
                <c:pt idx="10">
                  <c:v>241938409.81952497</c:v>
                </c:pt>
                <c:pt idx="11">
                  <c:v>265274355.51772022</c:v>
                </c:pt>
                <c:pt idx="12">
                  <c:v>288843660.67289746</c:v>
                </c:pt>
                <c:pt idx="13">
                  <c:v>312648658.87962645</c:v>
                </c:pt>
                <c:pt idx="14">
                  <c:v>336691707.06842273</c:v>
                </c:pt>
                <c:pt idx="15">
                  <c:v>360975185.73910695</c:v>
                </c:pt>
                <c:pt idx="16">
                  <c:v>385501499.19649804</c:v>
                </c:pt>
                <c:pt idx="17">
                  <c:v>410273075.78846306</c:v>
                </c:pt>
                <c:pt idx="18">
                  <c:v>435292368.1463477</c:v>
                </c:pt>
                <c:pt idx="19">
                  <c:v>460561853.42781121</c:v>
                </c:pt>
                <c:pt idx="20">
                  <c:v>486084033.56208932</c:v>
                </c:pt>
                <c:pt idx="21">
                  <c:v>511861435.49771023</c:v>
                </c:pt>
                <c:pt idx="22">
                  <c:v>537896611.45268738</c:v>
                </c:pt>
                <c:pt idx="23">
                  <c:v>564192139.16721427</c:v>
                </c:pt>
              </c:numCache>
              <c:extLst/>
            </c:numRef>
          </c:val>
          <c:smooth val="0"/>
          <c:extLst>
            <c:ext xmlns:c16="http://schemas.microsoft.com/office/drawing/2014/chart" uri="{C3380CC4-5D6E-409C-BE32-E72D297353CC}">
              <c16:uniqueId val="{00000005-1EDD-4DD7-A2B5-D3DC27FC73CB}"/>
            </c:ext>
          </c:extLst>
        </c:ser>
        <c:ser>
          <c:idx val="2"/>
          <c:order val="5"/>
          <c:tx>
            <c:strRef>
              <c:f>'Data Analysis'!$O$82</c:f>
              <c:strCache>
                <c:ptCount val="1"/>
                <c:pt idx="0">
                  <c:v>Cumulative Landfilled Tons
(3% increase)</c:v>
                </c:pt>
              </c:strCache>
            </c:strRef>
          </c:tx>
          <c:spPr>
            <a:ln w="28575" cap="rnd">
              <a:solidFill>
                <a:schemeClr val="accent3"/>
              </a:solidFill>
              <a:prstDash val="sysDot"/>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O$83:$O$102</c:f>
              <c:numCache>
                <c:formatCode>#,##0</c:formatCode>
                <c:ptCount val="20"/>
                <c:pt idx="0">
                  <c:v>20916561.600000005</c:v>
                </c:pt>
                <c:pt idx="1">
                  <c:v>42460620.048000008</c:v>
                </c:pt>
                <c:pt idx="2">
                  <c:v>64651000.249440014</c:v>
                </c:pt>
                <c:pt idx="3">
                  <c:v>87507091.856923223</c:v>
                </c:pt>
                <c:pt idx="4">
                  <c:v>111048866.21263093</c:v>
                </c:pt>
                <c:pt idx="5">
                  <c:v>135296893.79900986</c:v>
                </c:pt>
                <c:pt idx="6">
                  <c:v>160272362.21298015</c:v>
                </c:pt>
                <c:pt idx="7">
                  <c:v>185997094.67936957</c:v>
                </c:pt>
                <c:pt idx="8">
                  <c:v>212493569.11975068</c:v>
                </c:pt>
                <c:pt idx="9">
                  <c:v>239784937.79334322</c:v>
                </c:pt>
                <c:pt idx="10">
                  <c:v>267895047.52714354</c:v>
                </c:pt>
                <c:pt idx="11">
                  <c:v>296848460.55295783</c:v>
                </c:pt>
                <c:pt idx="12">
                  <c:v>326670475.96954656</c:v>
                </c:pt>
                <c:pt idx="13">
                  <c:v>357387151.84863299</c:v>
                </c:pt>
                <c:pt idx="14">
                  <c:v>389025328.00409198</c:v>
                </c:pt>
                <c:pt idx="15">
                  <c:v>421612649.44421476</c:v>
                </c:pt>
                <c:pt idx="16">
                  <c:v>455177590.52754122</c:v>
                </c:pt>
                <c:pt idx="17">
                  <c:v>489749479.84336746</c:v>
                </c:pt>
                <c:pt idx="18">
                  <c:v>525358525.83866847</c:v>
                </c:pt>
                <c:pt idx="19">
                  <c:v>562035843.21382856</c:v>
                </c:pt>
              </c:numCache>
              <c:extLst/>
            </c:numRef>
          </c:val>
          <c:smooth val="0"/>
          <c:extLst>
            <c:ext xmlns:c16="http://schemas.microsoft.com/office/drawing/2014/chart" uri="{C3380CC4-5D6E-409C-BE32-E72D297353CC}">
              <c16:uniqueId val="{00000006-1EDD-4DD7-A2B5-D3DC27FC73CB}"/>
            </c:ext>
          </c:extLst>
        </c:ser>
        <c:ser>
          <c:idx val="6"/>
          <c:order val="6"/>
          <c:tx>
            <c:strRef>
              <c:f>'Data Analysis'!$Q$82</c:f>
              <c:strCache>
                <c:ptCount val="1"/>
                <c:pt idx="0">
                  <c:v>Cumulative Landfilled Tons
(5% increase)</c:v>
                </c:pt>
              </c:strCache>
            </c:strRef>
          </c:tx>
          <c:spPr>
            <a:ln w="28575" cap="rnd">
              <a:solidFill>
                <a:schemeClr val="accent1">
                  <a:lumMod val="60000"/>
                </a:schemeClr>
              </a:solidFill>
              <a:prstDash val="sysDot"/>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Q$83:$Q$100</c:f>
              <c:numCache>
                <c:formatCode>#,##0</c:formatCode>
                <c:ptCount val="18"/>
                <c:pt idx="0">
                  <c:v>20916561.600000005</c:v>
                </c:pt>
                <c:pt idx="1">
                  <c:v>42878951.280000016</c:v>
                </c:pt>
                <c:pt idx="2">
                  <c:v>65939460.444000021</c:v>
                </c:pt>
                <c:pt idx="3">
                  <c:v>90152995.066200033</c:v>
                </c:pt>
                <c:pt idx="4">
                  <c:v>115577206.41951004</c:v>
                </c:pt>
                <c:pt idx="5">
                  <c:v>142272628.34048554</c:v>
                </c:pt>
                <c:pt idx="6">
                  <c:v>170302821.35750982</c:v>
                </c:pt>
                <c:pt idx="7">
                  <c:v>199734524.02538532</c:v>
                </c:pt>
                <c:pt idx="8">
                  <c:v>230637811.82665461</c:v>
                </c:pt>
                <c:pt idx="9">
                  <c:v>263086264.01798737</c:v>
                </c:pt>
                <c:pt idx="10">
                  <c:v>297157138.81888676</c:v>
                </c:pt>
                <c:pt idx="11">
                  <c:v>332931557.35983109</c:v>
                </c:pt>
                <c:pt idx="12">
                  <c:v>370494696.82782269</c:v>
                </c:pt>
                <c:pt idx="13">
                  <c:v>409935993.26921386</c:v>
                </c:pt>
                <c:pt idx="14">
                  <c:v>451349354.53267455</c:v>
                </c:pt>
                <c:pt idx="15">
                  <c:v>494833383.8593083</c:v>
                </c:pt>
                <c:pt idx="16">
                  <c:v>540491614.65227377</c:v>
                </c:pt>
                <c:pt idx="17">
                  <c:v>588432756.98488748</c:v>
                </c:pt>
              </c:numCache>
              <c:extLst/>
            </c:numRef>
          </c:val>
          <c:smooth val="0"/>
          <c:extLst>
            <c:ext xmlns:c16="http://schemas.microsoft.com/office/drawing/2014/chart" uri="{C3380CC4-5D6E-409C-BE32-E72D297353CC}">
              <c16:uniqueId val="{00000007-1EDD-4DD7-A2B5-D3DC27FC73CB}"/>
            </c:ext>
          </c:extLst>
        </c:ser>
        <c:dLbls>
          <c:showLegendKey val="0"/>
          <c:showVal val="0"/>
          <c:showCatName val="0"/>
          <c:showSerName val="0"/>
          <c:showPercent val="0"/>
          <c:showBubbleSize val="0"/>
        </c:dLbls>
        <c:smooth val="0"/>
        <c:axId val="1341526047"/>
        <c:axId val="1343039903"/>
      </c:lineChart>
      <c:catAx>
        <c:axId val="1341526047"/>
        <c:scaling>
          <c:orientation val="minMax"/>
        </c:scaling>
        <c:delete val="0"/>
        <c:axPos val="b"/>
        <c:numFmt formatCode="General" sourceLinked="1"/>
        <c:majorTickMark val="cross"/>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343039903"/>
        <c:crosses val="autoZero"/>
        <c:auto val="0"/>
        <c:lblAlgn val="ctr"/>
        <c:lblOffset val="100"/>
        <c:tickLblSkip val="4"/>
        <c:noMultiLvlLbl val="0"/>
      </c:catAx>
      <c:valAx>
        <c:axId val="1343039903"/>
        <c:scaling>
          <c:orientation val="minMax"/>
          <c:max val="500000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a:t>Millions of Class I Landfill Tons</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341526047"/>
        <c:crosses val="autoZero"/>
        <c:crossBetween val="midCat"/>
        <c:dispUnits>
          <c:builtInUnit val="million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4"/>
          <c:order val="0"/>
          <c:tx>
            <c:strRef>
              <c:f>'Data Analysis'!$D$82</c:f>
              <c:strCache>
                <c:ptCount val="1"/>
                <c:pt idx="0">
                  <c:v>Permitted Capacity </c:v>
                </c:pt>
              </c:strCache>
            </c:strRef>
          </c:tx>
          <c:spPr>
            <a:ln w="28575" cap="rnd">
              <a:solidFill>
                <a:schemeClr val="accent5"/>
              </a:solidFill>
              <a:prstDash val="lgDash"/>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D$83:$D$123</c:f>
              <c:numCache>
                <c:formatCode>#,##0</c:formatCode>
                <c:ptCount val="41"/>
                <c:pt idx="0">
                  <c:v>458050905.78407818</c:v>
                </c:pt>
                <c:pt idx="1">
                  <c:v>458050905.78407818</c:v>
                </c:pt>
                <c:pt idx="2">
                  <c:v>458050905.78407818</c:v>
                </c:pt>
                <c:pt idx="3">
                  <c:v>458050905.78407818</c:v>
                </c:pt>
                <c:pt idx="4">
                  <c:v>458050905.78407818</c:v>
                </c:pt>
                <c:pt idx="5">
                  <c:v>458050905.78407818</c:v>
                </c:pt>
                <c:pt idx="6">
                  <c:v>458050905.78407818</c:v>
                </c:pt>
                <c:pt idx="7">
                  <c:v>458050905.78407818</c:v>
                </c:pt>
                <c:pt idx="8">
                  <c:v>458050905.78407818</c:v>
                </c:pt>
                <c:pt idx="9">
                  <c:v>458050905.78407818</c:v>
                </c:pt>
                <c:pt idx="10">
                  <c:v>458050905.78407818</c:v>
                </c:pt>
                <c:pt idx="11">
                  <c:v>458050905.78407818</c:v>
                </c:pt>
                <c:pt idx="12">
                  <c:v>458050905.78407818</c:v>
                </c:pt>
                <c:pt idx="13">
                  <c:v>458050905.78407818</c:v>
                </c:pt>
                <c:pt idx="14">
                  <c:v>458050905.78407818</c:v>
                </c:pt>
                <c:pt idx="15">
                  <c:v>458050905.78407818</c:v>
                </c:pt>
                <c:pt idx="16">
                  <c:v>458050905.78407818</c:v>
                </c:pt>
                <c:pt idx="17">
                  <c:v>458050905.78407818</c:v>
                </c:pt>
                <c:pt idx="18">
                  <c:v>458050905.78407818</c:v>
                </c:pt>
                <c:pt idx="19">
                  <c:v>458050905.78407818</c:v>
                </c:pt>
                <c:pt idx="20">
                  <c:v>458050905.78407818</c:v>
                </c:pt>
                <c:pt idx="21">
                  <c:v>458050905.78407818</c:v>
                </c:pt>
                <c:pt idx="22">
                  <c:v>458050905.78407818</c:v>
                </c:pt>
                <c:pt idx="23">
                  <c:v>458050905.78407818</c:v>
                </c:pt>
                <c:pt idx="24">
                  <c:v>458050905.78407818</c:v>
                </c:pt>
                <c:pt idx="25">
                  <c:v>458050905.78407818</c:v>
                </c:pt>
                <c:pt idx="26">
                  <c:v>458050905.78407818</c:v>
                </c:pt>
                <c:pt idx="27">
                  <c:v>458050905.78407818</c:v>
                </c:pt>
                <c:pt idx="28">
                  <c:v>458050905.78407818</c:v>
                </c:pt>
                <c:pt idx="29">
                  <c:v>458050905.78407818</c:v>
                </c:pt>
                <c:pt idx="30">
                  <c:v>458050905.78407818</c:v>
                </c:pt>
                <c:pt idx="31">
                  <c:v>458050905.78407818</c:v>
                </c:pt>
                <c:pt idx="32">
                  <c:v>458050905.78407818</c:v>
                </c:pt>
                <c:pt idx="33">
                  <c:v>458050905.78407818</c:v>
                </c:pt>
                <c:pt idx="34">
                  <c:v>458050905.78407818</c:v>
                </c:pt>
                <c:pt idx="35">
                  <c:v>458050905.78407818</c:v>
                </c:pt>
                <c:pt idx="36">
                  <c:v>458050905.78407818</c:v>
                </c:pt>
                <c:pt idx="37">
                  <c:v>458050905.78407818</c:v>
                </c:pt>
                <c:pt idx="38">
                  <c:v>458050905.78407818</c:v>
                </c:pt>
                <c:pt idx="39">
                  <c:v>458050905.78407818</c:v>
                </c:pt>
                <c:pt idx="40">
                  <c:v>458050905.78407818</c:v>
                </c:pt>
              </c:numCache>
              <c:extLst/>
            </c:numRef>
          </c:val>
          <c:smooth val="0"/>
          <c:extLst>
            <c:ext xmlns:c16="http://schemas.microsoft.com/office/drawing/2014/chart" uri="{C3380CC4-5D6E-409C-BE32-E72D297353CC}">
              <c16:uniqueId val="{00000000-1EDD-4DD7-A2B5-D3DC27FC73CB}"/>
            </c:ext>
          </c:extLst>
        </c:ser>
        <c:ser>
          <c:idx val="3"/>
          <c:order val="1"/>
          <c:tx>
            <c:strRef>
              <c:f>'Data Analysis'!$E$82</c:f>
              <c:strCache>
                <c:ptCount val="1"/>
                <c:pt idx="0">
                  <c:v>Constructed Capacity</c:v>
                </c:pt>
              </c:strCache>
            </c:strRef>
          </c:tx>
          <c:spPr>
            <a:ln w="28575" cap="rnd">
              <a:solidFill>
                <a:schemeClr val="accent4"/>
              </a:solidFill>
              <a:prstDash val="dash"/>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E$83:$E$123</c:f>
              <c:numCache>
                <c:formatCode>#,##0</c:formatCode>
                <c:ptCount val="41"/>
                <c:pt idx="0">
                  <c:v>123059334.04557826</c:v>
                </c:pt>
                <c:pt idx="1">
                  <c:v>123059334.04557826</c:v>
                </c:pt>
                <c:pt idx="2">
                  <c:v>123059334.04557826</c:v>
                </c:pt>
                <c:pt idx="3">
                  <c:v>123059334.04557826</c:v>
                </c:pt>
                <c:pt idx="4">
                  <c:v>123059334.04557826</c:v>
                </c:pt>
                <c:pt idx="5">
                  <c:v>123059334.04557826</c:v>
                </c:pt>
                <c:pt idx="6">
                  <c:v>123059334.04557826</c:v>
                </c:pt>
                <c:pt idx="7">
                  <c:v>123059334.04557826</c:v>
                </c:pt>
                <c:pt idx="8">
                  <c:v>123059334.04557826</c:v>
                </c:pt>
                <c:pt idx="9">
                  <c:v>123059334.04557826</c:v>
                </c:pt>
                <c:pt idx="10">
                  <c:v>123059334.04557826</c:v>
                </c:pt>
                <c:pt idx="11">
                  <c:v>123059334.04557826</c:v>
                </c:pt>
                <c:pt idx="12">
                  <c:v>123059334.04557826</c:v>
                </c:pt>
                <c:pt idx="13">
                  <c:v>123059334.04557826</c:v>
                </c:pt>
                <c:pt idx="14">
                  <c:v>123059334.04557826</c:v>
                </c:pt>
                <c:pt idx="15">
                  <c:v>123059334.04557826</c:v>
                </c:pt>
                <c:pt idx="16">
                  <c:v>123059334.04557826</c:v>
                </c:pt>
                <c:pt idx="17">
                  <c:v>123059334.04557826</c:v>
                </c:pt>
                <c:pt idx="18">
                  <c:v>123059334.04557826</c:v>
                </c:pt>
                <c:pt idx="19">
                  <c:v>123059334.04557826</c:v>
                </c:pt>
                <c:pt idx="20">
                  <c:v>123059334.04557826</c:v>
                </c:pt>
                <c:pt idx="21">
                  <c:v>123059334.04557826</c:v>
                </c:pt>
                <c:pt idx="22">
                  <c:v>123059334.04557826</c:v>
                </c:pt>
                <c:pt idx="23">
                  <c:v>123059334.04557826</c:v>
                </c:pt>
                <c:pt idx="24">
                  <c:v>123059334.04557826</c:v>
                </c:pt>
                <c:pt idx="25">
                  <c:v>123059334.04557826</c:v>
                </c:pt>
                <c:pt idx="26">
                  <c:v>123059334.04557826</c:v>
                </c:pt>
                <c:pt idx="27">
                  <c:v>123059334.04557826</c:v>
                </c:pt>
                <c:pt idx="28">
                  <c:v>123059334.04557826</c:v>
                </c:pt>
                <c:pt idx="29">
                  <c:v>123059334.04557826</c:v>
                </c:pt>
                <c:pt idx="30">
                  <c:v>123059334.04557826</c:v>
                </c:pt>
                <c:pt idx="31">
                  <c:v>123059334.04557826</c:v>
                </c:pt>
                <c:pt idx="32">
                  <c:v>123059334.04557826</c:v>
                </c:pt>
                <c:pt idx="33">
                  <c:v>123059334.04557826</c:v>
                </c:pt>
                <c:pt idx="34">
                  <c:v>123059334.04557826</c:v>
                </c:pt>
                <c:pt idx="35">
                  <c:v>123059334.04557826</c:v>
                </c:pt>
                <c:pt idx="36">
                  <c:v>123059334.04557826</c:v>
                </c:pt>
                <c:pt idx="37">
                  <c:v>123059334.04557826</c:v>
                </c:pt>
                <c:pt idx="38">
                  <c:v>123059334.04557826</c:v>
                </c:pt>
                <c:pt idx="39">
                  <c:v>123059334.04557826</c:v>
                </c:pt>
                <c:pt idx="40">
                  <c:v>123059334.04557826</c:v>
                </c:pt>
              </c:numCache>
              <c:extLst/>
            </c:numRef>
          </c:val>
          <c:smooth val="0"/>
          <c:extLst>
            <c:ext xmlns:c16="http://schemas.microsoft.com/office/drawing/2014/chart" uri="{C3380CC4-5D6E-409C-BE32-E72D297353CC}">
              <c16:uniqueId val="{00000001-1EDD-4DD7-A2B5-D3DC27FC73CB}"/>
            </c:ext>
          </c:extLst>
        </c:ser>
        <c:ser>
          <c:idx val="5"/>
          <c:order val="2"/>
          <c:tx>
            <c:strRef>
              <c:f>'Data Analysis'!$G$82</c:f>
              <c:strCache>
                <c:ptCount val="1"/>
                <c:pt idx="0">
                  <c:v>Cumulative Landfilled Tons
(-3% increase)</c:v>
                </c:pt>
              </c:strCache>
            </c:strRef>
          </c:tx>
          <c:spPr>
            <a:ln w="28575" cap="rnd">
              <a:solidFill>
                <a:schemeClr val="accent6"/>
              </a:solidFill>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G$83:$G$123</c:f>
              <c:numCache>
                <c:formatCode>#,##0</c:formatCode>
                <c:ptCount val="41"/>
                <c:pt idx="0">
                  <c:v>20916561.600000005</c:v>
                </c:pt>
                <c:pt idx="1">
                  <c:v>41205626.352000013</c:v>
                </c:pt>
                <c:pt idx="2">
                  <c:v>60886019.161440015</c:v>
                </c:pt>
                <c:pt idx="3">
                  <c:v>79976000.186596811</c:v>
                </c:pt>
                <c:pt idx="4">
                  <c:v>98493281.780998901</c:v>
                </c:pt>
                <c:pt idx="5">
                  <c:v>116455044.92756893</c:v>
                </c:pt>
                <c:pt idx="6">
                  <c:v>133877955.17974186</c:v>
                </c:pt>
                <c:pt idx="7">
                  <c:v>150778178.12434959</c:v>
                </c:pt>
                <c:pt idx="8">
                  <c:v>167171394.38061911</c:v>
                </c:pt>
                <c:pt idx="9">
                  <c:v>183072814.14920053</c:v>
                </c:pt>
                <c:pt idx="10">
                  <c:v>198497191.3247245</c:v>
                </c:pt>
                <c:pt idx="11">
                  <c:v>213458837.18498275</c:v>
                </c:pt>
                <c:pt idx="12">
                  <c:v>227971633.66943327</c:v>
                </c:pt>
                <c:pt idx="13">
                  <c:v>242049046.25935027</c:v>
                </c:pt>
                <c:pt idx="14">
                  <c:v>255704136.47156975</c:v>
                </c:pt>
                <c:pt idx="15">
                  <c:v>268949573.97742265</c:v>
                </c:pt>
                <c:pt idx="16">
                  <c:v>281797648.35809994</c:v>
                </c:pt>
                <c:pt idx="17">
                  <c:v>294260280.50735694</c:v>
                </c:pt>
                <c:pt idx="18">
                  <c:v>306349033.69213623</c:v>
                </c:pt>
                <c:pt idx="19">
                  <c:v>318075124.28137213</c:v>
                </c:pt>
                <c:pt idx="20">
                  <c:v>329449432.15293097</c:v>
                </c:pt>
                <c:pt idx="21">
                  <c:v>340482510.78834301</c:v>
                </c:pt>
                <c:pt idx="22">
                  <c:v>351184597.06469274</c:v>
                </c:pt>
                <c:pt idx="23">
                  <c:v>361565620.75275195</c:v>
                </c:pt>
                <c:pt idx="24">
                  <c:v>371635213.73016936</c:v>
                </c:pt>
                <c:pt idx="25">
                  <c:v>381402718.91826427</c:v>
                </c:pt>
                <c:pt idx="26">
                  <c:v>390877198.95071632</c:v>
                </c:pt>
                <c:pt idx="27">
                  <c:v>400067444.58219481</c:v>
                </c:pt>
                <c:pt idx="28">
                  <c:v>408981982.84472895</c:v>
                </c:pt>
                <c:pt idx="29">
                  <c:v>417629084.95938706</c:v>
                </c:pt>
                <c:pt idx="30">
                  <c:v>426016774.01060545</c:v>
                </c:pt>
                <c:pt idx="31">
                  <c:v>434152832.39028728</c:v>
                </c:pt>
                <c:pt idx="32">
                  <c:v>442044809.01857865</c:v>
                </c:pt>
                <c:pt idx="33">
                  <c:v>449700026.34802127</c:v>
                </c:pt>
                <c:pt idx="34">
                  <c:v>457125587.15758061</c:v>
                </c:pt>
                <c:pt idx="35">
                  <c:v>464328381.1428532</c:v>
                </c:pt>
                <c:pt idx="36">
                  <c:v>471315091.30856758</c:v>
                </c:pt>
                <c:pt idx="37">
                  <c:v>478092200.16931057</c:v>
                </c:pt>
                <c:pt idx="38">
                  <c:v>484665995.76423126</c:v>
                </c:pt>
                <c:pt idx="39">
                  <c:v>491042577.49130434</c:v>
                </c:pt>
                <c:pt idx="40">
                  <c:v>497227861.7665652</c:v>
                </c:pt>
              </c:numCache>
              <c:extLst/>
            </c:numRef>
          </c:val>
          <c:smooth val="0"/>
          <c:extLst>
            <c:ext xmlns:c16="http://schemas.microsoft.com/office/drawing/2014/chart" uri="{C3380CC4-5D6E-409C-BE32-E72D297353CC}">
              <c16:uniqueId val="{00000002-1EDD-4DD7-A2B5-D3DC27FC73CB}"/>
            </c:ext>
          </c:extLst>
        </c:ser>
        <c:ser>
          <c:idx val="1"/>
          <c:order val="3"/>
          <c:tx>
            <c:strRef>
              <c:f>'Data Analysis'!$I$82</c:f>
              <c:strCache>
                <c:ptCount val="1"/>
                <c:pt idx="0">
                  <c:v>Cumulative Landfilled Tons
(-1% increase)</c:v>
                </c:pt>
              </c:strCache>
            </c:strRef>
          </c:tx>
          <c:spPr>
            <a:ln w="28575" cap="rnd">
              <a:solidFill>
                <a:schemeClr val="accent2"/>
              </a:solidFill>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I$83:$I$112</c:f>
              <c:numCache>
                <c:formatCode>#,##0</c:formatCode>
                <c:ptCount val="30"/>
                <c:pt idx="0">
                  <c:v>20916561.600000005</c:v>
                </c:pt>
                <c:pt idx="1">
                  <c:v>41623957.584000006</c:v>
                </c:pt>
                <c:pt idx="2">
                  <c:v>62124279.608160011</c:v>
                </c:pt>
                <c:pt idx="3">
                  <c:v>82419598.41207841</c:v>
                </c:pt>
                <c:pt idx="4">
                  <c:v>102511964.02795763</c:v>
                </c:pt>
                <c:pt idx="5">
                  <c:v>122403405.98767807</c:v>
                </c:pt>
                <c:pt idx="6">
                  <c:v>142095933.52780128</c:v>
                </c:pt>
                <c:pt idx="7">
                  <c:v>161591535.79252326</c:v>
                </c:pt>
                <c:pt idx="8">
                  <c:v>180892182.03459805</c:v>
                </c:pt>
                <c:pt idx="9">
                  <c:v>199999821.81425208</c:v>
                </c:pt>
                <c:pt idx="10">
                  <c:v>218916385.19610956</c:v>
                </c:pt>
                <c:pt idx="11">
                  <c:v>237643782.94414848</c:v>
                </c:pt>
                <c:pt idx="12">
                  <c:v>256183906.71470702</c:v>
                </c:pt>
                <c:pt idx="13">
                  <c:v>274538629.24755996</c:v>
                </c:pt>
                <c:pt idx="14">
                  <c:v>292709804.55508435</c:v>
                </c:pt>
                <c:pt idx="15">
                  <c:v>310699268.10953349</c:v>
                </c:pt>
                <c:pt idx="16">
                  <c:v>328508837.02843815</c:v>
                </c:pt>
                <c:pt idx="17">
                  <c:v>346140310.2581538</c:v>
                </c:pt>
                <c:pt idx="18">
                  <c:v>363595468.75557226</c:v>
                </c:pt>
                <c:pt idx="19">
                  <c:v>380876075.66801655</c:v>
                </c:pt>
                <c:pt idx="20">
                  <c:v>397983876.51133639</c:v>
                </c:pt>
                <c:pt idx="21">
                  <c:v>414920599.346223</c:v>
                </c:pt>
                <c:pt idx="22">
                  <c:v>431687954.95276076</c:v>
                </c:pt>
                <c:pt idx="23">
                  <c:v>448287637.00323313</c:v>
                </c:pt>
                <c:pt idx="24">
                  <c:v>464721322.23320079</c:v>
                </c:pt>
                <c:pt idx="25">
                  <c:v>480990670.61086881</c:v>
                </c:pt>
                <c:pt idx="26">
                  <c:v>497097325.50476015</c:v>
                </c:pt>
                <c:pt idx="27">
                  <c:v>513042913.84971255</c:v>
                </c:pt>
                <c:pt idx="28">
                  <c:v>528829046.3112154</c:v>
                </c:pt>
                <c:pt idx="29">
                  <c:v>544457317.44810319</c:v>
                </c:pt>
              </c:numCache>
              <c:extLst/>
            </c:numRef>
          </c:val>
          <c:smooth val="0"/>
          <c:extLst>
            <c:ext xmlns:c16="http://schemas.microsoft.com/office/drawing/2014/chart" uri="{C3380CC4-5D6E-409C-BE32-E72D297353CC}">
              <c16:uniqueId val="{00000003-1EDD-4DD7-A2B5-D3DC27FC73CB}"/>
            </c:ext>
          </c:extLst>
        </c:ser>
        <c:ser>
          <c:idx val="8"/>
          <c:order val="4"/>
          <c:tx>
            <c:strRef>
              <c:f>'Data Analysis'!$K$82</c:f>
              <c:strCache>
                <c:ptCount val="1"/>
                <c:pt idx="0">
                  <c:v>Cumulative Landfilled Tons
(0% increase)</c:v>
                </c:pt>
              </c:strCache>
            </c:strRef>
          </c:tx>
          <c:spPr>
            <a:ln w="28575" cap="rnd">
              <a:solidFill>
                <a:schemeClr val="accent3">
                  <a:lumMod val="60000"/>
                </a:schemeClr>
              </a:solidFill>
              <a:prstDash val="sysDot"/>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K$83:$K$108</c:f>
              <c:numCache>
                <c:formatCode>#,##0</c:formatCode>
                <c:ptCount val="26"/>
                <c:pt idx="0">
                  <c:v>20916561.600000005</c:v>
                </c:pt>
                <c:pt idx="1">
                  <c:v>41833123.20000001</c:v>
                </c:pt>
                <c:pt idx="2">
                  <c:v>62749684.800000012</c:v>
                </c:pt>
                <c:pt idx="3">
                  <c:v>83666246.400000021</c:v>
                </c:pt>
                <c:pt idx="4">
                  <c:v>104582808.00000003</c:v>
                </c:pt>
                <c:pt idx="5">
                  <c:v>125499369.60000004</c:v>
                </c:pt>
                <c:pt idx="6">
                  <c:v>146415931.20000005</c:v>
                </c:pt>
                <c:pt idx="7">
                  <c:v>167332492.80000004</c:v>
                </c:pt>
                <c:pt idx="8">
                  <c:v>188249054.40000004</c:v>
                </c:pt>
                <c:pt idx="9">
                  <c:v>209165616.00000003</c:v>
                </c:pt>
                <c:pt idx="10">
                  <c:v>230082177.60000002</c:v>
                </c:pt>
                <c:pt idx="11">
                  <c:v>250998739.20000002</c:v>
                </c:pt>
                <c:pt idx="12">
                  <c:v>271915300.80000001</c:v>
                </c:pt>
                <c:pt idx="13">
                  <c:v>292831862.40000004</c:v>
                </c:pt>
                <c:pt idx="14">
                  <c:v>313748424.00000006</c:v>
                </c:pt>
                <c:pt idx="15">
                  <c:v>334664985.60000008</c:v>
                </c:pt>
                <c:pt idx="16">
                  <c:v>355581547.20000011</c:v>
                </c:pt>
                <c:pt idx="17">
                  <c:v>376498108.80000013</c:v>
                </c:pt>
                <c:pt idx="18">
                  <c:v>397414670.40000015</c:v>
                </c:pt>
                <c:pt idx="19">
                  <c:v>418331232.00000018</c:v>
                </c:pt>
                <c:pt idx="20">
                  <c:v>439247793.6000002</c:v>
                </c:pt>
                <c:pt idx="21">
                  <c:v>460164355.20000023</c:v>
                </c:pt>
                <c:pt idx="22">
                  <c:v>481080916.80000025</c:v>
                </c:pt>
                <c:pt idx="23">
                  <c:v>501997478.40000027</c:v>
                </c:pt>
                <c:pt idx="24">
                  <c:v>522914040.0000003</c:v>
                </c:pt>
                <c:pt idx="25">
                  <c:v>543830601.60000026</c:v>
                </c:pt>
              </c:numCache>
              <c:extLst/>
            </c:numRef>
          </c:val>
          <c:smooth val="0"/>
          <c:extLst>
            <c:ext xmlns:c16="http://schemas.microsoft.com/office/drawing/2014/chart" uri="{C3380CC4-5D6E-409C-BE32-E72D297353CC}">
              <c16:uniqueId val="{00000004-1EDD-4DD7-A2B5-D3DC27FC73CB}"/>
            </c:ext>
          </c:extLst>
        </c:ser>
        <c:ser>
          <c:idx val="0"/>
          <c:order val="5"/>
          <c:tx>
            <c:strRef>
              <c:f>'Data Analysis'!$M$82</c:f>
              <c:strCache>
                <c:ptCount val="1"/>
                <c:pt idx="0">
                  <c:v>Cumulative Landfilled Tons
(1% increase)</c:v>
                </c:pt>
              </c:strCache>
            </c:strRef>
          </c:tx>
          <c:spPr>
            <a:ln w="28575" cap="rnd">
              <a:solidFill>
                <a:schemeClr val="accent1"/>
              </a:solidFill>
              <a:prstDash val="sysDot"/>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M$83:$M$106</c:f>
              <c:numCache>
                <c:formatCode>#,##0</c:formatCode>
                <c:ptCount val="24"/>
                <c:pt idx="0">
                  <c:v>20916561.600000005</c:v>
                </c:pt>
                <c:pt idx="1">
                  <c:v>42042288.816000015</c:v>
                </c:pt>
                <c:pt idx="2">
                  <c:v>63379273.304160021</c:v>
                </c:pt>
                <c:pt idx="3">
                  <c:v>84929627.637201637</c:v>
                </c:pt>
                <c:pt idx="4">
                  <c:v>106695485.51357366</c:v>
                </c:pt>
                <c:pt idx="5">
                  <c:v>128679001.96870941</c:v>
                </c:pt>
                <c:pt idx="6">
                  <c:v>150882353.58839652</c:v>
                </c:pt>
                <c:pt idx="7">
                  <c:v>173307738.72428051</c:v>
                </c:pt>
                <c:pt idx="8">
                  <c:v>195957377.71152332</c:v>
                </c:pt>
                <c:pt idx="9">
                  <c:v>218833513.08863857</c:v>
                </c:pt>
                <c:pt idx="10">
                  <c:v>241938409.81952497</c:v>
                </c:pt>
                <c:pt idx="11">
                  <c:v>265274355.51772022</c:v>
                </c:pt>
                <c:pt idx="12">
                  <c:v>288843660.67289746</c:v>
                </c:pt>
                <c:pt idx="13">
                  <c:v>312648658.87962645</c:v>
                </c:pt>
                <c:pt idx="14">
                  <c:v>336691707.06842273</c:v>
                </c:pt>
                <c:pt idx="15">
                  <c:v>360975185.73910695</c:v>
                </c:pt>
                <c:pt idx="16">
                  <c:v>385501499.19649804</c:v>
                </c:pt>
                <c:pt idx="17">
                  <c:v>410273075.78846306</c:v>
                </c:pt>
                <c:pt idx="18">
                  <c:v>435292368.1463477</c:v>
                </c:pt>
                <c:pt idx="19">
                  <c:v>460561853.42781121</c:v>
                </c:pt>
                <c:pt idx="20">
                  <c:v>486084033.56208932</c:v>
                </c:pt>
                <c:pt idx="21">
                  <c:v>511861435.49771023</c:v>
                </c:pt>
                <c:pt idx="22">
                  <c:v>537896611.45268738</c:v>
                </c:pt>
                <c:pt idx="23">
                  <c:v>564192139.16721427</c:v>
                </c:pt>
              </c:numCache>
              <c:extLst/>
            </c:numRef>
          </c:val>
          <c:smooth val="0"/>
          <c:extLst>
            <c:ext xmlns:c16="http://schemas.microsoft.com/office/drawing/2014/chart" uri="{C3380CC4-5D6E-409C-BE32-E72D297353CC}">
              <c16:uniqueId val="{00000005-1EDD-4DD7-A2B5-D3DC27FC73CB}"/>
            </c:ext>
          </c:extLst>
        </c:ser>
        <c:ser>
          <c:idx val="2"/>
          <c:order val="6"/>
          <c:tx>
            <c:strRef>
              <c:f>'Data Analysis'!$O$82</c:f>
              <c:strCache>
                <c:ptCount val="1"/>
                <c:pt idx="0">
                  <c:v>Cumulative Landfilled Tons
(3% increase)</c:v>
                </c:pt>
              </c:strCache>
            </c:strRef>
          </c:tx>
          <c:spPr>
            <a:ln w="28575" cap="rnd">
              <a:solidFill>
                <a:schemeClr val="accent3"/>
              </a:solidFill>
              <a:prstDash val="sysDot"/>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O$83:$O$102</c:f>
              <c:numCache>
                <c:formatCode>#,##0</c:formatCode>
                <c:ptCount val="20"/>
                <c:pt idx="0">
                  <c:v>20916561.600000005</c:v>
                </c:pt>
                <c:pt idx="1">
                  <c:v>42460620.048000008</c:v>
                </c:pt>
                <c:pt idx="2">
                  <c:v>64651000.249440014</c:v>
                </c:pt>
                <c:pt idx="3">
                  <c:v>87507091.856923223</c:v>
                </c:pt>
                <c:pt idx="4">
                  <c:v>111048866.21263093</c:v>
                </c:pt>
                <c:pt idx="5">
                  <c:v>135296893.79900986</c:v>
                </c:pt>
                <c:pt idx="6">
                  <c:v>160272362.21298015</c:v>
                </c:pt>
                <c:pt idx="7">
                  <c:v>185997094.67936957</c:v>
                </c:pt>
                <c:pt idx="8">
                  <c:v>212493569.11975068</c:v>
                </c:pt>
                <c:pt idx="9">
                  <c:v>239784937.79334322</c:v>
                </c:pt>
                <c:pt idx="10">
                  <c:v>267895047.52714354</c:v>
                </c:pt>
                <c:pt idx="11">
                  <c:v>296848460.55295783</c:v>
                </c:pt>
                <c:pt idx="12">
                  <c:v>326670475.96954656</c:v>
                </c:pt>
                <c:pt idx="13">
                  <c:v>357387151.84863299</c:v>
                </c:pt>
                <c:pt idx="14">
                  <c:v>389025328.00409198</c:v>
                </c:pt>
                <c:pt idx="15">
                  <c:v>421612649.44421476</c:v>
                </c:pt>
                <c:pt idx="16">
                  <c:v>455177590.52754122</c:v>
                </c:pt>
                <c:pt idx="17">
                  <c:v>489749479.84336746</c:v>
                </c:pt>
                <c:pt idx="18">
                  <c:v>525358525.83866847</c:v>
                </c:pt>
                <c:pt idx="19">
                  <c:v>562035843.21382856</c:v>
                </c:pt>
              </c:numCache>
              <c:extLst/>
            </c:numRef>
          </c:val>
          <c:smooth val="0"/>
          <c:extLst>
            <c:ext xmlns:c16="http://schemas.microsoft.com/office/drawing/2014/chart" uri="{C3380CC4-5D6E-409C-BE32-E72D297353CC}">
              <c16:uniqueId val="{00000006-1EDD-4DD7-A2B5-D3DC27FC73CB}"/>
            </c:ext>
          </c:extLst>
        </c:ser>
        <c:ser>
          <c:idx val="6"/>
          <c:order val="7"/>
          <c:tx>
            <c:strRef>
              <c:f>'Data Analysis'!$Q$82</c:f>
              <c:strCache>
                <c:ptCount val="1"/>
                <c:pt idx="0">
                  <c:v>Cumulative Landfilled Tons
(5% increase)</c:v>
                </c:pt>
              </c:strCache>
            </c:strRef>
          </c:tx>
          <c:spPr>
            <a:ln w="28575" cap="rnd">
              <a:solidFill>
                <a:schemeClr val="accent1">
                  <a:lumMod val="60000"/>
                </a:schemeClr>
              </a:solidFill>
              <a:prstDash val="sysDot"/>
              <a:round/>
            </a:ln>
            <a:effectLst/>
          </c:spPr>
          <c:marker>
            <c:symbol val="none"/>
          </c:marker>
          <c:cat>
            <c:numRef>
              <c:f>'Data Analysis'!$C$83:$C$123</c:f>
              <c:numCache>
                <c:formatCode>General</c:formatCode>
                <c:ptCount val="41"/>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pt idx="26">
                  <c:v>2051</c:v>
                </c:pt>
                <c:pt idx="27">
                  <c:v>2052</c:v>
                </c:pt>
                <c:pt idx="28">
                  <c:v>2053</c:v>
                </c:pt>
                <c:pt idx="29">
                  <c:v>2054</c:v>
                </c:pt>
                <c:pt idx="30">
                  <c:v>2055</c:v>
                </c:pt>
                <c:pt idx="31">
                  <c:v>2056</c:v>
                </c:pt>
                <c:pt idx="32">
                  <c:v>2057</c:v>
                </c:pt>
                <c:pt idx="33">
                  <c:v>2058</c:v>
                </c:pt>
                <c:pt idx="34">
                  <c:v>2059</c:v>
                </c:pt>
                <c:pt idx="35">
                  <c:v>2060</c:v>
                </c:pt>
                <c:pt idx="36">
                  <c:v>2061</c:v>
                </c:pt>
                <c:pt idx="37">
                  <c:v>2062</c:v>
                </c:pt>
                <c:pt idx="38">
                  <c:v>2063</c:v>
                </c:pt>
                <c:pt idx="39">
                  <c:v>2064</c:v>
                </c:pt>
                <c:pt idx="40">
                  <c:v>2065</c:v>
                </c:pt>
              </c:numCache>
              <c:extLst/>
            </c:numRef>
          </c:cat>
          <c:val>
            <c:numRef>
              <c:f>'Data Analysis'!$Q$83:$Q$100</c:f>
              <c:numCache>
                <c:formatCode>#,##0</c:formatCode>
                <c:ptCount val="18"/>
                <c:pt idx="0">
                  <c:v>20916561.600000005</c:v>
                </c:pt>
                <c:pt idx="1">
                  <c:v>42878951.280000016</c:v>
                </c:pt>
                <c:pt idx="2">
                  <c:v>65939460.444000021</c:v>
                </c:pt>
                <c:pt idx="3">
                  <c:v>90152995.066200033</c:v>
                </c:pt>
                <c:pt idx="4">
                  <c:v>115577206.41951004</c:v>
                </c:pt>
                <c:pt idx="5">
                  <c:v>142272628.34048554</c:v>
                </c:pt>
                <c:pt idx="6">
                  <c:v>170302821.35750982</c:v>
                </c:pt>
                <c:pt idx="7">
                  <c:v>199734524.02538532</c:v>
                </c:pt>
                <c:pt idx="8">
                  <c:v>230637811.82665461</c:v>
                </c:pt>
                <c:pt idx="9">
                  <c:v>263086264.01798737</c:v>
                </c:pt>
                <c:pt idx="10">
                  <c:v>297157138.81888676</c:v>
                </c:pt>
                <c:pt idx="11">
                  <c:v>332931557.35983109</c:v>
                </c:pt>
                <c:pt idx="12">
                  <c:v>370494696.82782269</c:v>
                </c:pt>
                <c:pt idx="13">
                  <c:v>409935993.26921386</c:v>
                </c:pt>
                <c:pt idx="14">
                  <c:v>451349354.53267455</c:v>
                </c:pt>
                <c:pt idx="15">
                  <c:v>494833383.8593083</c:v>
                </c:pt>
                <c:pt idx="16">
                  <c:v>540491614.65227377</c:v>
                </c:pt>
                <c:pt idx="17">
                  <c:v>588432756.98488748</c:v>
                </c:pt>
              </c:numCache>
              <c:extLst/>
            </c:numRef>
          </c:val>
          <c:smooth val="0"/>
          <c:extLst>
            <c:ext xmlns:c16="http://schemas.microsoft.com/office/drawing/2014/chart" uri="{C3380CC4-5D6E-409C-BE32-E72D297353CC}">
              <c16:uniqueId val="{00000007-1EDD-4DD7-A2B5-D3DC27FC73CB}"/>
            </c:ext>
          </c:extLst>
        </c:ser>
        <c:dLbls>
          <c:showLegendKey val="0"/>
          <c:showVal val="0"/>
          <c:showCatName val="0"/>
          <c:showSerName val="0"/>
          <c:showPercent val="0"/>
          <c:showBubbleSize val="0"/>
        </c:dLbls>
        <c:smooth val="0"/>
        <c:axId val="1341526047"/>
        <c:axId val="1343039903"/>
      </c:lineChart>
      <c:catAx>
        <c:axId val="1341526047"/>
        <c:scaling>
          <c:orientation val="minMax"/>
        </c:scaling>
        <c:delete val="0"/>
        <c:axPos val="b"/>
        <c:numFmt formatCode="General" sourceLinked="1"/>
        <c:majorTickMark val="cross"/>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343039903"/>
        <c:crosses val="autoZero"/>
        <c:auto val="0"/>
        <c:lblAlgn val="ctr"/>
        <c:lblOffset val="100"/>
        <c:tickLblSkip val="4"/>
        <c:noMultiLvlLbl val="0"/>
      </c:catAx>
      <c:valAx>
        <c:axId val="1343039903"/>
        <c:scaling>
          <c:orientation val="minMax"/>
          <c:max val="500000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a:t>Millions of Class I Landfill Tons</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341526047"/>
        <c:crosses val="autoZero"/>
        <c:crossBetween val="midCat"/>
        <c:dispUnits>
          <c:builtInUnit val="million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Data Analysis'!$C$53</c:f>
              <c:strCache>
                <c:ptCount val="1"/>
                <c:pt idx="0">
                  <c:v>Landfill 1</c:v>
                </c:pt>
              </c:strCache>
            </c:strRef>
          </c:tx>
          <c:spPr>
            <a:solidFill>
              <a:schemeClr val="accent1"/>
            </a:solidFill>
            <a:ln>
              <a:noFill/>
            </a:ln>
            <a:effectLst/>
          </c:spPr>
          <c:invertIfNegative val="0"/>
          <c:cat>
            <c:strRef>
              <c:f>'Data Analysis'!$B$54:$B$59</c:f>
              <c:strCache>
                <c:ptCount val="6"/>
                <c:pt idx="0">
                  <c:v>Central</c:v>
                </c:pt>
                <c:pt idx="1">
                  <c:v>Northeast</c:v>
                </c:pt>
                <c:pt idx="2">
                  <c:v>Northwest</c:v>
                </c:pt>
                <c:pt idx="3">
                  <c:v>South</c:v>
                </c:pt>
                <c:pt idx="4">
                  <c:v>Southeast</c:v>
                </c:pt>
                <c:pt idx="5">
                  <c:v>Southwest</c:v>
                </c:pt>
              </c:strCache>
            </c:strRef>
          </c:cat>
          <c:val>
            <c:numRef>
              <c:f>'Data Analysis'!$C$54:$C$59</c:f>
              <c:numCache>
                <c:formatCode>#,##0</c:formatCode>
                <c:ptCount val="6"/>
                <c:pt idx="0">
                  <c:v>3927784.6779726031</c:v>
                </c:pt>
                <c:pt idx="1">
                  <c:v>1424767.2768767122</c:v>
                </c:pt>
                <c:pt idx="2">
                  <c:v>2055147.7676438359</c:v>
                </c:pt>
                <c:pt idx="3">
                  <c:v>1007789.155150685</c:v>
                </c:pt>
                <c:pt idx="4">
                  <c:v>29108.172198630142</c:v>
                </c:pt>
                <c:pt idx="5">
                  <c:v>3029957.454410959</c:v>
                </c:pt>
              </c:numCache>
            </c:numRef>
          </c:val>
          <c:extLst>
            <c:ext xmlns:c16="http://schemas.microsoft.com/office/drawing/2014/chart" uri="{C3380CC4-5D6E-409C-BE32-E72D297353CC}">
              <c16:uniqueId val="{00000000-5065-499C-A0BA-73CE125ECA38}"/>
            </c:ext>
          </c:extLst>
        </c:ser>
        <c:ser>
          <c:idx val="1"/>
          <c:order val="1"/>
          <c:tx>
            <c:strRef>
              <c:f>'Data Analysis'!$D$53</c:f>
              <c:strCache>
                <c:ptCount val="1"/>
                <c:pt idx="0">
                  <c:v>Landfill 2</c:v>
                </c:pt>
              </c:strCache>
            </c:strRef>
          </c:tx>
          <c:spPr>
            <a:solidFill>
              <a:schemeClr val="accent2"/>
            </a:solidFill>
            <a:ln>
              <a:noFill/>
            </a:ln>
            <a:effectLst/>
          </c:spPr>
          <c:invertIfNegative val="0"/>
          <c:cat>
            <c:strRef>
              <c:f>'Data Analysis'!$B$54:$B$59</c:f>
              <c:strCache>
                <c:ptCount val="6"/>
                <c:pt idx="0">
                  <c:v>Central</c:v>
                </c:pt>
                <c:pt idx="1">
                  <c:v>Northeast</c:v>
                </c:pt>
                <c:pt idx="2">
                  <c:v>Northwest</c:v>
                </c:pt>
                <c:pt idx="3">
                  <c:v>South</c:v>
                </c:pt>
                <c:pt idx="4">
                  <c:v>Southeast</c:v>
                </c:pt>
                <c:pt idx="5">
                  <c:v>Southwest</c:v>
                </c:pt>
              </c:strCache>
            </c:strRef>
          </c:cat>
          <c:val>
            <c:numRef>
              <c:f>'Data Analysis'!$D$54:$D$59</c:f>
              <c:numCache>
                <c:formatCode>#,##0</c:formatCode>
                <c:ptCount val="6"/>
                <c:pt idx="0">
                  <c:v>0</c:v>
                </c:pt>
                <c:pt idx="1">
                  <c:v>50815062.408547945</c:v>
                </c:pt>
                <c:pt idx="2">
                  <c:v>3549857.2371232877</c:v>
                </c:pt>
                <c:pt idx="3">
                  <c:v>12424857.339041095</c:v>
                </c:pt>
                <c:pt idx="4">
                  <c:v>8584798.6671232879</c:v>
                </c:pt>
                <c:pt idx="5">
                  <c:v>379222.16893150687</c:v>
                </c:pt>
              </c:numCache>
            </c:numRef>
          </c:val>
          <c:extLst>
            <c:ext xmlns:c16="http://schemas.microsoft.com/office/drawing/2014/chart" uri="{C3380CC4-5D6E-409C-BE32-E72D297353CC}">
              <c16:uniqueId val="{00000001-5065-499C-A0BA-73CE125ECA38}"/>
            </c:ext>
          </c:extLst>
        </c:ser>
        <c:ser>
          <c:idx val="2"/>
          <c:order val="2"/>
          <c:tx>
            <c:strRef>
              <c:f>'Data Analysis'!$E$53</c:f>
              <c:strCache>
                <c:ptCount val="1"/>
                <c:pt idx="0">
                  <c:v>Landfill 3</c:v>
                </c:pt>
              </c:strCache>
            </c:strRef>
          </c:tx>
          <c:spPr>
            <a:solidFill>
              <a:schemeClr val="accent3"/>
            </a:solidFill>
            <a:ln>
              <a:noFill/>
            </a:ln>
            <a:effectLst/>
          </c:spPr>
          <c:invertIfNegative val="0"/>
          <c:cat>
            <c:strRef>
              <c:f>'Data Analysis'!$B$54:$B$59</c:f>
              <c:strCache>
                <c:ptCount val="6"/>
                <c:pt idx="0">
                  <c:v>Central</c:v>
                </c:pt>
                <c:pt idx="1">
                  <c:v>Northeast</c:v>
                </c:pt>
                <c:pt idx="2">
                  <c:v>Northwest</c:v>
                </c:pt>
                <c:pt idx="3">
                  <c:v>South</c:v>
                </c:pt>
                <c:pt idx="4">
                  <c:v>Southeast</c:v>
                </c:pt>
                <c:pt idx="5">
                  <c:v>Southwest</c:v>
                </c:pt>
              </c:strCache>
            </c:strRef>
          </c:cat>
          <c:val>
            <c:numRef>
              <c:f>'Data Analysis'!$E$54:$E$59</c:f>
              <c:numCache>
                <c:formatCode>#,##0</c:formatCode>
                <c:ptCount val="6"/>
                <c:pt idx="0">
                  <c:v>456594</c:v>
                </c:pt>
                <c:pt idx="1">
                  <c:v>1936106.0184794518</c:v>
                </c:pt>
                <c:pt idx="2">
                  <c:v>27481502.139178082</c:v>
                </c:pt>
                <c:pt idx="3">
                  <c:v>175375.59506849316</c:v>
                </c:pt>
                <c:pt idx="4">
                  <c:v>3257300.3136986303</c:v>
                </c:pt>
                <c:pt idx="5">
                  <c:v>5544714.1636849316</c:v>
                </c:pt>
              </c:numCache>
            </c:numRef>
          </c:val>
          <c:extLst>
            <c:ext xmlns:c16="http://schemas.microsoft.com/office/drawing/2014/chart" uri="{C3380CC4-5D6E-409C-BE32-E72D297353CC}">
              <c16:uniqueId val="{00000002-5065-499C-A0BA-73CE125ECA38}"/>
            </c:ext>
          </c:extLst>
        </c:ser>
        <c:ser>
          <c:idx val="3"/>
          <c:order val="3"/>
          <c:tx>
            <c:strRef>
              <c:f>'Data Analysis'!$F$53</c:f>
              <c:strCache>
                <c:ptCount val="1"/>
                <c:pt idx="0">
                  <c:v>Landfill 4</c:v>
                </c:pt>
              </c:strCache>
            </c:strRef>
          </c:tx>
          <c:spPr>
            <a:solidFill>
              <a:schemeClr val="accent4"/>
            </a:solidFill>
            <a:ln>
              <a:noFill/>
            </a:ln>
            <a:effectLst/>
          </c:spPr>
          <c:invertIfNegative val="0"/>
          <c:cat>
            <c:strRef>
              <c:f>'Data Analysis'!$B$54:$B$59</c:f>
              <c:strCache>
                <c:ptCount val="6"/>
                <c:pt idx="0">
                  <c:v>Central</c:v>
                </c:pt>
                <c:pt idx="1">
                  <c:v>Northeast</c:v>
                </c:pt>
                <c:pt idx="2">
                  <c:v>Northwest</c:v>
                </c:pt>
                <c:pt idx="3">
                  <c:v>South</c:v>
                </c:pt>
                <c:pt idx="4">
                  <c:v>Southeast</c:v>
                </c:pt>
                <c:pt idx="5">
                  <c:v>Southwest</c:v>
                </c:pt>
              </c:strCache>
            </c:strRef>
          </c:cat>
          <c:val>
            <c:numRef>
              <c:f>'Data Analysis'!$F$54:$F$59</c:f>
              <c:numCache>
                <c:formatCode>#,##0</c:formatCode>
                <c:ptCount val="6"/>
                <c:pt idx="0">
                  <c:v>14298735.097479451</c:v>
                </c:pt>
                <c:pt idx="1">
                  <c:v>463883.52509589039</c:v>
                </c:pt>
                <c:pt idx="2">
                  <c:v>0</c:v>
                </c:pt>
                <c:pt idx="3">
                  <c:v>5113569.0988424663</c:v>
                </c:pt>
                <c:pt idx="4">
                  <c:v>7600757.2261917815</c:v>
                </c:pt>
                <c:pt idx="5">
                  <c:v>3368446.0062328768</c:v>
                </c:pt>
              </c:numCache>
            </c:numRef>
          </c:val>
          <c:extLst>
            <c:ext xmlns:c16="http://schemas.microsoft.com/office/drawing/2014/chart" uri="{C3380CC4-5D6E-409C-BE32-E72D297353CC}">
              <c16:uniqueId val="{00000003-5065-499C-A0BA-73CE125ECA38}"/>
            </c:ext>
          </c:extLst>
        </c:ser>
        <c:ser>
          <c:idx val="4"/>
          <c:order val="4"/>
          <c:tx>
            <c:strRef>
              <c:f>'Data Analysis'!$G$53</c:f>
              <c:strCache>
                <c:ptCount val="1"/>
                <c:pt idx="0">
                  <c:v>Landfill 5</c:v>
                </c:pt>
              </c:strCache>
            </c:strRef>
          </c:tx>
          <c:spPr>
            <a:solidFill>
              <a:schemeClr val="accent5"/>
            </a:solidFill>
            <a:ln>
              <a:noFill/>
            </a:ln>
            <a:effectLst/>
          </c:spPr>
          <c:invertIfNegative val="0"/>
          <c:cat>
            <c:strRef>
              <c:f>'Data Analysis'!$B$54:$B$59</c:f>
              <c:strCache>
                <c:ptCount val="6"/>
                <c:pt idx="0">
                  <c:v>Central</c:v>
                </c:pt>
                <c:pt idx="1">
                  <c:v>Northeast</c:v>
                </c:pt>
                <c:pt idx="2">
                  <c:v>Northwest</c:v>
                </c:pt>
                <c:pt idx="3">
                  <c:v>South</c:v>
                </c:pt>
                <c:pt idx="4">
                  <c:v>Southeast</c:v>
                </c:pt>
                <c:pt idx="5">
                  <c:v>Southwest</c:v>
                </c:pt>
              </c:strCache>
            </c:strRef>
          </c:cat>
          <c:val>
            <c:numRef>
              <c:f>'Data Analysis'!$G$54:$G$59</c:f>
              <c:numCache>
                <c:formatCode>#,##0</c:formatCode>
                <c:ptCount val="6"/>
                <c:pt idx="0">
                  <c:v>56434294.325150691</c:v>
                </c:pt>
                <c:pt idx="1">
                  <c:v>1906047.0821917807</c:v>
                </c:pt>
                <c:pt idx="2">
                  <c:v>5740529.9463013699</c:v>
                </c:pt>
                <c:pt idx="3">
                  <c:v>2939737.12060274</c:v>
                </c:pt>
                <c:pt idx="4">
                  <c:v>12330614.608212329</c:v>
                </c:pt>
                <c:pt idx="5">
                  <c:v>5192388.7001095889</c:v>
                </c:pt>
              </c:numCache>
            </c:numRef>
          </c:val>
          <c:extLst>
            <c:ext xmlns:c16="http://schemas.microsoft.com/office/drawing/2014/chart" uri="{C3380CC4-5D6E-409C-BE32-E72D297353CC}">
              <c16:uniqueId val="{00000004-5065-499C-A0BA-73CE125ECA38}"/>
            </c:ext>
          </c:extLst>
        </c:ser>
        <c:ser>
          <c:idx val="5"/>
          <c:order val="5"/>
          <c:tx>
            <c:strRef>
              <c:f>'Data Analysis'!$H$53</c:f>
              <c:strCache>
                <c:ptCount val="1"/>
                <c:pt idx="0">
                  <c:v>Landfill 6</c:v>
                </c:pt>
              </c:strCache>
            </c:strRef>
          </c:tx>
          <c:spPr>
            <a:solidFill>
              <a:schemeClr val="accent6"/>
            </a:solidFill>
            <a:ln>
              <a:noFill/>
            </a:ln>
            <a:effectLst/>
          </c:spPr>
          <c:invertIfNegative val="0"/>
          <c:cat>
            <c:strRef>
              <c:f>'Data Analysis'!$B$54:$B$59</c:f>
              <c:strCache>
                <c:ptCount val="6"/>
                <c:pt idx="0">
                  <c:v>Central</c:v>
                </c:pt>
                <c:pt idx="1">
                  <c:v>Northeast</c:v>
                </c:pt>
                <c:pt idx="2">
                  <c:v>Northwest</c:v>
                </c:pt>
                <c:pt idx="3">
                  <c:v>South</c:v>
                </c:pt>
                <c:pt idx="4">
                  <c:v>Southeast</c:v>
                </c:pt>
                <c:pt idx="5">
                  <c:v>Southwest</c:v>
                </c:pt>
              </c:strCache>
            </c:strRef>
          </c:cat>
          <c:val>
            <c:numRef>
              <c:f>'Data Analysis'!$H$54:$H$59</c:f>
              <c:numCache>
                <c:formatCode>General</c:formatCode>
                <c:ptCount val="6"/>
                <c:pt idx="0" formatCode="#,##0">
                  <c:v>15454854.096290559</c:v>
                </c:pt>
                <c:pt idx="3" formatCode="#,##0">
                  <c:v>0</c:v>
                </c:pt>
                <c:pt idx="4" formatCode="#,##0">
                  <c:v>49884481.891123287</c:v>
                </c:pt>
                <c:pt idx="5" formatCode="#,##0">
                  <c:v>377094.73265753424</c:v>
                </c:pt>
              </c:numCache>
            </c:numRef>
          </c:val>
          <c:extLst>
            <c:ext xmlns:c16="http://schemas.microsoft.com/office/drawing/2014/chart" uri="{C3380CC4-5D6E-409C-BE32-E72D297353CC}">
              <c16:uniqueId val="{00000005-5065-499C-A0BA-73CE125ECA38}"/>
            </c:ext>
          </c:extLst>
        </c:ser>
        <c:ser>
          <c:idx val="6"/>
          <c:order val="6"/>
          <c:tx>
            <c:strRef>
              <c:f>'Data Analysis'!$I$53</c:f>
              <c:strCache>
                <c:ptCount val="1"/>
                <c:pt idx="0">
                  <c:v>Landfill 7</c:v>
                </c:pt>
              </c:strCache>
            </c:strRef>
          </c:tx>
          <c:spPr>
            <a:solidFill>
              <a:schemeClr val="accent1">
                <a:lumMod val="60000"/>
              </a:schemeClr>
            </a:solidFill>
            <a:ln>
              <a:noFill/>
            </a:ln>
            <a:effectLst/>
          </c:spPr>
          <c:invertIfNegative val="0"/>
          <c:cat>
            <c:strRef>
              <c:f>'Data Analysis'!$B$54:$B$59</c:f>
              <c:strCache>
                <c:ptCount val="6"/>
                <c:pt idx="0">
                  <c:v>Central</c:v>
                </c:pt>
                <c:pt idx="1">
                  <c:v>Northeast</c:v>
                </c:pt>
                <c:pt idx="2">
                  <c:v>Northwest</c:v>
                </c:pt>
                <c:pt idx="3">
                  <c:v>South</c:v>
                </c:pt>
                <c:pt idx="4">
                  <c:v>Southeast</c:v>
                </c:pt>
                <c:pt idx="5">
                  <c:v>Southwest</c:v>
                </c:pt>
              </c:strCache>
            </c:strRef>
          </c:cat>
          <c:val>
            <c:numRef>
              <c:f>'Data Analysis'!$I$54:$I$59</c:f>
              <c:numCache>
                <c:formatCode>General</c:formatCode>
                <c:ptCount val="6"/>
                <c:pt idx="0" formatCode="#,##0">
                  <c:v>47635751.582383558</c:v>
                </c:pt>
                <c:pt idx="3" formatCode="#,##0">
                  <c:v>6868032.8410958899</c:v>
                </c:pt>
                <c:pt idx="4" formatCode="#,##0">
                  <c:v>24734318.333095893</c:v>
                </c:pt>
                <c:pt idx="5" formatCode="#,##0">
                  <c:v>48337928.08278767</c:v>
                </c:pt>
              </c:numCache>
            </c:numRef>
          </c:val>
          <c:extLst>
            <c:ext xmlns:c16="http://schemas.microsoft.com/office/drawing/2014/chart" uri="{C3380CC4-5D6E-409C-BE32-E72D297353CC}">
              <c16:uniqueId val="{00000006-5065-499C-A0BA-73CE125ECA38}"/>
            </c:ext>
          </c:extLst>
        </c:ser>
        <c:ser>
          <c:idx val="7"/>
          <c:order val="7"/>
          <c:tx>
            <c:strRef>
              <c:f>'Data Analysis'!$J$53</c:f>
              <c:strCache>
                <c:ptCount val="1"/>
                <c:pt idx="0">
                  <c:v>Landfill 8</c:v>
                </c:pt>
              </c:strCache>
            </c:strRef>
          </c:tx>
          <c:spPr>
            <a:solidFill>
              <a:schemeClr val="accent2">
                <a:lumMod val="60000"/>
              </a:schemeClr>
            </a:solidFill>
            <a:ln>
              <a:noFill/>
            </a:ln>
            <a:effectLst/>
          </c:spPr>
          <c:invertIfNegative val="0"/>
          <c:cat>
            <c:strRef>
              <c:f>'Data Analysis'!$B$54:$B$59</c:f>
              <c:strCache>
                <c:ptCount val="6"/>
                <c:pt idx="0">
                  <c:v>Central</c:v>
                </c:pt>
                <c:pt idx="1">
                  <c:v>Northeast</c:v>
                </c:pt>
                <c:pt idx="2">
                  <c:v>Northwest</c:v>
                </c:pt>
                <c:pt idx="3">
                  <c:v>South</c:v>
                </c:pt>
                <c:pt idx="4">
                  <c:v>Southeast</c:v>
                </c:pt>
                <c:pt idx="5">
                  <c:v>Southwest</c:v>
                </c:pt>
              </c:strCache>
            </c:strRef>
          </c:cat>
          <c:val>
            <c:numRef>
              <c:f>'Data Analysis'!$J$54:$J$59</c:f>
              <c:numCache>
                <c:formatCode>General</c:formatCode>
                <c:ptCount val="6"/>
                <c:pt idx="0" formatCode="#,##0">
                  <c:v>1007069.8237191781</c:v>
                </c:pt>
                <c:pt idx="4" formatCode="#,##0">
                  <c:v>13226963.358493151</c:v>
                </c:pt>
                <c:pt idx="5" formatCode="#,##0">
                  <c:v>3787671.3052054793</c:v>
                </c:pt>
              </c:numCache>
            </c:numRef>
          </c:val>
          <c:extLst>
            <c:ext xmlns:c16="http://schemas.microsoft.com/office/drawing/2014/chart" uri="{C3380CC4-5D6E-409C-BE32-E72D297353CC}">
              <c16:uniqueId val="{00000007-5065-499C-A0BA-73CE125ECA38}"/>
            </c:ext>
          </c:extLst>
        </c:ser>
        <c:ser>
          <c:idx val="8"/>
          <c:order val="8"/>
          <c:tx>
            <c:strRef>
              <c:f>'Data Analysis'!$K$53</c:f>
              <c:strCache>
                <c:ptCount val="1"/>
                <c:pt idx="0">
                  <c:v>Landfill 9</c:v>
                </c:pt>
              </c:strCache>
            </c:strRef>
          </c:tx>
          <c:spPr>
            <a:solidFill>
              <a:schemeClr val="accent3">
                <a:lumMod val="60000"/>
              </a:schemeClr>
            </a:solidFill>
            <a:ln>
              <a:noFill/>
            </a:ln>
            <a:effectLst/>
          </c:spPr>
          <c:invertIfNegative val="0"/>
          <c:cat>
            <c:strRef>
              <c:f>'Data Analysis'!$B$54:$B$59</c:f>
              <c:strCache>
                <c:ptCount val="6"/>
                <c:pt idx="0">
                  <c:v>Central</c:v>
                </c:pt>
                <c:pt idx="1">
                  <c:v>Northeast</c:v>
                </c:pt>
                <c:pt idx="2">
                  <c:v>Northwest</c:v>
                </c:pt>
                <c:pt idx="3">
                  <c:v>South</c:v>
                </c:pt>
                <c:pt idx="4">
                  <c:v>Southeast</c:v>
                </c:pt>
                <c:pt idx="5">
                  <c:v>Southwest</c:v>
                </c:pt>
              </c:strCache>
            </c:strRef>
          </c:cat>
          <c:val>
            <c:numRef>
              <c:f>'Data Analysis'!$K$54:$K$59</c:f>
              <c:numCache>
                <c:formatCode>General</c:formatCode>
                <c:ptCount val="6"/>
                <c:pt idx="5" formatCode="#,##0">
                  <c:v>5267792.4456849312</c:v>
                </c:pt>
              </c:numCache>
            </c:numRef>
          </c:val>
          <c:extLst>
            <c:ext xmlns:c16="http://schemas.microsoft.com/office/drawing/2014/chart" uri="{C3380CC4-5D6E-409C-BE32-E72D297353CC}">
              <c16:uniqueId val="{00000008-5065-499C-A0BA-73CE125ECA38}"/>
            </c:ext>
          </c:extLst>
        </c:ser>
        <c:dLbls>
          <c:showLegendKey val="0"/>
          <c:showVal val="0"/>
          <c:showCatName val="0"/>
          <c:showSerName val="0"/>
          <c:showPercent val="0"/>
          <c:showBubbleSize val="0"/>
        </c:dLbls>
        <c:gapWidth val="70"/>
        <c:overlap val="100"/>
        <c:axId val="772881184"/>
        <c:axId val="772880224"/>
      </c:barChart>
      <c:catAx>
        <c:axId val="772881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772880224"/>
        <c:crosses val="autoZero"/>
        <c:auto val="1"/>
        <c:lblAlgn val="ctr"/>
        <c:lblOffset val="100"/>
        <c:noMultiLvlLbl val="0"/>
      </c:catAx>
      <c:valAx>
        <c:axId val="77288022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r>
                  <a:rPr lang="en-US"/>
                  <a:t>Permitted Class I Landfill Capacity Remaining as of Jan. 1, 2025 (millions of tons)</a:t>
                </a:r>
              </a:p>
            </c:rich>
          </c:tx>
          <c:overlay val="0"/>
          <c:spPr>
            <a:noFill/>
            <a:ln>
              <a:noFill/>
            </a:ln>
            <a:effectLst/>
          </c:spPr>
          <c:txPr>
            <a:bodyPr rot="-54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772881184"/>
        <c:crosses val="autoZero"/>
        <c:crossBetween val="between"/>
        <c:dispUnits>
          <c:builtInUnit val="millions"/>
        </c:dispUnits>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entityId">
        <cx:lvl ptCount="67">
          <cx:pt idx="0">10035132</cx:pt>
          <cx:pt idx="1">10035133</cx:pt>
          <cx:pt idx="2">10035134</cx:pt>
          <cx:pt idx="3">10035135</cx:pt>
          <cx:pt idx="4">10035136</cx:pt>
          <cx:pt idx="5">10035137</cx:pt>
          <cx:pt idx="6">10035138</cx:pt>
          <cx:pt idx="7">10035139</cx:pt>
          <cx:pt idx="8">10035140</cx:pt>
          <cx:pt idx="9">10035141</cx:pt>
          <cx:pt idx="10">10035142</cx:pt>
          <cx:pt idx="11">10035143</cx:pt>
          <cx:pt idx="12">10035145</cx:pt>
          <cx:pt idx="13">10035146</cx:pt>
          <cx:pt idx="14">10035147</cx:pt>
          <cx:pt idx="15">10035148</cx:pt>
          <cx:pt idx="16">10035149</cx:pt>
          <cx:pt idx="17">10035150</cx:pt>
          <cx:pt idx="18">10035151</cx:pt>
          <cx:pt idx="19">10035152</cx:pt>
          <cx:pt idx="20">10035153</cx:pt>
          <cx:pt idx="21">10035154</cx:pt>
          <cx:pt idx="22">10035155</cx:pt>
          <cx:pt idx="23">10035156</cx:pt>
          <cx:pt idx="24">10035157</cx:pt>
          <cx:pt idx="25">10035158</cx:pt>
          <cx:pt idx="26">10035159</cx:pt>
          <cx:pt idx="27">10035160</cx:pt>
          <cx:pt idx="28">10035161</cx:pt>
          <cx:pt idx="29">10035162</cx:pt>
          <cx:pt idx="30">10035163</cx:pt>
          <cx:pt idx="31">10035164</cx:pt>
          <cx:pt idx="32">10035165</cx:pt>
          <cx:pt idx="33">10035166</cx:pt>
          <cx:pt idx="34">10035167</cx:pt>
          <cx:pt idx="35">10035168</cx:pt>
          <cx:pt idx="36">10035169</cx:pt>
          <cx:pt idx="37">10035170</cx:pt>
          <cx:pt idx="38">10035171</cx:pt>
          <cx:pt idx="39">10035172</cx:pt>
          <cx:pt idx="40">10035173</cx:pt>
          <cx:pt idx="41">10035174</cx:pt>
          <cx:pt idx="42">10035144</cx:pt>
          <cx:pt idx="43">10035175</cx:pt>
          <cx:pt idx="44">10035176</cx:pt>
          <cx:pt idx="45">10035177</cx:pt>
          <cx:pt idx="46">10035178</cx:pt>
          <cx:pt idx="47">10035179</cx:pt>
          <cx:pt idx="48">10035180</cx:pt>
          <cx:pt idx="49">10035181</cx:pt>
          <cx:pt idx="50">10035182</cx:pt>
          <cx:pt idx="51">10035183</cx:pt>
          <cx:pt idx="52">10035184</cx:pt>
          <cx:pt idx="53">10035185</cx:pt>
          <cx:pt idx="54">10035186</cx:pt>
          <cx:pt idx="55">10035187</cx:pt>
          <cx:pt idx="56">10035188</cx:pt>
          <cx:pt idx="57">10035189</cx:pt>
          <cx:pt idx="58">10035190</cx:pt>
          <cx:pt idx="59">10035191</cx:pt>
          <cx:pt idx="60">10035192</cx:pt>
          <cx:pt idx="61">10035193</cx:pt>
          <cx:pt idx="62">10035194</cx:pt>
          <cx:pt idx="63">10035195</cx:pt>
          <cx:pt idx="64">10035196</cx:pt>
          <cx:pt idx="65">10035197</cx:pt>
          <cx:pt idx="66">10035198</cx:pt>
        </cx:lvl>
      </cx:strDim>
      <cx:strDim type="cat">
        <cx:f>'Compiled by County'!$A$2:$A$69</cx:f>
        <cx:nf>'Compiled by County'!$A$1</cx:nf>
        <cx:lvl ptCount="67" name="County">
          <cx:pt idx="0">Alachua County, Florida</cx:pt>
          <cx:pt idx="1">Baker County, Florida</cx:pt>
          <cx:pt idx="2">Bay County, Florida</cx:pt>
          <cx:pt idx="3">Bradford County, Florida</cx:pt>
          <cx:pt idx="4">Brevard County, Florida</cx:pt>
          <cx:pt idx="5">Broward County, Florida</cx:pt>
          <cx:pt idx="6">Calhoun County, Florida</cx:pt>
          <cx:pt idx="7">Charlotte County, Florida</cx:pt>
          <cx:pt idx="8">Citrus County, Florida</cx:pt>
          <cx:pt idx="9">Clay County, Florida</cx:pt>
          <cx:pt idx="10">Collier County, Florida</cx:pt>
          <cx:pt idx="11">Columbia County, Florida</cx:pt>
          <cx:pt idx="12">DeSoto County, Florida</cx:pt>
          <cx:pt idx="13">Dixie County, Florida</cx:pt>
          <cx:pt idx="14">Duval County, Florida</cx:pt>
          <cx:pt idx="15">Escambia County, Florida</cx:pt>
          <cx:pt idx="16">Flagler County, Florida</cx:pt>
          <cx:pt idx="17">Franklin County, Florida</cx:pt>
          <cx:pt idx="18">Gadsden County, Florida</cx:pt>
          <cx:pt idx="19">Gilchrist County, Florida</cx:pt>
          <cx:pt idx="20">Glades County, Florida</cx:pt>
          <cx:pt idx="21">Gulf County, Florida</cx:pt>
          <cx:pt idx="22">Hamilton County, Florida</cx:pt>
          <cx:pt idx="23">Hardee County, Florida</cx:pt>
          <cx:pt idx="24">Hendry County, Florida</cx:pt>
          <cx:pt idx="25">Hernando County, Florida</cx:pt>
          <cx:pt idx="26">Highlands County, Florida</cx:pt>
          <cx:pt idx="27">Hillsborough County, Florida</cx:pt>
          <cx:pt idx="28">Holmes County, Florida</cx:pt>
          <cx:pt idx="29">Indian River County, Florida</cx:pt>
          <cx:pt idx="30">Jackson County, Florida</cx:pt>
          <cx:pt idx="31">Jefferson County, Florida</cx:pt>
          <cx:pt idx="32">Lafayette County, Florida</cx:pt>
          <cx:pt idx="33">Lake County, Florida</cx:pt>
          <cx:pt idx="34">Lee County, Florida</cx:pt>
          <cx:pt idx="35">Leon County, Florida</cx:pt>
          <cx:pt idx="36">Levy County, Florida</cx:pt>
          <cx:pt idx="37">Liberty County, Florida</cx:pt>
          <cx:pt idx="38">Madison County, Florida</cx:pt>
          <cx:pt idx="39">Manatee County, Florida</cx:pt>
          <cx:pt idx="40">Marion County, Florida</cx:pt>
          <cx:pt idx="41">Martin County, Florida</cx:pt>
          <cx:pt idx="42">Miami-Dade County, Florida</cx:pt>
          <cx:pt idx="43">Monroe County, Florida</cx:pt>
          <cx:pt idx="44">Nassau County, Florida</cx:pt>
          <cx:pt idx="45">Okaloosa County, Florida</cx:pt>
          <cx:pt idx="46">Okeechobee County, Florida</cx:pt>
          <cx:pt idx="47">Orange County, Florida</cx:pt>
          <cx:pt idx="48">Osceola County, Florida</cx:pt>
          <cx:pt idx="49">Palm Beach County, Florida</cx:pt>
          <cx:pt idx="50">Pasco County, Florida</cx:pt>
          <cx:pt idx="51">Pinellas County, Florida</cx:pt>
          <cx:pt idx="52">Polk County, Florida</cx:pt>
          <cx:pt idx="53">Putnam County, Florida</cx:pt>
          <cx:pt idx="54">Santa Rosa County, Florida</cx:pt>
          <cx:pt idx="55">Sarasota County, Florida</cx:pt>
          <cx:pt idx="56">Seminole County, Florida</cx:pt>
          <cx:pt idx="57">St. Johns County, Florida</cx:pt>
          <cx:pt idx="58">St. Lucie County, Florida</cx:pt>
          <cx:pt idx="59">Sumter County, Florida</cx:pt>
          <cx:pt idx="60">Suwannee County, Florida</cx:pt>
          <cx:pt idx="61">Taylor County, Florida</cx:pt>
          <cx:pt idx="62">Union County, Florida</cx:pt>
          <cx:pt idx="63">Volusia County, Florida</cx:pt>
          <cx:pt idx="64">Wakulla County, Florida</cx:pt>
          <cx:pt idx="65">Walton County, Florida</cx:pt>
          <cx:pt idx="66">Washington County, Florida</cx:pt>
        </cx:lvl>
      </cx:strDim>
      <cx:numDim type="colorVal">
        <cx:f>'Compiled by County'!$B$2:$B$69</cx:f>
        <cx:nf>'Compiled by County'!$B$1</cx:nf>
        <cx:lvl ptCount="67" formatCode="#,##0" name="Waste Amount (in Tons)">
          <cx:pt idx="0">209138.14000000001</cx:pt>
          <cx:pt idx="1">22771.130000000001</cx:pt>
          <cx:pt idx="2">268736.36000000004</cx:pt>
          <cx:pt idx="3">22707.300000000003</cx:pt>
          <cx:pt idx="4">736397.43000000005</cx:pt>
          <cx:pt idx="5">2317935.23</cx:pt>
          <cx:pt idx="6">8120.5300000000007</cx:pt>
          <cx:pt idx="7">620531.27000000014</cx:pt>
          <cx:pt idx="8">145383.87</cx:pt>
          <cx:pt idx="9">73.239999999999995</cx:pt>
          <cx:pt idx="10">365913.47999999998</cx:pt>
          <cx:pt idx="11">60901.490000000013</cx:pt>
          <cx:pt idx="12">59918.82</cx:pt>
          <cx:pt idx="13">11725.549999999999</cx:pt>
          <cx:pt idx="14">1045270.8599999999</cx:pt>
          <cx:pt idx="15">432765.40000000002</cx:pt>
          <cx:pt idx="16">92872.849999999991</cx:pt>
          <cx:pt idx="17">11093.659999999998</cx:pt>
          <cx:pt idx="18">1007.9</cx:pt>
          <cx:pt idx="19">5240.8999999999996</cx:pt>
          <cx:pt idx="20">13714.58</cx:pt>
          <cx:pt idx="21">28386.489999999998</cx:pt>
          <cx:pt idx="22">597.76999999999998</cx:pt>
          <cx:pt idx="23">21668.32</cx:pt>
          <cx:pt idx="24">47229.230000000003</cx:pt>
          <cx:pt idx="25">173328.64000000001</cx:pt>
          <cx:pt idx="26">100715.15000000001</cx:pt>
          <cx:pt idx="27">1054015.5999999999</cx:pt>
          <cx:pt idx="28">3782.6899999999996</cx:pt>
          <cx:pt idx="29">273242.16999999998</cx:pt>
          <cx:pt idx="30">41336.630000000005</cx:pt>
          <cx:pt idx="31">10563</cx:pt>
          <cx:pt idx="32">1254</cx:pt>
          <cx:pt idx="33">252102.67000000001</cx:pt>
          <cx:pt idx="34">1089882.3199999998</cx:pt>
          <cx:pt idx="35">269013.03999999998</cx:pt>
          <cx:pt idx="36">32080.139999999999</cx:pt>
          <cx:pt idx="37">699.31000000000006</cx:pt>
          <cx:pt idx="38">16855.029999999999</cx:pt>
          <cx:pt idx="39">420051.95000000001</cx:pt>
          <cx:pt idx="40">423415.67999999999</cx:pt>
          <cx:pt idx="41">276218.72999999998</cx:pt>
          <cx:pt idx="42">2618570.6800000002</cx:pt>
          <cx:pt idx="43">94678.470000000001</cx:pt>
          <cx:pt idx="44">147.28999999999999</cx:pt>
          <cx:pt idx="45">200643.57000000001</cx:pt>
          <cx:pt idx="46">228094.13</cx:pt>
          <cx:pt idx="47">1605289.29</cx:pt>
          <cx:pt idx="48">175315.66</cx:pt>
          <cx:pt idx="49">892273.85000000009</cx:pt>
          <cx:pt idx="50">203471.28</cx:pt>
          <cx:pt idx="51">502961.48000000004</cx:pt>
          <cx:pt idx="52">1013967.52</cx:pt>
          <cx:pt idx="53">117705.7</cx:pt>
          <cx:pt idx="54">273324.70000000001</cx:pt>
          <cx:pt idx="55">578986.91999999993</cx:pt>
          <cx:pt idx="56">558042.55999999994</cx:pt>
          <cx:pt idx="57">72.859999999999999</cx:pt>
          <cx:pt idx="58">348528.33999999997</cx:pt>
          <cx:pt idx="59">176297.76000000001</cx:pt>
          <cx:pt idx="60">3077</cx:pt>
          <cx:pt idx="61">18257.459999999999</cx:pt>
          <cx:pt idx="62">9776.6599999999999</cx:pt>
          <cx:pt idx="63">470107.32999999996</cx:pt>
          <cx:pt idx="64">1463.5200000000002</cx:pt>
          <cx:pt idx="65">95580.290000000008</cx:pt>
          <cx:pt idx="66">14943.879999999999</cx:pt>
        </cx:lvl>
      </cx:numDim>
    </cx:data>
  </cx:chartData>
  <cx:chart>
    <cx:plotArea>
      <cx:plotAreaRegion>
        <cx:series layoutId="regionMap" uniqueId="{C551826A-CEC3-A34A-A058-BE37016D9514}">
          <cx:tx>
            <cx:txData>
              <cx:f>'Compiled by County'!$B$1</cx:f>
              <cx:v>Waste Amount (in Tons)</cx:v>
            </cx:txData>
          </cx:tx>
          <cx:dataId val="0"/>
          <cx:layoutPr>
            <cx:geography cultureLanguage="en-US" cultureRegion="US" attribution="Powered by Bing">
              <cx:geoCache provider="{E9337A44-BEBE-4D9F-B70C-5C5E7DAFC167}">
                <cx:binary>7HvJktzGsuWvyLhulGIerj29RQDIzMqai8XisIGVyCIQAAKBKTB9fXuSokRSlO5Tr7qtrxkXlUQC
ASDc/bifc/K/3i//el8/P/U/La5uhn+9X355UYxj+6+ffx7eF8/uaThz9n3vB/9xPHvv3c/+40f7
/vnnD/3TbJv8Z4Iw+/l98dSPz8uL//4vuFr+7JOn8SltRjuud+G5X++fh1CPw98e/YuDPz1/uszD
2j7/8uLpg7NNYoext+9H8uK3Y+cffnmBEaIcM/bip5+/vtBv37h+cnD2lX1yNkqePjz/+Mznp2H8
5UWk0BnGUhKNlUTwF9YvfpqfvxxSkjKCJOaUEkTxi58a34/FLy8IP9NSM6IJY1pzOO/FT4MPvx3C
VDKppSIYwWHy+3u69fWa++b3N/Pb55+a4G69bcbhlxfixU/t52+dnpNzRDDFTElFhaSUMVinff90
D1sBX8b/iwlGytGKbt93V8hvl3PpX9kif1swe/7V2/nBSkTB6/tqLcUUJ5LCekhRxZhA8Ca+Xqtf
+znMuBhgrXY0yGc6DqOeTDbSc0HnyQzd6tKeOGt6mV14u9T7wMoqKXP7OLT01eSVcbiZUlw0lRk1
etmuXZNWmb6ptvYCR2SOZdHf2lK9kh7dyLz4GOwcDC2VM6KJbLwtuk2Ql5VZhdv5itsd08sNHztu
IileZkNdm4qXg5mc0Hcjza8i1d4gTgtT62KXuWIz1Ja7aOCvNjGlvhoms5T9HheqNtssb3TRtXHR
ZotZS5eZGa6zq2bxsq+GawJ3YrAfLlFVVEYSdxhRZ7ZqjptpesvnER7d9ZdbTyqTif6i3qr6IMYN
GZflr8uc7Kmu8v3gZm0YL69EHxrjIhHiPvMvB6KkaXh+Mav5KMbG7ubKc0MdfAmrNlW4PfZVtmsU
euC4/rUc/RERd06bbDePkzWKVR8EKdZ4XchubMchHVpxl8/RceTtIdDiMqDq16lr1H6cOUonPW2x
6/N01vpDzSU3oVeNKbG/91N4HrpuM9XSH92Er2nBrglhu9Hb+2lzt0LxAx55l4pxPrZoSu3IUNzZ
iaS2DWNKNHpVVXVplkjcDRNWhui3GeHNjk7ty6bLtRFld+z6cjLriN6gcn4eC5XWzj/1jH6oNn3E
3fXQG7n2aZDVW+SHq7WRbxQmR5TRl7Idy7jNxnTlyMZSLfupxQax9paFcB8GF+JN2ldFNu9Uxt/0
OURtNCBv3NrVSTbZ+yrbXnZR+WvO8mCKsnwkvTjvlJ8TJdmx3bLCqFUd5p686l3+yArv9rRcRiPW
dd2NQtDUyqI4MMnQncxKto9GXZmFRJdzxytTlouqr4J2tRkV/7jKyCWumq8GxGU8eOkhSFz3K3ZR
Eau16nfT6PnVNDRPmgZqfJWZppLLx62lRVxUrjUNyw88svqCcQmRI6LLIYTXnWw+VC1jF77ZYjtm
uWk3dJyDECjp+IaUCU0REjJIm6g6Q2kWBWHWWbg3g+D3UT9oEwr/XGB6kw+B7HOsiWGhbo9F7Scj
o/xmI6Q05RI1HzfLyjgvhuwt0zVtYovQoZ6rWLZ+vu+aPvblEiMnut4IzuWHkWpXXjk/kSQqmyCS
TpTRfEFw35P7snf1saw8ax/klC+JFVmNL3Et5WuoRMG4Rg/oosp6Vsc5I0683Qo/vvPVNsTLtlWb
KUVBVVzTKdUS3vPUjyie5rrboUIVsWDreh6wKy+Hvnq95eGWiMmZceBvs2V9U4/8OprJzo9LtnOz
ux5nPO0LO5CEubDERcbfbkPfxNRbGa/WZTHFWXTerdHLcQhRHDlnPhXanz9j4W+V9nONf+/btbd5
8RsY/v7xvx+8g3//dTrnj/88oekfn/bP/gRkw/df+uYcWOa3dU8Y/M2HPwHy10j5Pz34j/CY/y0e
70P98c9IfDrnCxLzM4SlEohhwrUUHLDwCxLzM4alFkry3yGYorNTM3ICK0EoYgLg6gsE6zM4W2E4
pJUmXKp/AsGY0W+AkTMtKCFSKCThT8D70/GvQBhFbTtl0zofkMriShfJxLGPkQrbUYm5SSo+lxcU
R93Hjtf9Te582BeNb+NSuAfq9HWUcfZ62aqK3vKwvRlKWu2Gshh2opalKQqpd8HN7+hY3yxy0geW
N0dSKWpsv627gYQxzua2NKpxa5zJYkx8g27bwHxaz1OUoLBWu6gSbby01Rajun5FRenjNq/QNUB0
aaraP/ugHlqeIyNZ/pJzvqQE6wuxFLd4K2YzrlVrhpk+IN5pQ5jvAJeXx8XPv8qiaXd+akIc9a0+
bH2E4y7fOhNqgC7mOYvr/hjVWWsqRIo0bP2Vd93LUq5NzBtZxoLkKRrEErNufhdaexX1YWeb7Fhw
9C4fxKtK9s/Utu2j7errLuTJOEE9yrviDpfi/VDrKc4W0ply6p7lFF12WTnFjWzneBk3uZ/mbTGZ
rK99Wx9aDaDhN5dugdlYFLU1fC7SgUfczDm5WZ1PeY1kSnz7QNyYp31H3iOr3naY7kg4wcIkVsOi
zsfMRjd6W1Km1oe5sx/4EnmTz/oq6uxRjeUzI9GaCLuFtNJLFy9SlfEUyu5umKe5fK4yqbmxOevs
9UjX/IC7qDBN0+9zsrHVrJGupOm7Rt+6mraNIS0uUqgpTaKjWh3WCeAUhcCtyawtnSmaUQWj7Di/
AeRJi1q3T/+pUJ8mBgrt819PDKb381P/4c9F6nTalyKFzqAKUC6Q1BhhLmAu+VKk0JmC1oRwrrim
X1UqIs4opBPV0FwrrRmGmvelUsEcwYXkCqoKZtDu/6NKxdC3heo0LSAhoYDB+EG0ON3c14Uql3lX
aYfH/Ta6SSTNCZKXAfvyavWt+qBZOV3z4MOujlRUp4trjhUrn7tN7/GCRW2Qs1t7GDta3fEwnjNa
lRygPvNJ7VwVV9C8GUoUdNfZbcQd1cZDBzyYhecLOq97TM4VLDo9TRnObGm2DUGDPHJZHzPRzmNS
ZS3iMRv7lj00Oc/jtW3f4caW5+JTd/CpUWi4ro74U/vQfmol/hPen8JbAQT+dXi/HH86+qIZ/hzf
p/O+xDc+I5hoKhjCMHJipf6Ib3wmNKIac4ZOk+Jp/P5tHD5hMScQ21hoDUF+Cv4vEQ5YDGMDUUoz
BAMzwPSXRuSbVglohB8Mqaflv5pRAYoVIwDCAgMUa8U5jORfRzhft7bWiOQHXY/58rYQ03TbOuwM
nsm6n3y45p2YElw2dQLYtJfDnBuhlDBZF9IwuZttDbt2C1fKkbd1Rw9rSy5qu23GMZZQNzyW3KVz
gElPbO7oNH1Fme8PRdTLOMvGIpUCcW86659X5i71moUdQpF1cYOzpjBjkGu82VPRr7Gv7llVUjOj
DJu2ttZg1yR+7ROW0RDTqtZmg+H3rWvbGmDDTuUJVccKnijK2uHShTnThg7FvMcwbYm0DH2UmyFA
V5xoMeI3q510ivuyv+I9tMcwrMk2VEeEC2EoKtY01GK5snU+va/mYbgXVb3s6kWRi6XM12s58frG
iU3G3q0o9m0+H+bZ5bcbRwyZCdqDx7CgYd+5Ouxg2hevMNb013VqpBmtH6npmnziMNeifeGivSq9
f0VXoRKJnL/hUAbC5T9P4KsvLNX3/fE3TfSP++z/e1voU8X+6ww+bz7Yp+anezs993/O4tO5X7IY
nQHWEI4gWb+k6jcoBd2xRkoA5iDosr+QWvIMum9BNZcEMAQg648slmcwySENHbU6VQVI8H+QxfS7
hppDny8VFkIzuAuONSz0dRZrB0Ncrsm2R9Q/q6rOqSmhfDyGoWgvKzyy/AILn3Oje989z0TU9c61
1ZqgUeh3Ot/eRyO6nVhWx2Nt5wvI+3uHVja08dwgZpjIy2TLrT0fMxfuGuKbj7j279BCSb6bUey0
R0nhPI+SArW4NJ3POmiwAN1DKhY7xSUvNbqvIl4sD/88en8cl9+E7v97899pm/86eM1T9aOoPZ30
JWrJGQK6lAARCewutFYQFl+ilpwxrjnDQMMqhCB4fo9awB5onwjQUYA9TAAK/R61cAhADChYhYHR
JFLSfxK1QN5+Dz4SEA5B8FINaSDwd+CTZbYocbe5QzkyWe+nXgN7VshuR5uOpXXe+vxQdkjWO9Y0
TZR26+g+RGs+iRRR1sYdid5GKANgys/LbkqatpXxUmc0biexY7jBMWmJhWEBHcosirtiiLvW7acx
vAWepDBhIZAow/kykpu82+7qVb7T2RCXc/1YWnIcYTatWws0anAX45jHQK5eOKgCMdNlmkvcpUNP
jxHvLut1PWwuIqZYmzGmurvidrkm8/AWFUCztDw86jZ/OROUIGs/qCg/0MZdA4udDLqZkpU/RMN8
URdZPNNprya5s7R/F0J+W5Ty1iPgNXlzESSwrvPIgGPqgZFS5XO9oas60Nm4LatMbZvHBbVXfYmi
eO0RDIgeCWB4h2sU1HC1DVMsF1Ttszmju056Zrq8zZOlrxuTFYiaZWMfgbuBaQ2xbJ+HooilrONq
5vDdAO1CsxtaEi0Hauuxv8LDc8ZXuKmlhb74LqdbhNMhHyPznyz/PEMBYPxNlvfP049nKDjtS56j
M5AXNBA9kO2fm8UvaY7ONGALAJME7PpMAX0BJ3UGExehIIXAcAN38keaE8AtQhBHCPL/HysuWMKd
fd1jntAJChA0shoKCtzpd5qL1UXZ18WE930/3/Ouny/6DNq7PKDbheD3SPjsnUPtmuA28tFdAbx7
b4oWI3WI+izz8eSmak4psd7uclVB11fQQt9wN44VDKEjukAFrdKG6NGwJopZDtpJN4oDKkl77AY6
vuwQBl2ly2bDVvGq77G4ztexs2kO4+mvVuLtRvtCn5c1NLexzPFCE51Hkp27eijKpM+qXsUTMCaZ
GYZWV4ctKuvxIYjGXhS8PjI/XkQEOrwKFW/qvEslUblpZpSbCVpws7Hlaqr781DUN7h/t0IGq36P
nGEkHflgqD4uIs7HKe5lcbPS+3qRZhuOwuKX2s17lne7PBMvdUGTxrlkneZDw5tk6Ig0uIJ2uByH
mG1dEwsNRFTYrZXfCU8Ty6JdsQ6vslYdcNgu8zr0QLjIKzb7GyTwwxDyZy3snWq3e+/qw0zDo5/y
x6WBq1K1Ao80A0kv6D6TcjSbL/ZRw+OVsXtWNOkYLNBk+Bj1CpqG8MhO+N9w9RRKTYHRGmOsutpk
pX2lh+iRZPC0HHU3xRY6M0f4tY2yzmjeWxOdxCbZbrHYlueuzNNy5jeOLakcoN2X4jIvspcKyw9e
rXFZUhiwlQpxrrq7jMr3hZrv1KZhDMDvemXPy2GNZ1Q/r0BtFTk6n/vsda39ENe829vG3Urqn4aO
3Xd1eTVG6RiVr0WvU9kW7zReZ5NvVZ8Ewc5ltF0jNsTe1+nE1jsX8dqwrYUWB0990jSFiptirKKL
hi0LTps+hI/Cd2+hZ/Ig+axh7zVa+pd5zpipP7dW/ymQn6dwmFn/ukC+fAZR29fPf+7fT7PuHxVS
QxEEJZZJLID4hmL3pUTiUycErTj8P1Ofae8/SqSC0gi9CTRRMIR9zTOpMwH9jIJDWHymrf5J/36S
t78ukdBRARWgJIzhlPFTj/VtA+827f3SSLnX8xruprFZC6Ojij123fqwVcKbsRM5TvlaxJbMUYAY
bUHqc1N93tUj4LtPBemTDJFE+eWVdUXcQojmtDM25O+desKVOHaleDWQMuYt3yMQj9mAYj1VS1wr
ECBHkdDQJVPnYh2OvMxeLzI7J5OL12a4KyQqYqKaQ6deoxyUJub8rfYY6G9p4xmSIZ69jmvUJQ7q
XbfoO1f5veP+HrqBiwLZ61nA1QuZjHOVRDBTeydTGy0Xyq4mL7qD5G1KsU9oPacrKZOyledkhZ6N
BlDIZeIcgS4HmbatPqxamXbs04Xz5rzNh8gU4ye6nJcJ6xq+XzvSJVuAYQbyt64dWDCY3QVQaFm3
3EXFEpPNXlaqhHFGpjpqgXNuHzB1MH9PUDag3PLoyvcuxvMCkxOy75CdTB5te+9CUs+baUCH5uRX
Z9ld6z3MPzrpQp0EFl3acojV6A50ru+6XO5mQW9cyS8RtFlad0m0ADqA6p0uE2iruo8eLQCdtSDb
61clXm5YRu58AReLghHDet54ZzI0mM75XTmAUq1Y2Ds27LVefwXB9JZsINd21QSlt4uL8q0j+t3S
lyaaQloImQ4EQ7gwQ4CTNFNRv+/qLuVjlQRdvnG8hNuiO9aChCfDs0VjzHsCKrrb2zy7BqUPZErZ
37XLdiFrfphLG9NOmmJzifdbWmu2azh9RZb8ts7rtAUhYV33DezoFrDpVwVVOUoYGZKuFeeSv4tw
k4D3wXBxlePSFsnA2Hqe1XzXzWin9UiThc5XvADBsJ+mpNTZdVnnh9mqu6EckqnKL8ptSrL+1gWb
BBztJfEJ1tHNKt4uliU1AYZ1FJdj9pZOc5sMOCQAIIdG6KME2TmTr0kxCGOF3AVBk433F22J03UE
bwSFSSLzpurIbiMHMjVmJh86VZiuvdNDaSxklzh1MZu7bsqD2x7RogHSIUrFIwddq4ywsXR5buuL
aqPHwA9j+zJsr9n8NoOmYNWHiPC4rd73ku5XCtrvRpO+fpQ27Lq1iuG96NmZmWnTTtRU+mGbynPs
6yvcFfuh5YeMlodVXVEdzudqusvIcuU53JKY+T6L3EXB5NH3IRHYfSwZ2g1qjAvfXlIPo0q/1gYP
a0LKV+OIpZFofbsuLTFTnj+tfNu189QmbRjO+XS1kWPdbmmH0ZHD3WppaSyHD2sDZWahQwpbOxma
kQdpH1Q7pA2bjsKT0bSQsfi0hXGeFyQuyYVnQ226QSRRlXd9LGnrrzr8GntlHxWZyN1/UPEzKsKw
/NeoePtUu5/M89P74ge4CGf+gYvgwvpEH8EYrvnJkfUFF0/qC2AckoBMn3nm33ktAWYtQCsgtzB0
xyBq/s4QnKQZ8HcpTSmYvBR4vP4JQ/CJff7OrQU3pwBgORZAkZ/0ma+E4igaalngbNyjrmwBDlSz
j0Cffl0NFX3TdkPZna9rcJPR6hlGo5O9RaHQJlSV6I3vlwYAc3ML0MXFu24W6TpUkJ7rB8T6/NJG
EHypc6gs9/UKom9NlzcNJVUbSxLphIQIkhmMc68bupKgoIPVtjiqtuqWj/Mqm+tKT1F0m8/tNCel
UzVKQ0aX7WO+Evs+67A7etnF/jTTO1DEj+sn9WYDFhkUZPlJ12nBEnc+f1J7SIbA91I06Jh9UoIy
0IQIaEOoa6EOneSi/x9T45v4xoj+LeG7q31vPzz94JyvEwJGX5gtwQkIRoevEkKegW1BwByLQRX8
RpCk+OyUPkxTuAF0knL+SAh2xgkV0EOCkCiIAGr2HzSKf1JrBOUgRkI6UPBQIAwP+3U+5POCNtX6
cCAk5GNcgzjpYkYKfckC1YORvG8uKxHABqqLSSVflZAfiEUnFvnbbISMJ6AZgRwKzjrQVr9Zfagr
0fQeD/s2bz5qqzJD8VQatmw6/fuVvntO0F1PK0HbDXyBkFCCvl2py/LQSpgT92ufP1SYghWw3rIa
jGhMGL5W4FlEIlKggeLiM88EVPCPFbHvOvHPSwP9eXKHQiCw7x5yzG1HshL0GZCd3majul1kdw9M
2Mdajr/C+xX/5qV+2rM/vVVOgFMlsLuCf7enUEKGxdow7GHPm/tA+2uyZjRZm2KK6bQ9owysT7Ze
knxtVRqYsvE05H2C5PZvHv1PPM3prXMBziAChltEvqu2NowTL6Z12M/KjwmCeduwArwbkfV5zIvy
499v8mmm+dODQ0rBCKU4kid70tfBLHRZ5WAZg01e+2WftzgDmlUVn7Wtv9zPH75fDGkDkQSvl31y
6X6FIeWAc49ZO+wpV32spgXsRk2pY5Gp6HweaB/nEwtJBB7HdM5yF5cTBil/ii62DQxAf//MgIx/
emaY8YAHghwCWv67zYbhjm/FUMHNTCNKCzAY7IZ+u1qnNY9zh6O4HVyzL+RIwMwY0L9JK/yjDFYE
vBacgv2KfR9rYz5lhDao36+YFb+2sj8ZePp8vBks5tBrCi9E7ANcwESrjmBOEF3NE1S2FUxenSyq
eI7W+WoqaJ4ZMo4Bxzznw4e/f0s/uE0NVjSYvSUUYiW+y0Fb4qHtetntxy1zHxld5d3WFK43kUD/
R2tBeCCwVlJY8LsobJt2G1vFuj0ntr8Da7rY+RXc2GU/Ao783oH9z8qnAqUdTHdISjDGf7dSEcGY
yxuwnosl63eBbVPKhk6nY8btv9noHxQxcBYo0GhArZQQ+t+mFtmyvPQBHspSlCfZ2LQvXd6RlKBh
M2hxoOj5Yv035eOHuwY8BhNYgPdGf/d8eY4a0EuAWVsJnmLHl9mAvYokPSLDv1kKOtM/J5LGAMPw
qwHw8kPF+vYJVcV8yDcML5P1MKqDv3jsY1uweUu4y5o6Fj1YUsVcjTXQB9Mc7bqxD0u6LZK6O6c4
JJel+abPs2GtH0k71UXSN5UKSVvXwpox64onPwMFUFHFh11e1HlphgZbMJvBI8EAJLxSiZ74jHcz
RXS94FGh93bt5ZZ61hdgt6sK/CAC2XBSs4WTXYndIlKq24K80TO27lmUYPYA/zFBorhYip5mSW+r
vng11B6v53UDbTv4a7FjaQTK6tFtyxLth1BNwzV3TVBXbAxrdicGDMoMfI5m8OX2Q7WYwHTVJE01
sfxKyYbLJHDqy13gXf1yirTIjn0T+QPuqyYza96T3ujCPrpBUGYWcEOW5zKf8zZWwfsKCGW75qlr
16a/LCcmBXgBdTvX+2GYdZUsE1+XxE9rhi4cGJrQDbAHLUlax4vGTFYp8iSHrF+NzMYl3hTYQF62
HNrwvR+Hcr2dMzm9bCzrwaEedVreI+9UnoZ1ysM5VcWy69Si4QcMTS5aw9p82+JhKPW+6QGi0jpr
BviZRURgtO8Grl6VRVeDHOg8jQcG+oMpW5ianQp3uAcmaOLt66wl9Rswb6H7sRGzyVy5HKK1rFPa
6ZtQr7umG3YgSTb34DoEIr/I02pr7J6wak4qXbldHqYjBS8rKI3DE7g5mOGBZEkoF7pzlH5gNJrT
qQEWa2C93IthRqlmVuyZ3rypgTczZaPziwGol1/l2M0JCyvw53J62jrBDxMMFGZaVsNt/YiQSEUk
uluuXZ9i1Njbis5bHJDFF8rVxRWdYT86WVoz2Oxx2Sjf8wjfWVu0oEwu2XmmWRUvZRWgqRgkEH+M
J8MgtzuwsZx3IxuN3VbwV27VTYXBfTmz/lgtC0lgdunSZQRPTFlkU1zJyl3MtEgs7Oxtptg9mPKX
FM+q2G1bv8VrNIYkIyvZb+D+u8/yun3XqAFdNoVUCWgvIlnQ2H8UEUgW0QhkgwpVvZfe8/O+1puR
TbacU2TJ+bBKlfbLdCR42Vne4l3F1zegNXRvGpsBbche2rC+4UvWpDPSs+lD9ga8/jnoHJVT51OQ
zW6Kugwonuih0io7Dhm1ici9SlHJItiHEy9Y6i0pirG9t3003XY5CBpDWAAX6XA5rpk09bJZMJg2
8EuPuT0oOtqDHZw7NE5NH9kwBrPaeZuqpJrsuK1x8F2zUQ8aD+rzLPVWjw+VV6ByEAie1w7m5yWR
naQVgCkUiTIP89sW3v11N0OUlWvWGFXhcxTyNY38CIIO3tQF/OHTBRIizTjh63Cp1jkHpXktejl0
ZiUZA4Z1G0j/NgIDLipzIBsjAve8lxHx7xe5Ve0BzFIkJA4oK/hBiQcn+WUUiRGszVL1uanXiUfH
zFvgHDPf2UPfw5syYwVGsE256aHA5XJL6pI8ZK6p7Plcij7l/5u9L2vOE9fa/UXqYtAAlwfe2fOc
+IaykxiQAAFiEPz685DsfHFeJ3b1d3nOvuiurk5sISQtrbWegTBvzkEdCzY6B4U4so22B6gDnGfu
JMgn0dar12J2ipMa9/mXzgQpXy8iL0DuLPdPrTX8hg4qeQnTAIQu3JfoVtbJ4KzmKbB3KGrKl7Zu
eRVNpXEfKytaFOo1uwgrr/6ch9W4MpmZth0ylttgovLzYPB7JlLYte685jBrUsS5rejeo755AEHF
J5E02bzpBjRugSyGzacMiNKXpqZqoyxpPonGy3eyTbpi79tObfLJMQ9MQ72FKn4cVxwFe7fqoXso
osIjLFYOVauUcxZLJFz7HtqWlQDZYE2yLmw3CnVTuStrvRDM8nS4By6ZzuuA5VD9hOmY5LF2aBPG
JerQfV1lxbIHyXhIQ5ndOGVWROjF9t7G4HWS+yqkmKKowaQ/AQcaj8rVcD94th/P0iRJL/KgCVba
qecz3QXBKc0ofqtf51vq5Pxm6Dw2R0h6mgOvs+xCjgYUUlTB63HQ7CJtcVTXaD/Pm7m3ajNqS8ut
ECK9KIp6EMAZMnaBQ9TgUGF1OfObgypDegGlT/3cDml7RecWMGOO951LNW3nqZq2QYaXSlo6nRBs
zauatfUzWyrMuOJzPaxUI/Mt3my+Y7bEryW9vXRb2hwAL4an82Dq526q209Dhvc6C9F80W7aQlzW
Z3itTVUmhzTV07YPO/M1HA27ADhKxmjQYXphc5bXyHfLcvo6S58GFjfw6NMi8kc3mU5dXMv1agxl
GpMsaJoorTJZIUL1CVrw2nFva3diFznTyV3Ns/Scgwb8yFOuVl2fzVnkkRng6RAgX2W9763TLmgO
4GMkq5T0w0lbYvI0FPYuIBJxMU3ynV/jp2sH0qE+bPgcZQGES1EFTOuC+k2xh5IN8rouHJVc5WoE
1b/s8BeSAUhImo5Ft5IzegPRjHN+roLKPEwTm14CMZivIqUMbMup2LuAQbDL+6zuo1p67AZQ0XAP
9LoXwG/wkAVz1HXQtfWTLzN+Q8IZ4G1djQCleVm5kaFV+6loZnsZcNPfO7VV1/my3F6bBKdMusl1
QwFLuYpMm1AIx4uQZGQXwJrc20Bm06WTkunFmXW+JZayKvLbILn2Skn3jZNVp5BG4jeCB32N6sDe
oTtpvs7jQMlhbnOTrUmZTS+iTvsqTvoMPXrCXEBhFScjsG+iofOiElScOCc8AUKNkitCH7uZ9uUw
8Axzx06aSdMi9HKKnYaYlV0USmo3Lt1ZXxJfOm00TAXW2jFBNkCtqYMqDk33ogOCmmlwShk35di8
EC3de5rW42oYjfuND7LvYxw9ANJdMb9oT9YtxBoVGvqtZP03DyIXhjUT2Pt1jdfCcZObrTMqFwgA
Ut7b2SvIddg5iGaCD99sDXC7S6p63Tdefd4NU/3ZyqS5crsgvUh4k2+7sA8g+w18AN5Z2K6nAOe7
Imn30OR55Vy1JDCI8VqVbK8njZcX+OIMNXGyqfukRRBD73VbpR1gtibxg8cZSMF5UtbpdiiKYUd5
iaXBtXnqt1T1ERNpfslBDtzUFTV3LcQ8UTtnL12q8b9MXdcQC9b+MwtTBkSpmOOaTnrl+RbilcHn
WxfvK3IYoysFrXIddX45Xbtlay+RhIzQ7Mnk3itSiGCIvulCejYIhETrODlqmbZdjYCszhv0f5w+
Gw6yrFsMq/iFM5bueSZKxA1/zrfWycmZ5aS+qCaW3PDE0/vQAg5F0C3nyK1AF2nQHd+zvDsM01Ss
cpzNMycd29MqFdUhzaopQqqPFDD0xmis06eQZc1eicpeKz34X4eCHprccRHSAvzLN8264i5kQx09
sVbSB+TbTjQ5Vj+HY3ehQ91tMkm8fZNoYUFIQ0I6SD09BHZMr50qGzfC1juui2YVjiRPo7zRu2Cc
nyDQKj+rUsyAajRekkegbJQcFU4spolmsVTK7BUBg2tIiHOhSlpvoHVkJ2XS2xUtvPIK/yHWiEHk
tm8I2MxjmF73BoP0LBGXvRNWIGb4kNCIhD6FecjvuemKXZ6LeyudctsPaYY8EKlcVOaTjnQ+Zmd5
gMaNhlAh8Wf3OXOgHh0C4mw7z51XQd77q3HAYTR11kUjRKrrdJr4CZIL+iApA0Jo9QbHCQFYS1Sn
KW/CbViE4cugeu/B1tQ9D8tw5qu0pLd1ZiVwOYCNDLELUzPFvcuEuJoGrBIbjG02Anlh1HZQ6abW
1t/mihQelFtdft5IbIO8KlIwTWxVI6zVwNlpCazW1rKNCZpd4dx5cS84Enqayic5WXVIx2rXKZBE
IgZoV0/SXs2O99DlpNzgKIKoN0skagwKsET05yVlyV2hAOdaOmwUQqCM6qDLrwOnnVeq9IMTM+WI
Xk62BnVIRcpvQXOpmdZxNoZuNFfFDGBDD2ecQQGKHI0oHDheHerUyotC+hkI83IucO7aCmVpQSSO
UarH4QxSLcC5HuVb8IQrXDlW48aaa3RPemDtl2HiN6eTZRJVnRhyFfWtVIdwzJ1rBg1vK4XdJUMX
D4FRZwVW+cRUo0DU10U00bEDpcl0p+j7ToCl5c61JPwEVWuEOuep1VC0lRmbwbLkoPwK0GKiYQCp
3k603WtPPLsz/5aAhPyIjLV4LEypEbQMuQOmTDb+0KfrTvTl1cSRsRRT66qIht0cpzbJaqRDdjd4
5ZAfiK9HuhqEY8ROKNfFHUO5viBjqkC6moS+QKdIO5EXyFSDg1QgCGmXyceylNWV1wTlFc/RR47y
CQFUZmP3tTCe81xBRfi1SRyQGTyCX9jUzD+wVuqbCZKM8VOLjAfrlqPIKTNe4JYg3N8XdYAbJbT1
Z9yW6J3NheuBlYSG5F4nuXeL/BiVqSozekiVNV/Bi+i+mt6giWAAX70oWqGrYOYueXSMdJ9V1uKm
13Syl6axyaOnoMWOaZKTMIbI2nwlrCZl5M1DKNazYtVN0VgEBpPZUW8ESGR6Q8MRHY3eZtgeGdAr
G+mq0DcZ7xXIDCkod6AM42fC2hbtSshQsRWtHGwjoF1gBQwGT7mWzIHwAKAYZkU9i0FlTitzks+s
Q93oVIObxWM95ukGySt+80wCq/d0RPtxldFwIlsyLSlAB0A6Ad+2DE9l5tBqxdsSSWuRcKwSgbyD
x4Xtk8ehHbIsSvs8hPwwZeWL1/cYtW/8yV2N1A8ff7xMNhBI0H0gmiDnGgcwCCh8VkeoJzQ8AyCE
8htuVIxeEF49LCGqG+bmXrUtcol2D5+ROYlKWbWrXXSBLryGWXfTsZmdTG2nb6BABQ6Y0tnl8Qgq
e4pzzNAPaWtHyRMDQuKwLSegk2fh0A0vA0dvNOo9VmdnnLjZrZoGb1v1VfVQuqG4UiJskrgGOnk7
ZrWZdhZt+OQCinELMGdw8IzIyvHUkHBi8fhkK7LpR82KGGuCs4vefwZVpE/xFgfS4e/PlWe+5qhe
FjEmMuLJDOYbaCey2IZ92wDACMtcbh2Ve+D3ODg/0YjlnHcV+n+HMTcEXEXdIaNjGa3l3uEtmigt
sBW5qHFYi6MO7Bc/S3B/xWXvgF5cBX1Vgjhj5+IiG3z4FywpZCEqYP0FgKg7Vzreuim0c+Cmandj
2ftXZRrY0yRT+f0MXezd6NHhg7b629YjDTyQ0kFmB44AUPT3bmAD7SycGWy3HXtvWIup5GssdrGa
RF7u/m0XF0NBKQVgnIIvdtybbn3AA27Jui1FE2lbeO64qInAWwrc5gNo6E+zAsgH8RgUIpz6Rw3V
2bWqBsmy2xbWIpvx52bVgvEad1b0+/dn9RaXoIGPOQGXAFzJvsvEXoEkFox4VTC8wDCHPGqYvCsw
GPmLhegxrRIZC40quUkSFdcO1R+s3lsgaBkcgMiCr6KdeTTPzmZJ4tddtyUa8B7aCtm6cmnzARD0
9m0y6Ns9ga4490B7PhrFoJ9ghibpty062C1Q0yUwMNuIYS3rErv6/Tf6tgXPwMUOkB26HrbJcQue
NYPnZ27Xb9OJd1Gm2m+AhV6CFDQutyhPeCLrD5rib18j8zzQBYBZuhS61SP4DgdMjoEPqbxEah1X
SVhgsUK9fn9ey2v6HbXDKOCDgFcOejh43b8fNdonbqUa1W/9fJgin5DTlJiLCTpeJOgl+2BOf3qL
r0c7WjSoKtMmZUUPPcToog+VR+lQglaE4BxpNJOiVqnn9yfoAeJ/M8MA5BYGI4QQG/IIWpgyxYNx
xLGD4g+lt6bFPeiOyZ7rOdj1OgVjrrkWAxhtTYHSlHdOcECasOvTVm+HPhzW6PSgBzmK+ou1PtlP
HBwuL+maG7CuItwZaeyqZv4gMC1s1OPn9h0qHJezQHhvdlxgUu7pDscIIhWKvImM0MFby4Y1Ib4T
5Qbt3HrxavHx9tZeYemjMwt72btBfS662Y/TOg3RtPfTD87CYkLx9tEQn5cTzvDP8uevwosMC65m
VnRbC72nl2RslbcgYDYB79amSc2dzX0ZOyMPi5Uu5upgK9memgTX7Kq03YCCu4oUBe2umSoH13md
rBK4+kSVl04nae8BNMeVvoexkF41Q9etRnBJY0A+4X0/5uS+G8DIC/28iVtKxAbuVMA20XdY9+hP
dqo1IKIXfQwoLoxswUCdU3f9GJhzRSc/mvxZbVofLMORLEWcmHdNDvh9okh8bVIkp9CFOg+kbYat
rBSJoYh5UeDwdwEECqFI1a7jWXeB31xt3t+tbw8IygqwXnDqIeMVxziYNSnrYaOERTfZOVE96MGB
s3dze9vPCXoGfen+6yOJERmCNYPpzhJvfl/LEH34IJxVt4U0Y+8a6LTc9EtY0dPWryjcPPin92f4
Nm4HTCDaoOMYhiDlHIU1k4YDKri+Qze8qCNvoOMehY6/Drx2Wr0/1NttGoCzxgG1hYBP37Cw054N
Ej1P3ILBwE40ady9HnvxwQv84yiUQ2IT+L6Pd/j7CyxRf5dgQOO64y36TI0Iya5v0uDy/cm4b+MY
ZhO4bgAeEwDSY7Bf5QTJax2aLQQJegXejtxwW6YrJGZAJBIjkFJg4zvCTw9t8NB66VZTlX8Ulvw3
Z3+xb+BgA8L1zYVA9vfpNo2mcz4Is6W2EOuxCYtNMspug1oyBymYznTvVjZEX0J/K/QorlUnx23K
nOGsnEGcZUonH6zAW72sh2cKIXyEbteDYOkoHgUTdtHEwLmRaMjXqA8D9owL9VJQU8H2zPmqi8E+
QNWbfTFt3KHvEUvtZSvlL0hmajYA0vWq5VREY+6CpSuAQcQZBtyispYxlan7bapcSJ4ScQN4Z80c
qVechA91INudOzDnFG3LYjdr/SQG54ZPGCilbh/XY2jYBwH47aUNZg8YFRR3A0ibx7QTWA0IBfYi
ROeyeKiSrRhksSKzk8FugvkfZAjeH1cc4lCYBS3uBsf5XEoJQSfFN2gp9tXeadk6dPoRBUvXnCem
7heGef25YAiURUOmC9jXTDHPIV0Ig0qvRFV8K1w7oIdtV/MMexs0zGCUBvr0VPVAg7qc7ViajYdq
Ks6J032Uuv15Aui1gsQKOcZ3n8LX11XitmE5BSO2bDZdp62oUYrR9C7DHRHXAFdXiXGheRa8Qz7Q
locpm5+CXNyalof7vk6S2AbtsM4cHV7pWejbgM7fZpZUB6DY4QZ9xGmFLj7BTdwVmzaHf94HZ385
VL9nacsG/zWDoxgzdgCWAX6AW0VkekhmdII6ZquVJM6qy1tcoT38eKR09iCDD2jO0f+NK9ffJNe/
6bL/3zQeCHBR/w85aPES+81L8+apfTJ6IRD98Of85cG5/NxPLirk2wsfkLsBXLl+2GX+JGd7/+Am
xPliEHELbFCs70/RkvgHBw/tFRx4NJjgLvCLiwreNjhf1AG1TywuAf+KnE3f3C+oMjwHlQBuZVjj
HPOZqmnO0VAO6ZZ2yUaoDgKBiiWF/ZSHzHyZgoTM61wNFU4+2gDDpzAZWHrro0m+8kMA/VPqqdte
BytANjpbt8Ym7tqhMz8jaI9uKuMP0GiAECkiNbjYrRVJTlJ4cW24kvNOK1pHcpbF49iWZF076Sc2
e3bXB0lPoxQSzeeM2XoGwc3hJxUAQYSX8nNOMp9FVoBzIwgsJbeEWQr2hxMoqJ7astqlyv32fXH/
4xR3+ePg/f/oUMdx0fx9l5/CoeDtDl9+5ucOd//xAXKCLoZqy/OpH/ySH7gwcsLFHMKK7scW/7XD
w39gHreo8kD8YihFX+3wAL8QRrbYkzgE38me/4JtDSXf72EUsjwfj4Y4iqIH98Bi4PHbRTAqwCFJ
DVIXcwwksG02JdHiELLOS02cmMl+Xs9Jp/2TsnCK9KTjgOo2KjRIJeYu7jlR2H8023hpxQtoZkwu
dlljbqc0fJl97zIjwqycmraxG5oNkHinWmdhB3yrG0486HP8zkWXOvNd1D/ORkDKU/CmWiW4CtfA
M+qV8vhOoFW0SsP8tOlYFQ+gbkLhBR1zMBS3UGidN654cSFhCoQ+lzN0zAbut416oEV2mALAw5n9
4kzJBh1TwAgSafwk0MmX6YYGFVynfLstLbtG0xeMGjOcywEMc+DCqxnWItBZuV8kgd8o9x8yOZ91
bADUOgFmmyn4orDBmuYmj+Fq8zWz2V6jqaRNcKVJCsZ6wR7QGLnsRh884+TgeA2uowEI6BROKNZq
9IJKfvD7gK/aEZCt7LtP7TDvbFVe0OwFbaoJrgReBcZE8ag7dSkpvyNT9TA2jG7gH9hEzJ3b2PLi
LO2wEjW3d5Vb8Js6BFiewQYi9nP+teXmwvdhj9nKEHQHmYHZFE5zxHBlrosmzbfj1D6qiQPiRMAB
tqPkoUwAxARuOp5lIMJFXjvsHNDw4KPnPiloAWLYN8BNQlRffAsakqM5JNRrr5egTw0ZrMSKYWsq
DJostrhVbnjsjXmzpqK7Nx6gXKdu/Ae/B4ah4c65cyoGaoglftSNBV8IGnngn0DcmO+Nmed5XfeZ
l8EaNqxkHJS5etEATeEaIWGeQco1A6/2cvIHb/rEC1eNByr7Rq+GbhzXXAV58SPR/m/gWyLV3wNf
/FRkuq/exr7lx37GPvoP/OsYxE0OyNhgsqIG+Xm7s+UKD1DRo15a4iL+6D+3OxxYOAxb0FjEBe7h
Gv+fy33xZkFJA97093bxvzMUQnw7jnwcjFWUjgLpO+TRAgO9jnydnTIH/FG7M5UHCRMU+QT2BPOY
bQY799jp47lXI4+c+mkzZmUQc5NdD21yCXL7fvLsXTuSK2XFZ6+EYCFIxc6fq8dS1teDzXnUZZD8
di1sQ1gwM3Cjphp+1eClE9mAOuwUEGqyLJ5Z5UeGZMVe1e4WAu8GDYBmh9oC7POKneRug2pClhnw
aL5VIW3Wo0r3cOiEubaLhjwg3JOac7DfQLECsx9mYOBpVOu2Ga9TGmBmcr5xXdAvVdNsZnCdIsMn
HVcNA1ltGsEfDSXdwOs6npz5aztUxWYGM1V0LV3BF7cCHjfLFdBNOP65qf+1A+vSh49LGhYGOmgw
n92RAjIe4RKdu2BY9vIGFN3PVdgDTQZPDnbFD6PKURhpubZA506g48brhLNlNHpw847gDNYcqJvv
kr6EFniGZaUJ3Be8bLV2ww6Wx3N1XgAPA4erviz1iDZV+2UMoD8FC5iAB+z3s92MXpmFa0MFPK2d
uwqg3+SyU2H1FlaDE+IjfIsDcE28invQEWdPcDxVPcTNxElvqJyq/ArONiEWdnHh7BdDznGx5vxv
qvRdr7lowv4eMaKn6Q/RAj/yM1osIQEWgvDIp+gZIbt5HS3gmA8NDXRnaP4fWznBDBPuLwBWOAp/
pF5G/3DVD/+B1z5cX/BbkUuhx/5vdGlH8BE6jygDHNQiCEEQbH1n67/q705BCz6FsdOuCW+kRNtx
AsEQJf/kJzeZ1LD/27H67tUL+k9O/drJH6q7P8QovjSVPciWHBYsfYhXo45Q/RgYo9ld9t34FZTA
rbd4wfaLK2wjrMnPUyMEi7o0I3capyO/8ghY/zeeKhcAoc5gzKtgdtSfpG7rN2iSazWUYAmHLWzY
ywBMow5AvgEPGta3qGbAfwgyApt4bW4dAnaQnYHJi0Wc2SX+5x4Z4h7c0bsS4GssS7S3dasQj0S5
AYkDnt50g0ypiJnfqtXIRC4PnBkY3fgVbAo2tiC93iUt4/U6y6Y9MMV1kdGnsnHKl6Fs6DmHf3sZ
l40kEVrf+Ukw9V3USTHvC545156B7b0sF2PvOpX5uijSdk28bowILfS2rWDeX7jmpWD00nEJ6P7N
HZ375zDQ+8HtgzVJFUSzC4cuXHpdNggugqZEHtLXD5XO+13LqnEHrug3h6X+dgBp3k+RORo/3RHp
JaeBO9Rw8hr1CaP8nCLjaQxSOgaG3NQGdxzEq9bpNFjYk7upO6dcJcJHE2RwoKUASzpqk9AFl6hq
Hkw6bEETvIJuB6ySAMbLvoiGFhNmFL27sW3Jl1wEeTQWmq/Q+fKf6748F4jahocxoic4db7TwVLZ
93okkbnR4GYA8Zb4NgIo7p06BOFlXVXmjPauSP+b/UAPDiu5pX/491j2fwrIzvs/9DaWH/sZz75b
08Gdzl/kST9cE39mP+htwPE3gIIIMlOsGn7qZ28DQQuQI7S5kM4d6WzDxdEcEc1FXwQwKKrMf1H5
we3uOLYs7XlY3IEE4y1m5UvEexVbpMyHApbQ+Q42GthOM4Xp6fwIDObChUkvQ360BrUILqgVbtY2
FFHppxANjg9CyF2dNM9+mp6rInuAq+8mULicJwn+g0nB9ur8HSglZ26QPCCbeUyCEIZWpDgQT61a
QWNpnEeP4PMDY36KNsap15rTvpoP1LF93BjylJDgnlfgJ6YCDegiu27hnxGVC88szafyzsxgFcPe
e9BO7JpqD3MOJ4waOGcYUNP5uYVxuaX4UETG850Bt3U9+nC780XyRflOAuabP8C7Iu1XFYB5aBpC
g4otjMmYX4DCBwqtCkGz4qhMM1dA9EAxcmPAosvHfRHYmIGoxV2LyhCVY1BX96DOpJHbo08kvBsQ
6SxaQNXGQ/Talm0VRNh2KkqpsgeBHkykE5Gs506Up00b7qEIOXMYiYBuT1EWDvmuaMm1IAO+fgLm
9AqqDIAcY8Yi6oZfhUBZZ1xkSXUHilCBL2ysRG1Poep96NCEjYDYD1HnZC6uJ91Gbd2QFawCDkkT
xC7K5z77ghI5AM6IqAiOEdCSrhmKuIVnu18056oZ1269GGCF+TcOWcekdRMpEoLMl5QgbBdrkast
2JURaKOH1svibpwJct76Xlb0s5gHd92i9vUVBAQaH4SwhaNRhA542qr/DBwfZedEb6RLbgsJPotp
Du0Ic5sRUR+6kI229jZowC/izUZOLp5vyD9x0V/2pb0IE5AMwXcOQBgbLvu58aJCW9wHRQ4fFl5s
6zn7xKfiGQfwGvTXvVvIZlUPMnaFTSNJsZ10eGLcnoPi3F4EeK5t1k0nSY01TKY0B8U9v1AdVEIo
53cGgoWI1vymTeqHUhfLRyvGnSwcMJ6dkcSzO4JG7DzBo3rXz+I0dObTzqZwjM/CZ5DLX/CYaWTB
/o2VFiwOqwbuY6CT90rfEqft3duu7uG7VfUiewG7t4cjjxc+zamLGgKNCnD18FWKF4uanuFkksK5
cY0Ly5TazKd9i7q8pCqLxp7spHXWnrJn4OutuVYPvrBbqK338NfftKk4hTAhbuD71Xos2+aYga7y
VUj7NfOHzezI0zJILgfcUrHjQglXpjvFxL3ooZyYxEVbFNeidZE/qAk9Tw2KcVhcT0VQrE0F5ZaY
zb1ByhLDfgBIJnRhpXKf0h5+w/Apxvc9ptvUhz1jSV9qtELD3FymLLtlCgzAPDhxFHtIDdz4J7mZ
W2cPuQCIs6H8763149ZakMe/31r4zEvbm7dJ+PJTvy4t+HFTMPMArIBu9rufqoBPNaKXQCqKHPy3
S8uBCgtya8jPYRNM0UT8mYTDRWxJS4BuCx88LzC8/sWldQTyoVnpgeoM5S34TeCuLE/3+sqyNYc/
SqjkDgzDPXK+czN1e9W2cTGNm1ev5o+599vrcQF0kXpjtMWn4fexeA65ZK6l3FF9iYQ0coDTwmhp
vkaQiGp61vanOXtAqrghQfhjg/5d0b/k9a/ArR8T/TX4sSuMML6hxs3lznpZlNsa7NXzpvkWZLAh
A1Wy4RwfdjqH0G1NiqcmuFb8P2fkr4+AQuzdJ1gqk1fZgcLAA5i9sF+as2vSFLdjl+7ef8VLg+W9
SWJDvR7Ch87E6Ukqd1DwrciIiY5NxP3LrvTxvZHL9wdbtsZ7gx1VUr3xeTlBsLxDknOOO+4EOs37
JlUX7w/z59cWgKVKcQxwIn6fU9q7LuSdmBMV+oojpOo+PH9/iO/srLdT+TXG0SnAJxQKyDohp0px
AyRMgvb9KMJbkl55+aUDT3gH7dYy4VHv7NDE+2BvfjTD5Yy+2hieyGAGZEi+qyCjIVOyoyz49sEM
/7z9f83wqDVnfV8PtcBbdDoo0ILidIbwLwKhcO1rcsNJ94QO1grV/xXvyKqAxV89JkCZ+yJ+/0n+
FHBAjwPUiD4lPEyPdg3Ylqi0LQR61J+RAiTVOUnRtWqMfgYt+fH9wY7pbd9PPfhGfPkWIFhAx1gM
jMZhd0qRkft+hwQRagCCz+XNDuTFcu2C+FS52VlJdKz9IgbzZgXRauwh77XBy/uP8ofaAKXGryc5
WuSxgpK7F32+m0OoQWaxfG0L7bUpVhk+ihPO2yJzPjigbxosC03l1ZBHa16NKoDfHYbMGyQhFTyk
UQoY1FVRzYmMIHlf2Tk7wcdH1u/P9U9r/Hrg5V282tBEqrb3Ewzc1C99CP0WSHC5/uqp5oOTc0xX
Ol7fY/oqvvM4pJNFcu8VuzSjMUCu0nuA+dcOAlgoKcMIiXXIHhS6zu/P8U+h9tUc+VE0B1u4tq3A
zqLNUw+YL2xuICmJtfqcdR+N9adI+3qso7Ae5l2mswaz5OOz03+ekgtL/Q/O5UdjHIVZlftM4Wzm
YN9DPzbg/DtPjXA/2BkfjXJ0CtLUoi05YBRI07vhkswA8By5en9pXGRbb26m1+/raOPje5WtRFc8
34k22IHivGnD+d6G+qrCJ/hK1kOcNsa+qCBw687eH/uDM7d4xr7e+g5MWX9M0A9gQA/zjsF34x7d
/sbA3UCQZ78297Dw+fz+sN95E8c32Kspi+WVvDpyuZMLSGOwHfvM7M2A/pZX+bEnEdEUrPFTf+XA
+z4f4L5pjPsEpSJMsGUPIBKRoPL8ywTuHQp/9YPnetNu/T0GiaNj4guvnDOJpVDplWkejbsvlBd3
/MvIG5gD5RHy2x3J2pUPsPr9sT+IuMeUSXxwkJE6XWIDf2jMl7C4mgCFtOxhaF78pPng/HwQ8/CV
g98WAA7dk8FHMLEAClJZHrXu09D76+TDmPenbOHVSgdHKy2C2RrWYqAMDYwOvYyoC+xHEeejwLpY
2r3eT40dhS2WVlaenQWLcZgHFhuaOMoDElWgBfySkUtnOvOqT++v2gcHKDiKdciLYRZlMTBaVNHY
3JHkQqdTNEID21T9drD4jo+3e3/M71Kfd07PMSigdY0joDEoT5zLBkzKBLyKEWJ+xp+5AmEPtsfo
sqOpjNH7/rZG3gQ/nzNTOluf2n0V+LEi3RnNYQLLhkMAOJ9WChao/MIjyd4PIL1K0ZDmyRnkMZGE
BPl/s9tRFC5m0D7MhY5iXgYJnHSXmNfk45nV4qaFaYMqvSnCp5zWxOQxqbqv77+3D+7A49QcFgba
g+AUqvTSbt2Jb8qyjufUv8AXImD9oU/eH+4vmxIVM2oBuG47R3fURPzK9RvM0ZP4Hgfh8GvCxx+7
Yo2/Drp/McZQ06qIzfguJACPWpkPwuyfD/mvBzh6yXyYHBiWYJ/U4hnettuG4hW7MZf/l73zaI4b
ydboL0IHvNkChfJk0UqUNgiSouC9x69/B+rpZqnIqYp+s+2IWUxMD/tWJtLcvOZ8F47Nz69JC/kF
muXI2p8cJopfKgFxVwLJxpNg0F+7lvKX85P5+bd7N3Eyl4bEYzQfGUpev4wpcsfB5FbpTUsrbFk2
Fw7HS+OZ//nR7RSprd6wB8K1WNNBWQOH0e/aMl2cH9IlK/PXO7JSSmFuxSVWhMICkAPqckJqxbqw
Bj59LCJV/vfHOVkE/gAS0FMqBpPd9IlsTyTGxRtN9JejcCM0xNS73URYoUlv/PH1/BDnr/LxoHq3
feJZazpuhJwwRDnXtp2Q3LThdOG9/V+8p3cb8wl9NI25ArBFpq9zLelvFk34Y3LjoTGjbUTzRS6H
hUdcoRzuzg/swrc7deQB9DZGAlZgrTQlhQQ0huo7Tb5wt/yXA+TvoZ067X4pW36hYgUc13agFYSq
8wdZMw9GrPP1wm1UazuabimWkBA+5US9sBE+P0Def8DJ7daOfR0m80UjjUv4iFxnoev131OAkufn
85Ih5fePqCWKEpGLwQX2ipXu03Gk3/slTQaX8JCfniMKNcOUEKENNQs/Ha8WFJXkKOqYUiv3dlbm
L4LKuiYp9OIP1Zc4Kdzz4/p0nbybO20kUsZSz9J5j2uB6GQpzdv8gI1G0/SF+/Tzcb3fpyc7raLA
VMlrDLWeuPTEdleYo22K1t6CjoHc04X1f8ncyTQmOdHeen5O5kJLJ/xe0Ck81Ba4YfZYfz0/hxds
ne61EMFd3Z9P4zF/86Mby38xzbfOkqA6XLD0+Vny7pV82HA8MYxqJp5N6g8thxA33kQZ+sHtiAbx
SDdETeA3WEvR2/khfr5M/v56czr4eFVSlTBBa2L5D+hYVckDrSxOgATQeSufXwUqFXm8TvDJT/t1
rTSGr1RyVOr+wWqot4xXJoVubdTbrbELA4DHt/Kw6LRsXacP541/ehUc2Z6n4OiYFuBFiKKJbSXo
74Yyuav6cnXexKcL5cjEyYUK3UlQagMTo5Rci2N9T7hoE4Talpr3e6uqLrydPz+ej+zNv+doSH47
UTwXcpbkWr8wm+46G+9LaddXL2JnkizfS1q997w7E+zs+ZF+elweWT7Z7UMSJaqgzMC6btf2SPuQ
kLREO6IQ7ryhTxfmkaGTfa7DoosmH0MAqZ1s8tyWyFQVXfhw87/lg5vwbuVUoFUWytFoPCaSCqyr
OhI5mEntG1Ag6JXvKgtKMSriZnDJdZi31Tm78z8/+oDkXYfO0LFriD8US3UlyaJlL98Mk76qCmWb
eeOL5A1LEQxdSXdf3ECy/J8m+NR1HlNAf2rABCsDpQTeNZxEAr+XXiKfRpiOJnjenEcD1aQyNinY
CNcdAgGZhVZe1jyO4bRP6W0H8UPFpU5DX4b7WVz4tp+fqUe2T3Yl3KBBH1p2JTAnrvVtpgKXHSny
pLwCdKoNispttSXzvD4/tZ9vkjkdKaPASD3h74MWOrREMwAW6zQFF8Z1IbxV4yEvp+V5O78YFR+X
0buhk9ml/rSn8p5lVLvxNSrDy2RZXwn2y93rXra/EX1wckewfXs/LiyHaKUt2f7WcigZtmEYbMU1
tb0+8vG+bV2Ygs+37/svOzl0fUtg0ucTMamj22IMr5XU3/u1+Xh+Bj49eFHR41qB4SHO3S/Hyyuu
9LLsfSbAzG789HUMv3v9A9wsR5Q35y1J80f7MNdHpk7O3MnvQB9S5LgOq2WavFLeC8HFzf17Q+gd
UY/tCEpLX0qO0BXLYAKha/mL87/h0mhPDt+kMhufhhI2U/jYD6tQ31XN9cjibi6di/O/6dxgT07f
bDLRlo7YtnLX0CUGkSy+MaM99eP2ILZORpXI+aF9ul7eZ/c0LJt1dNcPMQazEVJf1JFozqoHCYGP
/83OSbgOxe/eCLp5YG26mWRkpWt/2fnypRv6wgSexlTHpPaEoWb9BzGwJA/h3qjdWSKXS+5DmfYO
ZTAsBOUxMqwF07ILpJwbDo5pqKA71sQ7tUdcNPXJdhkXpuDT0+loqk8Ojaq06swXWcgyAH6lfQgB
ZUW6SDvTJZD4pUk4OQRyDEDSZhIMK0SX9QAD0pY8dQHA3VYQ3wqbS9fNpWV0ch6oqSJo8ohFP39N
qlWpP6m9htBD4E7So5L/qCn9Hbt7i0JBcaLB51polzHUyvOL7NK4T46KVpooFo9x5hsE33z9QR6R
l1hLxStihT1NHuetXfiep3FuwJ/e2BWMuUie0xmpmN01PexphOvOG7owrNNQd1DKSVX9WtNidm2M
FXw2z3QqOta8qFr6KoFEmcbP80Y/9dDmTttZCpAs+HwsHzkQ3gRQSUgZnSg9EJ+tCAWY25pCa8Ha
K9Eu/Hre3OdOw5G9091RyXVfWhlOg7+vyy+Z9A3JMwlxPzpcrP7ehFySX7D5+by+D/Fk0dIXk7QC
9J21ou5bs6LqLgFaWC8Gudp1HuzU1/NjvGTvZHkaVVz0+XwGZgiu6WINUVVbZgVCcPJco7n0hksV
PZ8/WN5n9Ve389FXhJ+H0mCLSepKF3UUu0bUbgZZW0zhdNdZCJR29DFII6I7GTKI0s35EUvzkD7e
Z39PMf0Yv60i3bcCMWuZYt3qF5Rl3gmeRh2td5sqv9QfhwN+6UOD6I5aNodw5tf1ZrzKtfGQApdH
mPQKsuVGp4Powvr+fGoMyquR/JmlfE+uWs2MFaU3Eg4L7c0KfmjC90Lf6vLBGr960ZeGXSXQB6QO
X85Pyacz8m72FBzS4qFNAU2M62Z8E/IbuC+iXtthuEQG/MIQPz2Uj0yd3LkS1FnN75n8zoMTGZpu
qElXZpzenh/R5zUsR3ZOjwqfOueyZ0hWSGExYrXDrgLEOQBO7PVbUTyEyVOpf6WB3VX9azWkAzi7
cLdeGurJVg6LDHi6wsdUEmUr0y3CFVf0D+cHOh9BHxbz0ThP929DiMWKMGLm/mNJX0ohJRe83Uvj
mI+Qo/0K/cLwu4JT0ByKO68UKZk1XKRiLpi5NJKTtZ9Csi6A+JP07rtdEzVXpRpvz0/Wp4fd+2Rp
J1ngqmgGBRHQ2URqd3ECK4YWHkIleJjx91pdnzd3aTufcoECi3r5LGMRSvQq+p62L9nBaSV/DYZ0
yQFDGXaza/qcpATijd10qUJv3kxnFscvWNjRl/MCn6WnYV+D52TIeysG9fsAB74UV5Q+m8qz1zyb
pfs/DnteUEdmMyvxB8VnjxvmOgXspd1nCsViyA+Ys8berdVktlR+CUvvwhK6NOH6ya4fG7HLgLRy
kJVPLRKeyZNkoRn6jKKHbUjNIhGSRdwu2/jb+SFfOEBPKUc5jbZNI7KwIoUm0RTdAmQ5rDy9sZRx
NYrN//hh9ZMZLuQGZrfKDKcW7eZR/Q3SlgNFbVWMmmsqA9env6SM1Rljk5aI/O78cD9//75vpNOn
dpYkgpc1EKyAWFIvc1OHizEmZFQ/6dJ3EWXcSlhpE9pXS15ti1F/Pm9/PgrOrOsZvHK8wCjQUUHB
sq5lfddoyyR5GCokkIIvpTkC0Mzd2liet3jhcDplkUJtNVUPyuu66b7SK0IR+oV78WMb+FzzczSl
J8efQbVElHRMaTzehsXPTHjwiy9h8aRI25H0stehE6Rvk/R+9O8ztENE9eAHjy0oOlgJl54Rnx6U
JrLbFtQZerNO9lGuGGI5TfwYlDOdoSy/mGJEK1C30rtyCeTbHQfz/3NbHpmcv8DRoeHXot5o6byF
/GEZ0Hk4KbtJuJRK/NylPzJzsnOEWROm9TFTCtUVa9YFdQEvetwKerhr2bWa0K2tERGbMVmdX0Pz
ff9h1R6ZPvEHkPozWq9lUvs4XQXdTvefU+iVuTpcOIA/MUTnhDU37CK2TuHH71OJ56v5OUUDa6Hc
pPrXnqu02cjmhTNPlj+OB+7LTNZDVZCeixMzYSGMKZoquHLL/Fl6CvbtttgkB2up7ZtNs7O+q/fF
elpNP8v78mAuq8fxwgsfKvrHn0BTo47KPNp1lEaf/oRII3Iu5D4FV0NTrpMuWnZS81MY6RxEUjBw
867vOR/kp7A3rpPC30kWTWKzhhkq69WLlTFFpp48TGO37wdAL5IP6hRw/LfQnxKIkw16jH771FWz
ttDU3wp5Sz9r2HU7xQBVjqDOkupF8IwJcuP6gFxAlo1U97cjQUCRpgjI2q5ZFclKykReFEKMlIPy
M/CUnVVw64s0ST0XU5xtQwTfm17T7DEIUQczYhBmWr7sJnQ30k5vbWkU7wLEUFCAkAsI162wEHyk
zEt5gnczhHgTMvDBokILACqEljp1ZfaLPp8JN2h6WFV6RfXDMmtoPgb3Hhc6l2JEtUcnbmgBm4Uo
tWvLF1Cp6K6QBcxssbVuzTK+piSQx2B9G8vVJpX6r7WWreokrReZDl2vCXbJxGPIGodVLI43uSyu
et4pWVY9F0N+RS/9ugzahdFLz3Ph0ZjHyClFmmuAY6BFa1pPWkhRJfeYADansqybsBluYe8+ZnWy
bGjGc6o0uIJv+DMKEqjvNKS7TW+usy47QH1DXkr/os0K2Sbt5GDDeTNFawooV2aN0IDayhtVnJZm
irBCkG59aVZ4U5+N0hp3JFNco7V4X0nhApxQSfFzKHGx1fVySsODqVV7rzdiNyvr+8CyUrdGhcvX
TDdVxZWQojXjFw+6ErI0kg4ezUy5aM2NVwyPeRa8WpIh2PGQSLYqew9e4f+Iy/SxjZJZc6gTVmXX
fxtFbVpYA8omYtFuhC51gE1cB3oHOaN0LLn9nmndwg87+i57I+Xrobw8RdbBGsgFU8EDz1BehOK4
MhIaZZFVUBrf9UqVTTBe5SEz3WjPyMi+UmT5lufGIg7aTTYlV2bdX+lKe9OM0i5TqrdJGi3bMNPn
VgLSY+oIQeJhxDn1Wo2iOMMYoqpuraus3FdBe4uLs9NKGmyRYoHLuuwK3y1Vc9m1HdD7rr1W5Y5O
cKqWws3U0Iki6ihA9GbCIIJU+Kn3hJQ1wqMa/58crfa4mL7RcXyXxEFo57q5HQd6gktlFv87aMgT
1H76FGveN3jxyUauxGFjZfpeok9nlIHUivq9FOqHJifWZtIRX2XNeqjyfhOr7avXFst+zAO7GvUD
tPqdVUlfgtg7FJJ+LQ4DMNLqpmWnILhyFU/NTiPhp7T5sy5GiFaqCzlTryPd2ESev6Ol+nssq2sz
DpdTlyzgRth1ZTktzZpt8WDNajsRDY557N3S90qBmOGVtkGDjJj0B1Bz6wZidCXIjwgKb5GBt3vl
pRJDZIDiJ2i9Bzxo6CiTdC2o01VgGgP73nodNGmZDerSKukF1SppJcHwjgN/64dQSQxhgQ72tjO1
LRWNzkQzbsygg9q6VcR6XzSqq/mlY0rZl5ZMbdPNmoHRCr7XTQKVbSo80C6UNlfNhi4CN679bWaU
0BiMtYeGgI9OgaKzo0K9usvj5KqXhSc0sVAqMb6gp+gmeuL6ssFayR+rwXtrs2aRprPqYOXQTLIa
FdEdgHyVgb5Fhu1qMEbgBdabFForTqCb3EfTcjQ2SSM55uAhsISSgYb8FIp0ShxvrDr4bnTpUuja
Ze5Vqzzk32np2wH5m6li8IoB6ik7qBbHYkCAQch2nM5bIdV3SEE+JKHq0GW70Go0BBCoXGhqtfDJ
mOh6sc5941ZNu30mpQ9RqziTrF0BSHWRA9uVVbfR0FlUkuw6nKqrCFKyPGvZlt6eWlaKAJt1k1o7
GBT4RvF1QXSjbooKArl1WxTlbSwZi0BOV3mi2bJEo7hYXSFHdN+3lCEn0XhFY8SyHMQrqeoOUxk+
TfX0VRYJyhf1zg+l+6LMVjlR+UIIryVjfM49pjvTF/zt1qvllaEIey/Xn6PG/2n0ynpSxGXa1o5I
BiocoKqGyaJq09VUjMuqnXZJrP7wK28jsIVoczJsLROvwY8tRTNf17qJDMdwnybZa9nrdMRZow1D
yZVAZQga3br6sCgazdbVwG2ScIGW8UIvohuiiUtr8jeGMnEv1AVyUDnkTuA+YNOaXj3Uqb8NI1jt
KqIibbQKaP1N5NyR5eGOBid3yk3H0JslXDEXoO9BEt8ysdi0SFJmlb/zzOox9CFdRMqyFov7wK8X
tZkuamNg1/ZuIMR78uRQiFJ0XjppbSTlc5AxIpJxpd7rZOes+0EsXU/sEdTO232iJI+lFnyTo3LZ
o+Ttjarbtfld1qAZIg57nG231xG20/VlotI4PjaOXwVOnIlLy4cBF5lMbhGg7OeRxWndNBBfhEGh
Sr8YtlSDb7Wy2plS/wXNtoWYR3dBGC0gYTwJkbGeUIitR/N7E9Gxn3Le6cFBwK9DaEY61Eib2ZoX
vEKXq64jGcp4QQd36PENKcnbg59Dw7Tzr7O8R/7DClLHSyZxZ4i5uJBS7wpf9ybrrH41RJBHepEs
Et/JVORNoMfpJtO9RV1JTiga0S4NZWBsWWzrAVfTOD5lSLatEg1cAXCtfO8lrchNJtEN/jQqcnUb
gGP7TwT0X4zZTO//7y3RdvX842de/fjYFD3/3XtTNJxRERFvVMNBu885l3eSh0rJM1oZFloIKG/j
KL9zzCR2Jv8brA4wonPM5K+maOuPWe4C59kC4EOr3z8iE/3p8P/+wBEVFo+hQ8SXFWiTv787/F6q
JE7xaB3H5tdMN8OHDpU86Au+udbxztReN5YtvQheKR0CL4b00JjwrF0/bR/J1tl60XibzFeb5czF
AaxPZQZ9d0lkPAR6Py5TI+fZFEhwZUTxfmr7n+qQXSNM4IoIv5TBXTwrRwl5tyEPhrxmBMZxylFK
PSRQxv3AczLLdKZBfmyM8glezaomV98nRmfH4aq2EtvM8y1FRtyAFfEU1A6HgykiTmTt4qZeVWhv
GleDqC7E6p7ILpunXgSo6ASj4fhjvPJSeL/jt47jtC7uKUfnipVQmxztoqjZ58Fy7H4OXu8intMt
Iq+TwPGoiJ71BMamwhU77SHMCidK7oVmWIBlRlHowOm74M63gVYd8MCcWCMJ70/BIkPaqsHds7Om
5bD/ik6VowrPdR8tkQNdi8KzpQ6HUEbPwXopwRB3ebI0UT+lQd6OkmJZSsW96SW25HvrCj+VNlM7
84St1HwpOOmz8WkwCJp3/bLoykOVXUvmPkAlN6RlQfYVFHOS66b6kvv+yu+XedNuDUueZVGJT4CG
sxH0SyvFtEv9Te2lhZCqK16mrlzB6jBtSLZr3wwcpJPcOg0fG+QS60p2uYRXrW6QbRG31HjyDDHC
h3Hq9vEAz87TF+V86xDNN7zNQFDdQ/hNtspF6ZlriWVi9IM7qvVKEhFYgw2aBsZOKeWtVpg3FGMs
6No/dMUPI8WBTLY59wBnO18ocOqohY2ib1NddSTeTkqhsILSfdVVS0lQkM1ikYbZSzEU4FPU2o54
HjhZLaOhOyXrqoCaOaChJVg/2yH6yuK7qvTQreE7hYJ/3w0G5SI/O+Et1UwUPe4rxBEMq2BDLAtE
eis0vATf0fNNy3tPE24A/juTbmIzXrUmEXHE5+ApFfH3ycSZpNojEgnKNBtTOcBKQLoTQcDyodWu
QN84HbXaWQnIqnFKvDmEsJV2TYk4LUG3pUUzX7A165+hBkcAaVNpm2cPQX3I0r3SaDNYHV/2JrOM
RWRcozrNBF3VvD795DEuX8Qeysx0U6Ff1ZiHFGXqjoKq4oc+/ogJbPfmti1+eDwb5LBcmNI2wM3x
yet13beIxs8oQ4zZutbmVG7i+DqCmtnjoLptsUdWjStdJF792rMVvHqXppZTgo0BCGGLZeVoarJV
+d/6ARXmkJUor8vaVfBLM+gjgp6tOmXblOJCCNHbDQaAQJIbtZ3d6smiS9tNMgg3BXcnBQjRVwls
SdJYLrGMm0BrF50abipBW1ggZ2lIm+k2Y0kOCeBNqOeEOtNrv/jSzK9jKFhGt2hSwy3SrVg/j8FO
Lr1DXW17egjN7GpKC1sxwm3jP+uGttVawPaisQ7UZpfmX0HVrFS1t8tEcjXvNYpfpULZqemLINR4
pxa80+AqaXnuNW7oUSQuSvu+RpTRjG+CZNrDNbcziD0F5B50J8sd2zYTGgev/NGAhhr0yas+Q34Q
bv02mdEtHJhNUDZv08wA6oPe8bIytSkloqTeL10ZUNDY5RCDZPFek4QlsuSwm4EKDe1cYiRSOZb3
ayEfnR78UAGGKFWmFcUtewk9R4A2JKtVni658TRz0boZYNTL0qoscoccn2MEb2PKg14MnA6JVFA0
2bchBf+ofFU5fKeh+FJF6tfGl1Btzr7GUkjPxCtY6kOYqz9koEmW0VBgVcyRFP2W/odlkI67UEWm
d4weEKXfTqNoIwCwofDW1nzjTsmDFVp3i1+3879uypxx/u9uihM8VzRaNG+f+Cn84V9+ivQHKDHo
Acpc8Sj9woq9+ylABQhO4q2ov3Dqf/spsvEHwDNZg5aAUoSOj/Pup+h/QKFmg6FchUqXoZn/BN7y
i5hy5KZoM7gM4hmhS00ibniaFQtb0UQ5IpNXKJw02mMeWOFL4COv+LUS6/GLbvoUF3u1UKdOW4qU
QeRd6y2QwUsbJ/+FXe/0MocAHICa8thfGWFyEvq2iBDV3pi0lRXn00Lw0mkRmmjlrZMYppAp3whB
gXi16imrMs1fMr8CkKG3VBTLBNa4nguEduQ/yx3+Xapz3ciZpZp8xvmc/+ZolZrciajrzPVE1Ise
e9NkPmCkq/xDuDt/r9Ff5F8FkIgG/QdRgPlvfveliYP/B6Wn/ZM1+qvV4n2NmnNYHU8dGB5rdP4Z
J9mgJjJDtZQhDLEMDUQa0ftL/XrYiENw6+cx/NlJcvyp0Z/NJBZ2ctv0m9Y3PEfNvc7xA/Nb31n3
nSika01X+4VeVqNt1XWL06VPvi1aQbLUSvVn3xTNBtcwhcnYhnmj2FOXGYQoLOVF9Qf9sUqTdtkN
IhRIfQi+wGQChTHAO7gpCr9fFzhps4y44RCfSQ9WX47X6WDKO12rhmUkh8VjFcjFvd4i8kFsuXLg
uQm73FCXlP+8SbNbrxdsNQWJBSqy+2hyLWJzqhtMFAPYQ2Sk5bLM6WBd9KlZ9st0fh+gFthD+xSo
r3DDnhh9I6E/YKBA9YDMp/lnIv/fPTTXPp3ZQ3mShG/Vx8N+/rO/tpH4hwk70qTcmi10zOmS/uCI
t0hA8cT8Ha0t639oksEnMoHZovo8Xzp/bSPtD444ZB95jfJq5ab4J9vInPM/79sIuS6Z32VRKwir
ixepyFY+TipS3TvGteQPKyJeSfRI8VFYrb3IzOufU1YOX8eWt+RezsJoQ0jze+6jCwp5v1AfEq8Q
NdrTrdg3kJ3EVU5jBYB9WuRNtCkToXlgi1T7QcUjXfamFEf3RaqEN3msyAERV98O2mpIF6YwmSuo
+JqPjjSvPV/e5G2pfCnLVOh4eFGOtijMWa4e6IW5UMRQu+6NKgU3mQtp7+ieNL5qY5EfApCFDlS0
vnD9ZFKbtUK0ZivFYrVBh9C7Ldt4XNQlvmpZiMaqUMX+qptiaVmKSrFWswGVSRGONmHw7GESqVT3
4mk3daaygGLf7SpP6jO3GaNH3Re/WEZ91xTmnRbktJ2I8RJD9cYK9MEWejWBINt6jhElpTsqyooA
rbLpg+QqaKIHr0uetcCzR7N9qdWQ13mpvVXAcJdx57uiJ+4TwFXEwutrsFRh869z9h+sHsv77G5t
05fw+ZPtyt/9tV3lP9gJGsodM6T6z8vt3TeDkA8en0zqf5B77yGkGUw/y8KhijHfTe/71foDZ42Y
FCJINM4ZdLL+A64ert7vG5akAj9BUkxx1lc0EAf8fcOWQFkH3Y/TNVA2AJVyN/A4hHQ1NM1P4pIv
9YyzRDR638G3ZKeuI1V+HuFeljMAUylUNNq7AZRsSS9aUX/NO/O+mbGZIfzMZAZpthA1Wygd/GMe
N/Cjdmip1StTj26FjkD0qEo3mR7dNQrpqMLXbJ8koeoVyQJY+J3QVAiXqwYqxqnsmOoowMHM4UK3
4yybqCFZkeUO56Tte77gtLUGAL905k1p9kqySqzwrjWRWFTjZtug62MbYXs1Kin/Rdl3Vjzx3o9c
0yqbBSoe10MeyhQNEnFOQ9XOIlK5goGCcRf9EEr/4OUiSY5BWSWNR6YkMurHwotRWoaVb2uJIRGg
r6tbH+k11+sCfoSqhyvBiGun0Chw6CvZp5ijkHJGr42IBHTimxomTXWVKX52gziXRdiFlEALCodm
aEl5DnXvdgLLuGiM8CAPNWGuroTb21RuKatuAbmjz3j3QkIn9SqViFZP63YkBDhVtJDwVMvbcaX5
1j1JTdXxc31Z1vB+qMmtbTXInwcx+pGUZUxkjcKXNNYdqTTrlR9OsQ3H5bs6VC9kOFaK1V414laq
/KXRwV4LgjlMKD/4ofwma/Ja0FQ6uMWEPIk53U0JwQA11e97oVqpVhmtvCh5CHONynU5eSYC9toQ
AcC/X5RyeFdHke5WVbwr8NdtLU9XIqrb6HhN21EW9kZAaE4YzV0rsb08GreRoLNJVB7aJHz2Yl7D
cU3MZAoEf0F6n65dofuC3jFRkD5XXc8fvtZ4XolSZ+gvldqyVoZ7fySW2MtxvRwbWXVUqVibqRcv
aq151Pt2kYLzXfZhNjiWr6TUhjdOoOtPQ4RXBF55zkbtTDV4LccoIQQxQoMtCNm34ibp04Nc5IWN
pMJK9a110pdivjLFvvuhC2LRrUg1VHbdTPaQq+V1IYiAzsYhNL9UYgFHVayVxThm2iPqsN0qqYKn
CUbxovaq72i3bNByZIGp9JnGN7nHVoyTbFlMqmz3tXFbhI1uozZ6Qznia2zob4Jab8G33qOM8qWo
1UOTxrHdDdDfM4nih6QcD1LZ33ZT/aIhMdrUQrccxMa1yvzN1GeUDrTZxTDqteMDdrDR+lnGQULC
Bgczt9JZ0ipfTG0RrVshyPcmpNtfZ+u/LuEMTf3vl8zi7T5v8k+uGP7qryvm1/Mf2jgNjzoYlt+e
VZoB7QBZYwu5KQm37y/cOFJqKs2RvKgQaeEuIX/xl0c4xwXwFlFboRBthtj8kxtmtvG7R0joAdmW
Wc5NRjTSmivfjsrMIikwkskiDp1HuFwECXnfl38+9ks0qOxg6rwn0+uoMSnFW13Lw2I9qtQK7QKk
IlCiNeVpU7LydDiQGQ4PMlB5vhs7I531Q0xvcnUdcJb6K1zw75qjDB8VMdyAM2suHMK3T5Ycf/TX
kpP/QEWWgjfJ5Mnw+zNEgVaP6g9JM5j1+i/xn78W3ey70GNhgVrA4TB+z4zxvDcUUTTQ3ZuTZ/9o
0X1ofMYvmtU6dAkNNhhMJ6/5rNBKdCQG9CaM+rZt20ONKNfQkHuSh8FV5fLKNFJckHFbiurmaK5u
/nzsHIt3sN+OF/xsEHge+UJ2jqay8H9f8FKQSOQ/6hysJHkOBeTOlW8u/x82eO2RkMdT5T+/2wiR
XZXFrM/X+G7cptaqk1IH9e0/Hfv/ygL+dChHZk7yi8BmgzytMaNO3l0e1o+xCn01ii+MhnX0ccaO
zJz4oHQ4oDdadvm6kQQQ4aITCgMdbZYTRYFzfuI+1I3PH+fIFI718WmkeAXGZlOjqjmiX9sJFR5j
f1OWDx31POeNcYaeHdf8z4+OvjKWhWmgnImy/Oa7WtPrnfqZe97Gpbk7WW2G2qA5lzAglfq/vPKc
InU95VGSv56386FA+WTiTirAk7rvBUvBTi4Z12EcPKph7qoSCd3MWutNj5zl6F8oN5U/HRyhwjlo
geznacFr7ZeBBFU+nwtefzbL2jVX0lJ1tDWL3g6vLEdf+PZL4LwNTnKdPJNW2xa34+7Sz/h4mvDU
Qg1cVglcmuhO//4d2xDpdJnM+rrfeivZ7V78R/lmuMstu36qXNJS9k9rPRQ2DMJrsnT97fmpP7lB
OVAwrxuEVlDwFrnkfzePInzLNszztWXZSuqobraj0mrcF9+zx/OWPlYY/27qFD8+VkatNBWmVCQB
bXFrXsm3tWvYqCa65Sp1/Ktspxd250R3wir/1t2iSHRh03zcob+NVjmZbBMVsU5u+Alj+rNuW0Rt
yIjV3+XguSwudCd9XF6/mzo5d3S1yuVqNiX1VBVQmlc3utOQIoi9C8fOx5Pgd0snx06nKX5QFPMn
HPGd26fWeDj/5T52M8xfzkBbj4cWErmnDSqKnBh+X6fsT7d1ohsBhY9r5SulxcNd+DBcN4/mXbUM
NtZBdy+2GH48G363Pc/z0TmHRl2sJB62K3/R6oMjC+hjUDLilbdtaC3Jtl5YI/Kn8wlnXaT4RSal
cDKfwC3SvBnDfL2r9pNsK7Id1rbsSvZgv+VP7bJxzdd2X9nh62h7jun+pLbNubB6Pl6OjProN5yc
7pE8lVI9JPk6oyxB7zSnCB+EqV+c/7DyPJSjiOqfu//IzMkBPzaDWBlJxH64LRnMqr3uXUKP9sH2
9/CP22W9kLb9QnJlex0vs1Wy0i78hM8GSlpxjhHJxBx+dXgcfV7VrMpcH4VsbY6la1TTHQWkmyhM
L8znZ7vx2MzJxs9zVfPNwmcVBcGuySu3St/KUnDlS823l8Zzsu1rTaibWA5w0Gax5MAW6ydRv8AY
+ijgxn48Hs3J6hDAdvRjyqQ9HaIFB6dbO9byalik9oyEeU1Xq3H5PH0vKPv452cN2r6m9X/snUeT
4zi2hX8RJ0jQb+kkymZKaWvDSFMFWoDe/fp3WNOvS8nUiNGznln1dHQVBMJdXJz7nenhVkYgOvuO
fTFWkdSmbE1kptjAi8GORsvlhSX47SMaIl4TJi0biqf/fQG4XPM8kQTUU+psregHUD3spC68Uvun
XZk1MttYIhQ68Lgz2VrWj1q971qy0AtpqRuzsKZrG2QlVbRQjgx0iMLtsfcH4ksyDusS7kNt+Ux6
ycmHAFZzrwpEzMnwGdPRG1NjYZlNM+LLQp91dnZRzrNKgU0TfgqrXyTs0QB9LfT2amenGwPuYMgg
z8lIXKkzKWIYs7Q/4xYDWzmI05uFMft2fk/dgLXqdOtXdIgJvx4GspBkyDRrbD1A9a01HkteCH8t
UwH68KVz4Epx2dQYLo7IXAMmPA+NyiAORr0gbF1kP2OUvFbDIwTShzrpDxF0vjmkW306+MP4cXtX
vv4l/253Hie1uBa3cYh2h6K2zNjr1M6GGPl2I1e4CV96920ljwZlRi8zuKPKLtLcTiORQ1cTlE7o
GxWVzXgEcorykEu9XUKuyDWy0SLEoRCmdbQ9EQU6qYr+W9/wHy+FV+cp4gxklZA7+haUd5kYtb2G
vssJtzQBjtAI/m/3/HfPvq0Fk2CuEhnOn/NnxMYw+pYWA1sj53qIwOo5g5LWWj8efg6ypR50O1jD
oNHWjrH1iYc/wMy8z0fisMoyPp4P527h95BrkxqSXRk6cEgD4Cj3dVLnA/RYSteAj1haw+aFbHqH
uOo22aTHZB88FC/qqnPgnGWhVsxCJYVlrvINqjY8cqgWjskrnx9gVkwMQ8ObDab9158SyEPKkYdm
6wa0GRp9ZPrp9se/Nu0uW1BmyQUTmFRTL9ECvI9szY4dyGyd3jIjL3DuOiewUG3NffgAL8z3bwEA
uKSQhiCcMwFoVec4QAqJhCgHEdpFzxgJrHCy6kMIW9IlJMqV8fzSFPn6EdVOb1DTFDJwZ6P7hCqO
CR5mWOJ5qvRG0Fpvf9GljslfW8tzFRqlMGFrQXQ6ltoaXpkrHrp4NF5oiXy7qs6+4TR7LmI1AcYx
g9zEOER2mZue0wfNjqgNeo7gVh7kt8Qy/WLL7HQd/ij39cc/t0HCGJqoglUNHbHiJP+5bF9KVbGL
UrSvyzGsBUNb7RfSa98DYnQRYQdKIKDYQRZxNj1z0tM+LvoMfgzQZNtAx0NuY6yYEziBl+xcPOgB
gdtYkY9qy1XwAWSydR/YS+fcPLE9vZx++R2zURWzvkjaZsigtHfhlpn7lXVM7mvBhsZ6pViN07tx
BUm8FTzHVvv4j8O8WfOzkU6lAkpUBZ8hTXZlgEWC7MDtabvYw1lwlILVT/UaPazceofyH9tH8Yvh
Kc7uLXQDt1qb/rDmnuAvfdvfW8xs///ybWebHC4iRicYaDnCY4FbbaTYMmxE657a2LUP8/Ttu/kx
thZ0/bgKUcvXnNrt3XANzTG9wyyHqtgOc1daMWvw6tQSvdJCNtYy3KVA+AqaAfMAmWYCI2oDbvdT
rHCx5CDnautw7DAQZPeDb6bUlKite7t3mQvXZUdzbw/Ltb3rsr1ZUBxCRafp4KmsUauG13K8Uitg
AuL6+89ps187NhsEvS47DD8aUvDWWJrwQi2PXISvfPd0u0fTX/RttC++4Ox0DaFACPqqztZD6qMo
ytIkqLrvWbvRzA3M4hem9cL3m19nh1Fp5WZoszUv0kOXo5y6KnZRX27GqYa9+ksc8x/DpYXO/eYm
XUyPImAC3mnRXB9oHhuYo5sMSqNtB9YYB4I1yZZuTUsdnE1IebozRXKTrYO8glnnoK9FnmxZmRxw
KzyH6dKOfC0iwU0Q6jEJ9ApkKL8ugCDOoVAsq2wtobAh0Q9S3C3cKa6E23jZ/LuFb0MmhCaHn0wG
7rH2rArsQyS9y5FOuz0Pr4CyMeMhrdH06VVLnTsjd6XGCU3ybP3En0aHeaFTup0D4YUdWv9FsAPw
N8TXCCcnnMPXj8bg3YvCGjQVo5QHNYQ/u5buO4bSLOWf2y2KePP409RsfAahD0OZlhCmducYlbaR
D72cmMI1eGFlXRumi4bmV78M5rEpQP6YePyn3KEcoP6QlQUSz7XJdtnG7NTNa8TFrCvQmeA9Tvby
Imfxanxx2cLsYC16g1FQALJ1ZzeuiaxicY/Km9qqHlFLYusragMi4Uj2c+Pk1mPMbRQFGf/FHn/5
G2ZLuFDBuigqfEm18GN+P6J6zKjWQnSX0R+35/y12PSypdlpMtIxY4nMsrWehV6QZG7cy049yHuu
6guR29V44rKtWTwxUAFkgAi9EtZhY49ehSnyDP5Dv1VXsHXZcF/z4A28Uj4GB4ZAC1TY7yk5REyX
zc+WXMPoyKQcA1t66rHRneppcLVNsNG3sRft2TraQfHMrfjU+ardHsqNsLDml+bubCGKUcFoJaH/
sNeYtEbwIecLTVy7OV92cp4Zl7QqT4UObWzTh+wwwNQQ1d6OaZnW8Cs6aPfBij8qbrUKj9on6CXu
vXqnbYfdcFa8CPwSv/0FJON/cWW9+PC/oTIXR2DdaCVve/wmTnKrUu5itVro9tLYTiKYyyCsFcUg
BFM9W5M9xXAqPjvGxx5CfuAK/Pj+ft86ygq5XkKt8a7ZhpvIu72Ofr9FzoMYiDJlKB5Q20B+v2Ve
dJJnsaTWChbScB/vug0qUaWPzhXdH6PF7VVtPSNRZIdIBZ9+7g54qbR2EDFa+RbIFEvzopdwYQu5
ehW8/EGz1RYldBC0lCMu3UkoWIXfw16GGI7a9Ge5ZWsXTAXbOA3PiQeVWv/YQ4m59HA6bca3vsls
xbUGyihRcoZtzOJvULuRTe3IDy8A94zvuboSO/sjtQ7JK7HqPW6j3IYHIgz/VreHZhr7G79inqxL
hQlymGJuJPlnzF7gMtoZC7vo95fq33vL36M/T9XRGmW7CO6ydeMmW+GYbXqfnsKPyDq5NLD0X41H
V9JK29HNya0CC3q5ffLcylb6cruv8vX9/M8PIV8XgkYh5syFLFvXzt7rt+Yh2oTHco1T6mn02Tp/
Rr33eXhMVq/MypzmrnyLEltZdzt1H3iapzEHSkrgYH6OsfVkLizT6xvgnx83O7yDCKIdXcdX0uhD
VG10aBBvd/8/HN5/Wph+wcUqVMQolMXf44DDu3WC1Q/iohTy1f9oHHTxbYNKWUu0Wje2qu3Sqb04
C2ZLLsY+V9Me/Ws9VAOnqCa25C3dVHg9p1bp1u5j9xzvY7fwFO+grxq8Be9e3xrr6fZXuJrBu1j6
8xxhRItGKCl+B38jqRUf6X1k95veFdelo79C5r0Kn1M3sfTd7YavTz7k71BpAuHT/IHBkEFERIEr
Dnise6upCqfPFK8ZWWnBwXgJ9L3U2mys9WKArHFEL4GW2gtS6QwCXTdAi2bqwgF2fQf506/Z6UKj
rEspTadgXfRSldhanrva0uq4gtCdApQ/zUwdvpi8WtIQsyFopvTM6SAL7a2+7gHudRQngLL8Y3xS
F5L5V3sGZQsSKpqEwp3ZjO3TigW1GSMkkR5kegc5pW1GC21MYc23/feijdkpMIjlkIC/inEyYZGZ
E/m+blXgXOCgUFTE7w3FDuF0H1fywsY//fhbDc/irXJQNFgb4HvWZunirgWn5YNRr7koOXEuLcyR
q3vbn17O05Imyk6jLMCX1CX2DFPXwiJd+nh7fUlXp/xFI7P0Kq05iBMteqSNALIZsoKnISW18i5e
R+AbpR3zhRjYMAOo3VzoT5WhH7u8h+lk8BIVkY+599SDwXv7Zy39qtmZI0WSEDdT16NU407Pxq1q
Tni5TnTTkL3ebuxqvs28+AazQ6TLQ3GU+XTCeY3bFRbfY2fJ30E3cqHlY3aVu7J/u83vYwuJJbQe
qA+V8fLye1guFmY20EztDXQwVITcSsd826nCgmLg+0f82sZsJWrVIPAQsLx1wn4qKK3skMUEyIum
S6/AS52ZLcc4htOZQaJsjUJCm7avuWksnMLf193XrszWXYrSapOH+FxlNdhMGfyWCNsow+UOPLlC
XbjXLfTndxx8MThUEniQNKhgqhj4J0G5C4fm4fb4T5/k60bypUO/bx8XTZhNUms5wBQTsmWfEvOg
FJ2bJKguYgFK0TkgUsFCr642iZJnZXpHQTpq/g0lvTN5gunQBpteh+KRqivdjIHWedSrzKJLjoXf
BWQApYp/GpzvX4Ugq2Wgo0HaPXapVfqpY3RW8IrqIV9Zp6fgQ/TEXdFa/abxw4Xeonb12ie+aH62
s6lhyE2Q9TD9qWK4OkHxWAHIn6RFxarV5B8gE6kHLTMj0CaL2JKNkqNwGoxJpsZuG/HCGpkRr1JB
pStzgDEbj+RDiv9ZzAz2I02PZdQCFMPTtc7xAdWu2bcFgKW1yBERYuEfc1q9l7qOB9yBH9M+Hi2J
61sWVw880L0ImBO8tyqrJCkFOJT1AHpnodOCNL6K5PRlgFWGH5QoMTXoWFm8Th+axtCtskx/dmZ4
UkXcr1MSMCuXUNGWJM0WWgkfr1xg5qh5YZWRfAxMOXLgXnUwO/amtaHicByPngi+gg2n9IeM5SUy
ugbf1UGsWiatVkok+6jxezA6dE8jya5FnQXK1WEz3On6cywBSq0UnFkCRXFXHmYeqiVcUaIRHDWA
Zh0qSdr0TaGh3qd4VfVwpyVD5HUpXtEGGfTRQtOtoimobUoQTJXgQFuZ1mX2aCjIYMBWua3hREok
HgCEyUKrApfSAkfnM6RR4aLSBCy09IOS4EmNQrfFyJ3jAHvOxEyUOvGlSnofgBnRQbkZIJtdVrk8
MSFxi0lrVcl7pu2yEbROHtpE67dgxk4meyC94REQRa6k+IhR/JYLKHBtAz3FfpmDlNu6gZGFWCjk
XEuRbItm5Yu5VroQbvxEwVexhq74taQh/ORVckdK9C2X04eaxRJwP9K9kRDuGIX2DsAJezFCvEkH
NQhLfa6+R3XDnKqFg3RdNdN028KG7x6EnjVXxMlsba+ARolqf7tXmxIVh4qtR6WbpBhv1pwUMd9J
3egJ6ugbQeANivGUqpIrj5mbN92mHXRXitsNTp17Ja1dPTKtfohxylHc45rkwAHk03n+SHjmJFzd
wfPsoeWxw6vEluO+tXNTtUZlrC1eGk4JKBIr8tdc1w5lwx1xTHaCgKpokp9UwXSCKrbrevC6IF8n
AFZqnK4S0KxUtfEHTQL1Etz4opQcBcwDsdFe2jr3mlL3y6relIlx1rrYlRHsxEZz7rvG6uLoXoob
L++TXZLXniQLttADk5O1J2aKVpBGZ8YbVO5poBCAJY59bazSQwSTK1SGeLRmXiZD86tDiCxuU0Vb
MzVxIw78tlytGjo4uc6ORaE/N7r8qCvDgyFWP3oT6vfCWMVxdOAFYJp55+um6Yl1uxvhDVx2MbP0
tvUS4Gh7IH1QnO0mKoCUqTai4hRVbnIHNhVpijs8BPhhJdidEJ9ynr3DSe+UwwUwNPUHNea7VgvX
eiUcwSI5d6z0mwroRcxKEHzaj6FRXxhARpZQx1uJm+dOEiZiq88IAU9SC980gNJY1ABTlCMZD6JC
W+xRTg+WGAdVNthJYrtuWxScj9UJT+BYQbqlA7wT6uE+Z/FjWXXvDYUAJppgrwFAWJ25KjWYW8ny
nhlAXVVYiZCAncScbFOxYXYOnaxQiZNX62cft6suSLaJkO56jrt4r/lGHm97SUGIE750Y/ZTCpM7
IFIc/BlbSY01SXMQqVLk0eT8JAAt2ihFYTEhB2k4XQct3r2F8mcpdX5NYYEZ05dCkDamiaoEpj7X
sKYPMuRXqwYV/Zh/8DKTKtnXc0CkukB7DXXZ0SAgTHNttJNW2DTGz8Ls/c4cvTKO3qhBVmWNihoA
8fAvxJ1pJsRCvSRgb6DEKHiZxp4ki2STmvlRTCBPMRpPosopjMuD2uPBjQ4nQW/sRnuEYdyjqRO7
GIojgzdBzKMV4Ivnjoh2EQnumPio5M1z2wzNFd7AbRrTQ0/wcEIfg8gaRCcvR1RDq8RK6sAG+XOb
E6QWZU1bF7x8Ja0YWn2Rm1Zbx+BZNrkFh7WNFg6eYO7DoLBF7JFmn9lJ9ppBq6AO2AVK5VXHgs5b
stWj+K0iOmwqal8w9U2fFTaZwJZ99VTw8EXixjtMhLY1GLIqAQrYDB0R0DuewkC2wf/HU2YLpYkk
9LgqNA6LRzuuREtCuTM1qK2UsdvANFuQpa3cYffE0cBU7JIB1CkUKxVkMLzKWiRoD6qggHovHuuh
/Kknxqoe6KEBATRIUF1cYVeKsTXkmfHRRsOric+jBKMIahpKu/sRhXqkfe0TY6/WsvQQSDCaTGHq
/hLXveJUkmF1A6A+XMA/gRK/4yPSJUPo8CzweQK+GiTHGSAJWMMA0KVn3mNQchkqfZhZKqXflcKT
GgRPAYNKjid+hgt6a1T3JUnBbKmluzaPACcbZZD22KaUsWQ041Po4DpWMNNSlOgp1eVPXYJ7eIHT
GpMb1c9YUY6shGDGRrZQAxxuCkCXxuUGZkmOmCdbiQ5eL8TOmPX3rWzugHBxzUyGkye7B23ooEWm
XY61M2ohHFrNo4hCGb3XDl0iPI9B4TRV+Z6NyQYW0VYDTByO0J2Yie9hBm8tRpo9o/05RyNFXa9Q
7n0UhQTuTTiDM2nbgH8qM9HWSbpqOdu2MnOJOp5DARneyNjxMo5Bdsy3XGHbnuuHgSi7Woh2RGCA
/hZ+Uio/SUPXKljNSaiBepj4HSltQF/uCYDnINOCjoiDyMgER4+7J97GGxEccZCedxkjXp/UD5lE
PDHpX5miAtktPdQlDrikWNWBDj5c4VdGfQf2qt1DRWKNZWoLGRywYQSXtbCGi1JPM4WDkFaeKHti
2Dpigor3JF9F4Jh1mc4Q+QAlnIyfIUsexJBvFAhdzIAf2rj0AWeEsGnUt7xVEVKYWE+BZebvRJJ9
0gOCV+GoovgPR1NYSzXKhDBfcpIfxthwcxhucWQEqoFgI8VBbtSOqdQHGGT6gK3aYg3MuJ6vGzKA
YKv80gmKepieYWTC2mpk3csDeqYhu++H5DSa0TrAocUYfTbG8BM129uGhhs69r2HdbKHSHpHzeLB
GIyX39eS/5VEK7hR3ihPbdq39Ep5Kv7Q/5enSv9CtQJUkroJeJSOcuYvNdHTkzskRNCooRQQF5EL
6oahoVRaBglHAR7s75LoCUMF0qqJQhOI2qYS63/A3JBmrClURxgKDm2k+nRJJSKCc9yFLq6TwMzE
RdkMQDHWAjaIpClBKye4T2quUoXdipBMwP4tpOloEYMBYlxoWgUkc9OuZWOEn5CJMMIg5TnrwOum
GQ7iCiZf8AAQE+BMo5+1UB9xmAdugADQrhmiOfAsQlsAkBwUthxxbNDzygtMIJzLfAxXQT3C1wWc
cr9oohGISQUHYJnIPrDNlYsCkCfcswnu1zoWRS49kkjS7SZUuUXlgCGZpyubXks6XyPNWSjbfscb
/SOl9U7tZXiLV5XsjVHxYSTwfgM6SnVCFWerEXRgoyYMVxkjtOD01wLrkQ9DBmZo8JQOYoIFJz03
Kt5LtMrDfzoBRx/CsJJxaNUHrjEbsbbbmsRp5OA+1cr7YUxd7PQ/WJvdGZnyQqXuroa6IsrEp1rD
Jt3E+0bpaxBTg1+ZEm10Kj4oPQGhsRJ9tZNeUngdjqaJCBK+IbUaWdRgv6I89qosWI16fNAaAGHz
wIicWk63BXRLPEuPKkvvIBJ2wq55TnLJp6P6JIX9ahiDO2j7T2UbOb2qvYSydpL1Fi9DyWfLzS3D
lQjA/ru8ZWuzwO0a4Q1eq7dNn7sgOVBQs3UDcUsIkK+RtzaqZEDcDAX1LBgKzsUSUPg8iMkHC0TQ
awNVL9XMQuFVHqSfZa/HJULyieolJToIX7lRIMqPjSHBo3sXQFA94cD6TgYYDIQwJdQ8hGwCokGt
tKMir1YsyPNzNKHFxFypThFv24861fo9EcMBDF14IExmoxvsugi/UvyF4Jn0UWu6hlZL/9v1kHlB
Ub6OlOB/3vUOb1X11nzf9qY/9WfbQyLAAJEKMEhomAwklf6whrAfYgsjAEVORUHY3P5sexP+C+VK
kiqDTTfxKP5CQWDfQ+IDGnPc0idpIygR/2DjAz1inuTRIQ0GAsL8jSBAj79ufLg+m4ySFteFRmgw
RUc+xOSYxiP5ULOEvuIcxctcUWpnsWRsZU6TvZ6mPeJv067NFtskAsIWa0NSpV2AtVJrKBjD2tFp
c26wlkC5/tRV2MpoxqnDWmvL2FGx9oaR3otYi6i3e0qxNk29e26xVtOM3QHwcsyxhvuCbfm0qLWu
x10wjA5gHK1irPtOKn7RaSOownTFQgFWJKYLwPJLix1DGVQw3LGHpNhLkjyEI/S0u/QkhN0CcYaO
PIVKsKOkudOxHWXYlhgffqAQ3c2wXbXYthpsX4rGXYbtzAyaQwqNotXL4kOADa8Sag/Qiz0BqTWZ
dsSuos+1KGdOiQoMUdsY095pTLsonNB6h2JjzXE5cfRprx2w6QKVLHvKtA/npNnBIONjFJR+h5vD
WRqMFsV82L0F5KaQZDK4FeiqDrsb6ZFOu7047fs5DgAykMqVCG5tSIZLVjmdEyENmG9OZ0cxnSLm
dJ6Y08ki/fuQmc4bPVMbpE2Uk9znMDrWxuFBRyLvGfEYXgsIAkkXV0nxJKvDhsJ7xu36Clc7rgV+
peKhDSbydJs2Q/5IOau8ootPYCQONuH0k3P1VIGnYw+teMxqCBw0vfjsYsXJeHcegmYtGnVvFVVZ
rQhjsR3BiSOA8Y0VsfZAcumZEfPTkPu3IGCbBCRyG9JJuH9l+cZIQFhWKm1XxcITWAiQo2ICDllz
iDQE0LrqZBVQxvBqAc3cDJ4UJXkglBLkwox3ygVuVeBj4/RxCFxfLCGqfpWtCTsHU9sFsbzJcFll
EnweQlN4VRX6nJToWQzOMTxaQWsWqzOey/28iQ6hESFBmEBmLuUAQeWKDCSeah5R6IWdPDB+sqEp
AUClGdw44LCQU8UWMbApLjcW1aqzWHMgnyuofggvMRjkzEVmbtWMv6ZCs4VJl7RqYoTgfR58wrMG
x67ZUzdpsx81jLPxd8jUhlkY/Gnp+KbUPfxXRPjPwdYp1kaYLiT3sLXFmEgN0K6Fn5t0JSQU1eq0
Ow61sZfaEsYzE4AOPLE26l0qdq8Ub6muBh2z1khwYKp6mKuMuPxGqzKTzoUmebIWn6UgAL18DG1c
ACdMlvSEtAlwl+lTkEJsoQdI4ZXdkyrhLzIA3rKQ4B1A+abUqvpscMJUkRwGj54RqUa7kPFGFhaH
gUKqAfJXrXVWyLR9IlIn0eX7sBs25dicirr6abLUdGoYBzUp4LVF5JWVDKE1F9yel35LR4Cb7402
tgXdRpjHkFDQT7Cp37VZaZEKHkMykiMWyUdYVSHCcJSqdYcwA/e9TNZEST/MMS7sTAt3rTD6QaNi
qihwHUeeoIAqp+zA5EelnZXCdg7sQS+SlT1yHW6mx/Ywqs+SirIvFAE8KnoOJuFoWEOdlk6N6qyS
kqcW5FBoAeweCxeT972IA9z1p38hABXWNcgGZG03EeMnDv8D0rpnmDw5KcjvWSntYSqNEiPoUyMO
QxZm+shlOwauoraQBuAckHpwO/BT4M0Xgt9gmWL/mmvES0gPdml87DTUnXD5neq6IypIyjWdIwrj
BoJoWGeZsjWw0c8Q9JR19yOME7+HcD7oqFMDhU+EwBmwudW0OtC6XVGSgxLc6J07mB2+TH4njvj5
svogj2SXxvF5MPlWz4XE0SI47YTJo4EMRVXq71WKHFIePtRRirS1Nu5yeBAHwOMnSv6aFHXjqigS
bBk/YD0oNrJe+MijJ9P8NIbyaFXgf0V8/IWsyUFpm5UCSwAeljkeCgwv6YGhGPmxjIePpBefInDw
MxzlOULppAELP+9XaqmtecdszWCbFN+QhtFTkUmfEk01X4/7OzMfnrNYuAs67iKSXCVZVsBcKLVT
SV4lMB6JzGZTUA5eSQLuzb/fb/93j5xezf5zRLX72Q7f46npz/x/PAV2I2rsJkUfnn0hZ7mIp+R/
SRreZsDUU7S/wMR/KEewnkKpPO54uCUh5Pk7niLGv1B1C4W8IUOm/DtA+wfx1Ldo6q8XO+BgTSKD
ufQ1miqzmPVw3oF2IxgcbAC2FB30qkX6vHrr2nLhURdR4Pc3UMnUgToBwQk34a+taUYYSIEgpOtc
Uw9yW28y2ECZdDxfDMHdvx9Vb9KTfnfqTzPTO+HF3dgwGxWejWhGq9N7VqpIsBpHjeGp6XY71z6e
pInAnkoavt9cqy6RnOp9icx5DlC/p5t2+5RVWyTBbjdz7atdNoOw+7I7mTTRIWFLvJZ6pOCTB6oC
min4txu59nZ62chsaKQxHbNaMFDTF+rvXCpw7hXJwrhcfR+eqiJ00NwBDJ2XWldQWyGnoafrFy+0
EecaLqLeZN94hEM9Krw2dvBDO1WTwvPzdveuf8O/W57rN0E3pA0qnjElhA783h03wOBeUF9cb0NX
RSDNlMnd8us4FbxuAcfEOLWKYsdlbEnFG4sXahcmvtm3NYTp9lcr+jzxA+9KI+cDWnmKmeetqI8g
8INDC7qkNL8mJgGWAU6yU6GwOKfB1NmglhhMvHXLpyJDj8aTpEyIvffbQ3NFbwnIxUVD0w+5WK5Z
pAddnKEhVApvILI2VuCzev0D3vE30vMqdO5giWjHmtU8lBvtvdyjLPT2T7g6che/YLYLRnjvRB4F
v2AEgZlzBy5hFgK+hVauD91FM7MJkmWSEmYpmqFPzUFaJ6tyrbsoBXHErbCgl7u6nC+awoF0+U3V
AJrGsUJT8Iz0Jn+zql0yP74+PxQcUEB3aMpvMfvFsA1q2MVGPjWR/WxH5BpzlPWh3FJtF7am6bfO
lTOAIYBiDBoK8OKzvpglQ7IJvpcopuGb8ije8ZfBF5/bpe386jf7085cvdJJfZslg5SCuv1LDH71
5dvtWXYFFIKJftHAXJ/C88ispomu7IfQFpF/XXcenKGg6WYdik9xRUJ20mqXpve1jsHcGoEEctLg
vk/T/2KkkkiKelkbcE4l1XFQ1L1ehw+3+3ZtMgDlQGCGjSgHJ+LXJkqlNY0+a9K1YZyJ0ttVh4cv
vJTDY+l2Q1cErhJSU39amnVGVZOYlG2XAlIlnLVV7wxu7MA3dS1+mCsAlOzAvd3iFUX21xZn+1OX
jUoC78p0LR9Lvzyqz8U9t3U3WdHdHRhqTuxqz5mDfIlV28x+2iPqtwRP/y9W9GW/Z6sg7nRAlxP0
e0ieVdzJCFsQn/4+fefr7KKFKYd3OU0Es5JGYxrD1ivemjdjsKQPxq10BzMjK3YMR7GkDXDSxFJe
1E3jwXjNBzQEcklmcw8Pv9slNfPCrPoNHr+YuIpY1yjg7tO1qQP9Ar1vo6+iCPvZwqT6zqxDxHjZ
9dkBUMog6zMdHxdevTZzRl/b0IN0FCG5V11jJ68CyxU23U62gSB3hvXtGXZFkvu1+dnBAOGDCTtN
fHnICewMe1zstNZKh96+tFD/bYApUVhLxf//YSUBoYrkLMFr1mw7ajjNezmocRzlo932gtUxPIib
uj0E+UbrkXwJm0M9IrWhwjJEJJA8aEeJQt1i8Hohxr0+0jriJqSPYZQ4m92UFy2KzkqcwMIRGwm8
9KD9V/fgnN/+1AvtfNvjuyExQ+jq1kbEPLHUVqHE7zk8w8Tx/XZLCrlybBFc0P7qEiD7X5bTKMUm
rSN0abC1VezHtkOdX4Pd+j+49WK4pSN7fFOsjNyiP+pta72G29h6XOs+2SbOGSZw1odgQ9+Af0DC
xe6samHaLXwLc/aEKEtQcUBSgkx6HPgNqXzaqF5cJy7AswvaTGW6PnzfW/7+GOZsrrW5HiZ5he8O
zeuPBJ7vlogyQlO3kp3iDF71Gh8iG4Zz8B9/79eJne2LvfpubmvwGVYnS8WDo6UXVgKFxzNEUcVa
XA2nai2fUXro0iPUJuLCnvC7IPzWT57G92LzaQm0jNBapUDYlMdkhedO6wCkvwfLy9szZWkcZlev
vgvUXp/WYd68tAVW2kkHQT1dOD+uVM5Om8yfIZgd0SmpK7Gbpv4W2p5XeWdskkPtQK14hxyu27rh
NrmDeyCx4LCQ39/u4mQpc3P8Z2cLspNZXCVonOx7T/BS4D6Mk4F0g1OBDOS5bnxv3rH72h5t2OgV
O7ojAIWkh8Xyqmmi3RrVaTAuRhWoL9nkOSY9fyrvzCPozrZi2C1MXdbWKj1AHXPfbvQDfSjoKraa
LbT6tz/FFUDA13GYnTXqCO5GDKki+Kj7h/YdWkaKp3en3ZPKHp4XeQRXV56h4LJNiKqAdvO1w4NR
BV2vTztrpfqtWMHhPOne0i4HE0u2wafzYBa+5qrqJFFjC3i/wTxZ9f0Sbvpq9IvM898/ZDbNAeJt
B8VEv80MtyscsAOKBKG2Jr+grRnHM2qILJ7vUuX/SLuu5caVZPlFiIA3r/AgQU/ZF4SkGcF7j6+/
Ce3dIwrDQUecfR3FsNDdVdXVZTIHvDFtvjxOZaOmg0gYKL2riTefsXDLYcf5VBbjMypMJwL1Z6w3
XkN6G80X9h9a9i1kOU8gCWOPHBTUXYzLgyDSDyDreJiqykKVDQgNleFPzNO6Xn29t9ZkLlxs6ivo
hOqxsNJgzHEeHdJKK7QTFBwxxcgd0eSwFyt1d8VlswG39XXacPsSxiecaFPQ+kZlGxUp+eIUAOpo
/ePuxxo3G7JwpoUPRhCJw8d1OrvBuP50TjfhrsQM4WQkr+EFfdKkQcLZjv7cDwlscAxGff4A4kjS
ehDYpMRVT9tZBtDTFMhZIEuRhlDjSPgY97XqH2HywsqoohDzWoawiDfknNpm4MKoJ8JoJEnI4oSZ
QKBY1LMTG0Tleuz/BtEGmujWT+pLNVe2TV5cExSHgiZXYyXeScnVHA3xtmAnB3kDhh033ojXaM/s
wg+oS67Xjmz/Wpf/F0353snFTVGHAT1ELBYZy1r4prAaYyJC+w2Q0FaL3dShDzR6aQipu7u6ojAs
+hfQngWk3J9OUo7KJOdyCG2VJwbDy0NqcSKGG0AgDJYXwgrvHuONsMUVxJRDRZXzMQ7sR0xVKj8J
vzO63/Rj8+B3laHI5X6Spd9xRaMDx6tfxgJk035/8UAvE/ef659zf+ng6UNkMPN1Ltwy6MoKyudi
KNW2Agnha39EI0+SExzAXYeIqtJ/pSy0yuMikAY2SWI3mZJpXTOZCYMBGYYxQqXCoBotX5s8ISzt
zgwz+lEAHKSgYiLNwOs/jxWWjiLBJMY2+kSvolcc4g6628qW13mHkJJ3eV/u2s63OADa1LWoDVxt
SlWPTog2ewLOyBH4+zNbjUSIh+8HATf7sVA4D6WQYswz3Mp5p/GF27dnAZzKAOIED64qMFtZ3nHd
NZZR/fRC63878lklbmKgQQQ0WBRgiklpNMwRVbXWYJT2Ga3L63Lu+5KbVS7etXWE0jRMa76SgCW4
T1+Ll86RJFV2S2QOxCOg9fb1tj6iF3sXYtiFEPLezSyDtea/Wre8hmVg0oAGNoVXdkQonZr/rg4c
sP7D195qd6rKbQA2FYDyTqWvkXFprH7LkHILs2Yv/Sk6Pmf0bWTg+K/Uw81mY6gkhD9F/JWVMgYo
Ery0X9a3+a4y3YpYKBNYmcH7NLvsUiktiTU81J95p54sEHIWkSXHrTFVPNqLHriBoMjsPcO+kb0s
ICJxXkcjg+UJ6utkJyaSJ7jhmWfRajdg99KoPXeWD7076uJztVc2PpJFqTpqnKroJIjVu0+c249Z
6Fvs8R1wVfAx7QZkZcCreS81sIFgIENv9Up9CNTHVtUVXXDWT+Bu6uxW8MLRxGlcjhyLE0C7vj44
vOHbiRPuZQtUaQamWgxkWCbAgE0aMJkNZFgQcMXIB4DOXS23kkPaibs5y5sPWuKvYk6ii1gGH5Sr
jKpTKg2oJN6ikDR9ZgAuKOqhFe5iK1EHjdrQeqVReoGTIX0HT1APfhGyoBMZU8I+ToQxgRd0SQ10
jJn0pjEBKA7WDb1RkbrdMDqLDEnhxNirj2nPpMBezIGYphwpbJJoUrvpEVNHRqsH+96kTeRZrUuj
d2arcUfSoDZ3736+3btFrMr1mCeTe3yzpKbn8Jxco+v4KVzwgS5/qnSMzamvmek5k8UflEJTvYuw
YU3/GL3FLhp1TFaPTcAqHogJuzkwWHElX0mWG1eS893/byYo9azeeJ+pCs6/MZ2KBJGvVTi/07pe
37tAZ1LH/zqvudH9x01RVL3YTFCjSt8dgEaENHCN/CjIEnXJYpD7DTbRb5JQks4s3FlboHCFpnQ8
njaFMwEDwBpcyUx3FZIUyql1gMLS6rIJOgaCI71/8qyABxnm1tGTsZA8oIrBJCJuZSTwVbNWU6M7
DNvYSI4lrzYb8cidU3cCftucqmNVMFWokn6KLF8PzRz/qbUBcLktdplmEw5itpM/jn6eKQBkNhpD
vsYBbo4eDDaYJiwRpXm7QAMeDKhyzKlS0a69Y4456eK+e2fdSFvEhAMyCXLChrg3aUHP++s0hvr6
gr4K7msLWmx1VXdyLkQQ8fiaGqH6PhMcHJHj23u/OrVRVVE1LmhdgkeqoNmf2FtsNXrutYAQDN0x
qjnwRd0Kz0SE/wsPJcQSApQ8guvOAU8NOk69EDEaT1jvHZ/yQ8piR+OyzEuug5QeI86giVHBE6Dn
/L84uB9iFvbq0QPV+HPA5Xu92sa1URHhke5Y5w8R837eaOLEU/7og4jcpjkcVFigWgAQMnSkJLXa
YoKNu65ryleAtNCUW4FfdNE3AtGlV1W0j60brTpR0w2GUuPf4NXMT9QTr9MuuhCDHWUqx9FBdvgF
w68y/oEESn0vlv3xGYutbXixjtsCFviaAzreiTf5rn4FLJJbutXeN+Uz9YvZ4U4/JCf/QjD/L3CI
tT1YWMugpE3VirCW7SHTBYPZ9vv4DcOR8jFRDXt8Uj7RdWvlhwIBNek+JB7A4sSFOAExYw7h/Qlj
eN6R0StXxgS1hoqgWR7yI//MbHyndEdXOwmHehM9rKvAvdTWj71fPFgwW1IKmY+9R0xp1aibv0xP
+am02lNitvsYM5RW6gh73Ap4aXAfgu6bzak6A2OB3jJGsGmBMC2D0Kd59M31T7tXJWBARQHoZnwh
BiAWm1MWI1/4tI++qaO0BSUgYJZGc3ob7YZUxZ8X+YcO3EhabEKTyI1IgRnQRoV/G7dgBhiMrgRF
awjwGorQZjR/9oqwZda4YqSy72UIYydb5i9RjlFjntaqIDQIGzjbzZqkRbTlCVMSgz8Wdy4HEA0h
Ce2+BQNCGF+rntM4LthJfXhMSlnPFdkdpsJIpt4YGt8NAMGx/jH3Vf17j78eGDe+psdcLviXcZoj
bwofoa0cZui38IE32S2rcxugge+5U/GE8W5rDoHCw0DCKb5XKrnVqOWjlRkBMAoe58TeRcfhOsc/
j817dSxckP4YyWOXqDwC4NCsN8GroGV7ZlPsE8M39f9tL5aANa0fxxjRmA/mgoDdFdTyEdMIn4A9
uYQ2d2avwOAyklLze208oorAq9yRJqghNz+cVrTj68BuDmQqFXlqZ3AAiP8E2usGDQn1o//WfbRG
hUdEtKNfW5TGxyd5z3/6j7lduIOTWoMa92qJQXQXULDXcCe9yr7Oe5veHLTNhhSxEkzzKw9x85WC
kldczOPIGnd4l8z80bOoQ2wL52GTnKU32hyswvpFilzuWg4SW+A2YcCXIC5iCoqLRo7ncEBU5Aeq
EDDIHQHFZF0N7h7AjZCFf5O5TkgGGUtL6+ahkoGG4tHRDALQ6JKHmRm5ZQ2FaZ0QbbDrku8tT6Al
zJMhLOOACQ7VuNnUBOOWVSxiZp2Pfnn5C+X9Wv/9eyu7/f1F4BdGSpnKCVYmoNMlrI98FxvyJOsK
rTi+kuph/1lh1GFd6L0eQKQkv1e1cHf9wIUcUstzNEN/YopFLzcpmCe3mMEdLyEhrU3YwnmE+XYL
ub7LY26+uakk/Oyr8B18YiFhRX8O5MlzkvWfFXGLFaFhTp4EHyZKnyq3tXx1sIvDcJnUyc1MsTOy
p99oUdX793o77ACK/MiiYyozwkCliG2PhDP9euDd6AyT8lTID1gwL6jj3n91uNePeZaUVLK/e+3f
LnphFhLtp0hoQxDQj2K7+SU7DVp1KmN6JTIj3quI/NjgOSK/WRTd+j5NdzAEDj4FFTxMBAGBFZNQ
gWYk+1zPdqSW3Hu12luRy/SRkvoSNQBgwd5NMHM13BeHbjNpnok4H4PAB0D0BQ/6umkQlHXZ7CWU
PpxNC5ly2GgCeghFUhXy7vV+c2ozRMDtTrZp34LVDCYPCkut/g1Wm0DPeEcG9UdlDFawC17zbWpq
/pHfZlb6hIz4QMpJz+awvNFuv2FW4ZvTTBBD4iGPb0DvIubNreAX5gg3xVY+hC5/KOzUEhldfk+s
cM9cRl+twLtJCulJXkhabIRXotmvAXSYLYXnDAQoAWguCzvp99z03gwOW5oe90tMSAjH996ON2uX
FpocFZgdD+bbPCyFLUY0trEMgDS2tytxwFQ76kBh6Qq0b4a4rVmvMDrgzhRAhcqpwilEDHOMyXPg
BZrcC+/+wG1GD1NUkWz6vaDKAGhp2r5S43ICpkek09K4aYKa4O9Ia1icXwrQzLARPGAI8KGasjvA
iXkhj7lIc+pRKqIIbx+S9S8ry4HPj2URwyyCK1Oo7cY7VU5wKWzhBLz5bVVq4YEUWBC8qLy4NqJO
btspwTFRzaaTNKq6FtxhKF1P+ZzRJIEFSrB8gunPqBm3NhHndJFPMtQRSWqj26JKpHcv3AU8zQZj
YzhRPXaf/k4KNGAZ2AA8ekWX+Xv+EO8kcPPkB+Yhe2C3F0DUz4m53fA8mJI7txlFgGgn2g5BAZb5
CLarJ5jPvDs2lC19BGtseQaD20UMVe9Q60CjtT23fW600ZZJs0Cko5l38sZ78GHVluWEnSqSVoU7
U0fPzegdA9hAvlYjvtCbkNAwczf5cGO18iL5UOQeoGfmCx6v79MI2rp4T+NVhHHVQ+pQOwrJYF7P
7AnpYDQCb0l9HPeysreXkby4a0fFz5psVsftc6nSCJkaHR2U4bkH80LmIEmvHpzj08fvST2+UJvS
MQqMiyRvHhg2WPXyuK6r93p1f3zNwnXS+SiJHY10FAMwtDYaASUlHnvA/GBgNQDAnKBJSWwxwCTh
FUrrhMkUGQBw0YXNAqavKiPSB83bv3KhzIANP1SiqgfFF3Gh1JsYJFVoMQ2fqgdgjcmqdwW04KBN
+9wlzYvdm+X6sQ8LP9i1XjOI88MgcnbX4NDOXZ0fKYBFVWA4qomvRbv8Qh3LA5ElgeAtln2rkkjl
E8pK6CV6ZvT3pNDHSAWE2xuzrQ7Sk2SXVuxkaNfmt6Itvcnq8A5mr01wRu4Kg0ygBigebMBovfsH
Uq7yXlb7dlOWba4yLXVZI+PTes08wEslzuu0Vc5sr4Y4h8C2L8HuF0qQKejz3kr09r5EBuUqOgnW
/A6E/4+gXFl4VLHghKFJ8SHAmKmc2hrsDPj9neOdUP02mkN0QY0SzJP5DiBY/T5/wBhKpyqbGP02
x+S11Wq7wyC5zsQqKNG2qV4/kdqP74Aw//zGxfsVwG5p1rHQoDxhjhMLvDExN4tIUaVe3EtovBwi
FAiZjRcC6McHADX7FEWDvm7PBG8OdJIf1lPRU5SlAjaq3qSf9CZ/ALgq/5xZ61Luleh/KMbCh3J9
7HXynFiiql2XFepIWVm3FaJU8/xSZ8p9mP/2WNrqp8pt2Od16bNLWvEQysKBsl7VMwGNNVLsI1//
inirzp7b8po15rogUrAyjy3f+iKQhYR1Mb+/uIP8KdnNdtqO+yBTZcxCqt0p/0VvSczipLfKcuzS
4yRxphaP7VbjN+E2jQ1aVIFmAF4Eecu/j664VdDJa68v9V7J/8eJLvwf508+X1dY6jOt1Wr9mluh
xWx5g36Lgdyqjf2WfR7d9snTKNDICKZyYThottbayQMSl9GWtQmfRNh9bjkaKomF4OOyngvXdKK+
tpNanlCpcD2VzzA8WagAyyfJnB3JH7oFVJ95EF1ghGVwAFr3Wh4r7L64qz/7/fiQ7oC88dm7mBJ5
ygjBsEwQtlCvpmp8NkshLH7kMx3Ar5KmjZecNCRyX6VuFjV/x02U1VEl2zXoqbG91/oz3Ao2t2We
clQ5UGXQxncANuik+tLdS+1G5EKdgnKIS+BZANGjkdS65tUh/r2usfeK+UA0+ueolvemnItcCXxC
pCtM4F6bjA6485P/WjzRl86oVM5ILyn0ZEsC5r6fLLkRvHhPSAWXJj6wYu3yEeCZgVltO4Nn1WqT
PZCeLvcd7Y2shT8fPTrxMZod251bXeOTb/DOcKoM1qW3cqpK1/U9vRuO30hbnNo0lB2fh5BGnwoX
wDChJWyA+IwhnnU5hLMDZ/ZPjQwAo8YXBdSj3UyoTOQqwpwH/jCauSNZL6FVOpTDHIkdJ/PJ/N26
RXpxbXkynQs1i5PzCi2ujv5G/AU4FNkeHvunHN0gBPuef25N3MK+E4CisMNsBH58USJO7xiH40nc
BfezQP8cGno9fu6lxLZAQ2EghQYPrIfScbiPUbxAGfkgu5PV6jUQug2Yw4H5FbyiVO/2W/G8fqB3
y8nfxih+2cyNi+GYALCiAz5iOlAH0DyZqZu8A7fW8o3UQVsoHlUN6uoG7yKGfmdI83YkhVq2/TId
xh1zHvL5QkM7AqqVOZrBjo0D9NVtexrO7IGujd4tQPDkiISyzv380/cRfN1kN6tPS76o2wp6pSSd
2fPogR58Jx8A8SOJ6LymP4ag3rWlgoRQroteRdh9gp59+f8b8WPAcWgzh9nKzVuQP0sRhp5Ga/2E
112D+PV+upHRUZQ3MLPTA0tgUhqt2eyB0g88byd9+t8kLfR5EMqxDgqsZrqkanHNDsmT/NxY/yr1
8H1mf9RjKAkwvCXEFKEKfGMVEbl87TbpIfh3Id23qCX3VOT3jMRLUM7K9E4DnviN2bm8cRZ7sG5R
G4CsB2diiE44sK9S5M2BtY1MAewYQtGSOarvjNsb6VP4Rn8KtmC0bnidK9CqDOwBVl8/QMIFCYCU
hUcC22IZMdAV0BbsKWDJA2jOwfg8I+v0tSEo5hztrzjZZUum7/di2n1ZfrmlOOQwh2ef/6zHj/VF
kTzc13zszX7KwAL1xHk/JbM5hCdeLy3OpTXBvGKmGqwAaBhpLEFPdv5z97Iu+/7T8luBlp2SASgU
JDh+mISiVi5rpVvGpUDZpslmnmrBY/VYEHaV5FD5ReBRpSMA6DqcofiK4lP+KItql6ucW5vZpBV7
kIIKm3maV9j0DinquZ93uFnv4p5uFLHAsCpsM39srdSSdfaYWgVo7LMtQDnAIG8PoA0ErRlaRjZt
rlboZlBsEHWhq8Ds7Vj3ztRxELT1Y/hCfVhTtcXDkxmogYo7HAOyEOJeuRROvxtsntMEo7G9Y2V7
evDe2WCG2IB8pTZFndsO9vDpnSuTfcJgr1mcC6vidcpmzwFpJkUiGML89xsFZTLM6HXzLQA8vLfu
4O+qt5EQHxIumq/26BsRVD7mCciAY2SK3YJzlRZHwZIuU4Lj4hf+34+VhGcn7HJnTiaYR7pLCkba
Ee/OyU5dpMjPzA6caZvyAPYIUv8/YYXCwnVR+dAHYY8Vcof0xGtypYK3Zpe63qE/5lqLwKY/CrtI
bX5jtJBTM7dAR3dnNbt/l5D8tgFh8cqg5ZxnKR4GKKHxPzIxxKTGmogp4nOpb4Clbp4QXux/rav4
/eT4jdRFoi2ZAF82zF4OUAKO/w7CSLd5nokFttNpNBmt7dTWlC/TiedUHvElZ3AZIevyVWFfMTNh
mUiLlCZNOax8+Jiew32CeK1/Ym3G18t9u8tdAFIjqFO07CIhby9sRe19QJ0AhWT5pdjT6Lo9AXVU
MHpScmA+/LUPW/hEJU6GsASzli11z1n6XBYnId3H7SeTPrOxw1fbNiMY3P3LjYd7Bx26oogLdWQT
zu85OB2QmbT22EqmH3iAzQxcVvSN9aOfP/7PxX2LWiyui2pQas/JiDY41cguxwS7vu+evn9/4Z7Y
DOPy3YTNU2oDZU6BVsdC7dJNPenrC/nL7fGPpCUoRpGINY2S/zyR3rnZS+Zw1+FDsR/fFeTRWCSQ
mk9F816oR4QjDn0EyzXy62g5UlzlV7RLLwrh+iYc4pLrOQRmKEYksbMMP6pUwDpVomzGuDqBjoVw
RZFEzX+/cdCV0tVD2GCTp0DHzPR0Akh6WROE3E9bfe/vwkH3DRs27PzaoQ6Cp0ZPyql2BQ09FOvn
eD8lyfwjZ1kqzrp26se5JAP8RQAFujFIL0Yjzi5x++z5v6WmVL3sLUwesu5ITU9sYigYdYxAqhk9
97xV5dvOP4cp8E0rOxCfJABR0d1j6x14wBR3Vjgw5voX389Y3nzxYvsBqjoq4DuDg8ALPBdCEMy8
gHMANBxOEe5CDMdG3LUf3FH4aPK3svrwvHfCJ9xPcXxv2iLXNyZJNbGzBngITzF7yf8WzgzgVT+y
U7L7l+nS/0hTALmzkJZIvZwCdR+9gV2pCiEQ+XkEhmDfqaNWlRl3BD9MkOhd/s7lx4EjzWP9JUr9
lr9QxSIQ8yj9SuiciqMCAFuVs2ernoA0xIEOYae4vE2baJcm2MBfngP/SF4+H/lmxjIV5lhQ454F
zG75+xwPLMB/P+cWANzPIlBefKv/aF0SvhJR9iI0CFKkPlkZZxyDjk+VTIbWg3SXO8GkKk79GDjR
bm5KK+1gU5z6Q+3mBI/2lxfe9+oXYUJDlVUYejj3shSOwPfeDqzoMkmzA5mV1XSFEWSeobCZSTXU
47qGf41g/u2igs4tu1NzWeIHJcTqC9TNGZP9ROMhGh7VqFBrWNwRmldtI4yRGf5lhD8AKJ1kRBfW
UXadhVKFrycbxaExQgmiHQc9bgYXqw8FQUFWb6H5Mxf36SSBvLGbHwuvYG0zKjxMzxFA0beFi3Zj
W3ZiPGgSFC6jR8UCDhcaOyoT/QY6zaJVUw3N5pxYhADm6y28tnWLd1WeB3w8JbPifPaYuuCv6S7e
JmhPYS4g8XDxkSz6jVRW0vu3Rg9eFDPXQKHnztokaPJzhWbtC3iQTJD27dor6AMvxb4DR9s7cXZt
7ZKZt2/hSlt4MVCy4FOpS/s4OJwJnGrGRfv4YNKv00d0ZfR5GLYBUl7qsEca7Uq6sBuvuRkewUOJ
TI53BVNlBrb5wQC+XPGgvPCEvNv9svT/+/v5IxcxDUCmRC8D1KaNpzFtiXsUBHy9fmycxAQ+ihNu
/FOnRXsPCFi+5h1YN0bVqn4W9VEAwrnG2L+R8TYB3BLqGS6zPVDfCVHX7ADXTnzhoFMx8doEDA12
y24o3uzpbeXt2uLqtbRaei+lT3TJHEHiwiX3dVMP8hzn5WpX277qqJbhgpfOe2Yxx7LuC+53r3wf
wJcR3sQ7viiLfDtnKRLut8/p2fQkSa7E4WkmTSqQHcGilqoxmuwV6hQmGL6LXNC3xf1TLPrq+rf8
5en0j09cdieHUlan9Zwh3R7oXb6bXGDDGLJjaaItzEpwgVfcgteuVTOLVFAhHPOyaXlqEzQKz29m
WRSeQQtrVlmrgdJvO8bdKQiqhyJrwEJdEt4MJLGzLtxs/yj2vSjkiNDGOtQn/tKXbi3swB2atiAQ
POOSsNY3+S+Z9u9NXnjVXOTTKp1fKeUgaSFoAkvqs043YvckDVYrfighUDh2afq8Lpd4uAvPSck5
SEPmkQhukvS22Y8VpmlYI/AuNfVRhaBzY3kVaFOAfIIrEI78hLyyw0TnvnwAJWjC77PuPcgooFWR
UMhXo054oS8vdXMKOdXmSQpQbcyK1GCD2ZRootxQRvbGWSBKwicBB41oefOCVxzLEiiho+ja8+f0
ROGiXfDk76i3NjarjWf0m9ZIBQyx0E8RIT2z9oacV7rwZorXyxRmR1DqKrGx4MV7QpJQnRDqDCRz
nu+XP9cHtHow/bAyuM9+qnY7BOBGBTqrHXKZHXeuGAoGl8d6nQsEx0GStIil6CHm4pKaU05TuYtY
dMaie7jN+e0YyISO5b+Yz/eqFgYr8mGPR6g01wqTa1yqCXLzF+CkBWDrfcTsF6HX8i/x+be8hbmy
Ys/H/lxkKdHnb0YHIKza9YO/4SnMn0+ajDSeEunNA6APnXWL/UvTw7fohcXWCnjp+Qqi2V3wC3aH
J7Ea7zH8vp0+BwucnJ0Vmz7hzUrc4EXYwkt8W3UBpPaAIwwYFaNbG/kgbDhDeVEI+Fl/aQ74XuLC
HEoqE5hIAB5QU8saI35SypOcODF3pgJArIZPPgNueeAPDtXr2JOE30+G/SN8mZ/M0zSPlAQrLQI9
OYKZbVdtxYMgqEmqlv8GvRLNHt/SFkbSi+gm85kZ+kgQzDFKtiyI5SoF4HpBAPonQZBAyEd/9GNn
MoNMuHXuX3PfwhdaLDXowABqN571dWZEgS+p1DRaDXIrTZm3YDvq93wGFAUgs6wr8X1/9y14/vuN
Zw+LQogzCuaKkrLX6lGgvQXo/iIs774r/5ayUCO+boOwVrC3dC3rkmxnIdwcRZjdIng5Yd7jm6W0
BceAOhVCQLI+DmrlGeDxyRnChv2lUvbPWpYJ04Hm+gwMUdDK59xATri45hvGHrYYMBi1CqPWu4CA
M01QDnHxGE9lNCIpcyuL0E6CmpX0LlQi2xfGvRJ7Ju0rllxVHwVNDLQJx/YHhgbni+D8glYGzmSi
z1UPDcoAtbkhIPlRAY8n0UgNNLOir1yKyxHNqUAd20uw1ix+5dIIDPPndYUn+U9xYWrgWOHYVsT5
BU4AYO5NYQ7vH8IpOFf7lKCRf2mc+daVxQ0hJIAUyiZsYG1sMflp8ZhRGp4VG4AIiayWKG2yOmXx
H7wDjiOzNLMTwLUI650v3LUdXdwXfhn6zTAH7mFqtwDx8nfI2fq70R2sOV3n/c5JU2PELV44Fa9U
vEEOscWpIqsJZzPVi0APKkjg0EkE7ml0qCQKEgG5KY4xYb0EhyYuXA14aYeR4uAF+lJTejMY1QHj
JngTkxwBwd0sofK6KZ/EtMEia0xf0bQ1FceskAyKJlyDhAUt4VaKTKGEZPbQ1JYJge0sO+PHQNo1
gqVLi8uvyDHFHwwQwon+CzdSz+0YYBSsNdeVkSRmERzGUpJSzRwcAttFrVjfnOgd1ZCucpKUhYWX
Usj43izFLzX+d9LreUy6BEgi5r/f3DWhknh1MncQ1YZsZVegfAh2qOZaDOA08dA99ociVmtCrEu4
B6SlJedK7vcV1oWBPzWPCz2inKYHHvAmic5Rpmgl7RGs6S+v0n882HLuUfIwZxaBqnyuxOjS4bVz
MPyZbBVAslV2olP78bm/Zhbn+Hq1897W1YWk+osbfeinBo0aWDDPODxtJlWt53SsMcxhyM7rogh7
u5xRG1Kpabq5Kl+j/SNWs23yBgA+07+Q0mWEC05eKGfEAjt0mHuK83IvdR5KGBNBOe+Cv9xEsssO
c3DVtWE8p6wktQQiF4b/jABgUZN9Zey5XbJRP1p91B8qTXxvHgIjBq7gqTVa7YSssP5J8i2krV2o
Ldt0QhNIOMXaSBG44wLiUZbdh6xBQhUkuGR5ce8oYTBMINXF3mKaiTUKQe0GQyKOsq/fqPwSwcbL
4jHsPIgJgOpDa+lWOaLF2AbhRwAgdvr5sq6afynG/NcGUan/6WyyoZvSNoLKsFbmsAYGgPfp73KX
ole7sDFKiIfmbwER2nTE4MaRFLsTxS9u1CYOhiacu356I+G1aYu053F6qmgVwMLAlEsPwuwaHE/j
jPrav1OEO4PggoBN+3P5QRFRBVitcapGdJQulNlu0H4qa4oeubUmgp7bDvaiXuqgxwVx8Dkj2NM9
SMablyH/R+cxnfVJz2MDolCNN5U9bY+hNtihBWQnWzEZTM4i7DfjBw6z6I1aHqZd8yDbzOOAtq3a
yh/ko3CeNqgZPoFNk0HXMBhCwEaKGRtGG17iQ6+BztetLDT8kE7vL/nrf5TnK1a7uam4KfMGcX6u
pI+D/kqdU00sVJ4FT4aszriLGIJFK3NttE/rWvuXAt634EVIIXUcZn04CGat5JqfMFRzBKio422F
X+uS1j0qv2zMroexTtm5ZUwBIm5QeuCOJZn8XxqGvhez8Noyo3hMF0AHe60zR0MwGTUwA7NRQemj
Mhqvppq/8YESij49Y95YFvU1T5uJ+RpdUNE2qAH7kKCYBEfPL7uyB8BpKOJcD0jcyRzMAyp+0qk1
PdP3tXm6yhHRpA4EXyBvbvIrvW2PMYwHbHEm5ruiHXcEhKnyiyKEKYSUHKgefxpsLUZM7M+RcQho
tdYOz+mkejp/LDFexmmpE2qdPZqsTWJuWA8XQAL6Uy6lRBUrd1AEpAL9ref4mLUuCU+6+2rNMiwI
1cHeIy5JahQmj3OqhCZIh4DXxjfFjHQFoD7W8KYc1xX7fvbtW9Zy/mjC6+g/I07P5SNlIswL1AaI
Cb+G3UP0ahOE3Q1pb4QtsgxMQg2xEGJhwmHq1EDzT+25h3PVi0vyyLscr442XFZECg/uJ1RuBC8c
ReylA0XPIeakg+BGdTwW+PWUr/qgBdP4ZNduCUu9G5DcCJzv9xuX2IxDnIrN1xG2+3SHdO2Gt8dt
SbADkpjFGyEPwqxQ5pyeF6vKR1+D8FrlOZ1KjdJMfEKO6P6b+2ZRC6NL2mZi4wlGB+hBc+TFx7YY
H/qIsgQpNZsKnVrgUVE5uXIwY+xkef57XX/ueuEb+Qvj65vazwUGqx3lPagUtQFge+sS7vuVGxGL
QMDzuxRD7Di3cYP+grOgt0/bHTrGt8PTuBt/lRjH1uXtQFjY/eIXy0uMAOJGgRYWK2MB6Tp5FIeU
lICeeAr8q6MlpRjwBt831Vhhv6uE0GZjdstLAJYtutIsmuQoN+3D+gbc32J5jkUE8BJ+4eDd6G2I
SrMvZigYodVPDYZdLl/XBdx1oOy3gIUO0aUQ80PCo40wv2IWNnpnxyP3BtypdTFzwPhHRupGzGJD
c1rJZWUmGZCe2ccpBUde/mvcknCDSLv1R9ga4WbysFv88BKIMD3F09fXcb8AdLOQhUIGsjx4Sob9
YnedKZigrz+JL8H7R6mnLwWI76JX6WVdJOGE/uhGwCDWf4oU5aR2k14CsWXv805MSsPePSJOQOuT
RAMsb5lyluvRjzIJ1gwGTlXiLLHcp6B8SpNryvpq4wX/aitvBC4ugXwM+Kz0YduNGLtMU8xgRq5U
prtiyEDlJsvb0a8sqVesWuntkAFFvRJdmCzgdD6pt0lcE9pa7u+AzAtIMGBIW1zYAsJMWBqKI+iJ
blyZDw5JWToiCMcYJtmNiaiic+h5/XDvx3Pct8yFYfh9z/NDAB8eNy0CyG64StUA0vv6Orb1MQ35
57KincTzjiwLmvo+Yc90Ca5JqtSSKTaHEaUxhtoqubDlOVoNWdaSef//2Pu25bh1JNtfmdjv3EOC
BEGemN0PvBTrXipdLb0wZFvmHbwAJEh+/Vnl7hlL5RrV6e7XE7HDse2SCgQIZCYyc621SfQaSg6V
Fg52/8U+yRG6Qx3MtftCOxrGufZVUbImNSjvTW54NHdTj7Nu8fnsLrrDd5M7Oyw1SbLebHBYBMtB
xcpHnzfTMh6KG6X4Ls7kQczjDyeur1ibi3bAoiZ0cIlJoaf10dtrorTtUTdwW88r4dlasjCouP98
bpe977tBznbLXCmZ0I7ANOtikSeBrkMXE7TKIIYCx/PksexZWHPA6d1w9XJy+u4zc+qeihaUERCx
Quf+4wSTRpeTnOGfTKm8kS5ttW446mvXTsTv4+C7dQdgUrQr/C5vbWmO0lod4yTyFmr0GXwDD6ry
+PlSXhvlbCWhgGL3WoNRrFxGTBs80uYBH/sgIdco1X83ph8ndHbcTJFVqXaaUJxDWctFS5fOwNo5
+KVl74th+qc34sfhzhwSDKdpORU2YpF1ASia/Nj8p5tXMALY+E/M7Mx1z8Hn2sx4OUw91g6UCN1c
LuS8MucumMw3cY0p83f7+HGss/dkKyYGV2AsXkFkYpo8Ih6qcWPQpx7soFpqX/EQF9JQGNA2zRO7
KeZ3jtlhqd5kMeiGl9Mxvd/JrXo0n4qXcTmDqKjwUcNzo37VPKgVbij0yk3s4mQh8nPi7LCw/c/u
RvXcDqDRqJFisIZHfag2lVlHTqGg8qvyV+m6Oy12v31+EC4UD08T/jXomUsUcZs1lYZB+zDbq9Jr
SEAXqT8byOTWu/LRgIbwA39RB7nPbizcldCJfCXD8LvtxCMg6EXoy06Utmc3JasbGyWcFKYlqzwL
epfzNXLAC7orpyFM9xTUYmHPC75QuTJ1MmWnnsb2bfgKcVfUsVkIiaX4uTsgz+m3u2bR3elh/Jzu
0zJEMad5sM2lNBbIlxlXs32/WdPT8zDTYTCnOv0JGXkXZNdTP9aD1PKlcAfwLNUHqhVXLoYXVtXQ
dQfdZahG6uy8sa2UCWdl6eToaRzWw5DuHe0adcmlZcUpsRxGsbCAfp+e4d00Sk6mfLQstKavteUj
347PGTjCt23U7rRQPzTYPFAwBI4BXFvoVM83+lf+RoAunpbXsLYXLvgQ0Xz3LPTjs8x5TTJb2fmy
+kFU0Idg39O9bpms3AitaLfiu3VlgS9c2T6OeGacCLBZVcYx+3JrOz67ayGZo3YNssU3seGVtwUI
797yqzwZF8zEh4meWXjb0uY4JWa+3Fhr6wGEm1Ed2asaqo0gT43aB/o0fm99cs/3M7CFEV2xZzBg
1qCdA5LClt7yigU5maWPkQGWwWEQpHFt9Bie61XX0+BkiaD5stcbJHSSdttkWjAW4wr/+qUhZhk4
mf5QzwxKee0ui8WmqHHSHWJ3wNiYN3aL9HZMVxrroZGF0E2wRTPmCLmrK5bmgi8GJlS3bNuF5Co9
r6brokQvYkbypTPVkVLJbaPV+6oChMGIPVXZV3bIacv9tjK/hjsH8PWkUaDRxgYZc+O+QuYQjSax
n47Nl89fwbVxzh1HyVnKc+yIqalW3Qigthw3Vqn+zemcuQpZQB+3E5iO2VGAN/dTb3jq6nX39348
bKd3i3bmDQy9cx3VnkbBGwmtGT3ASe/3EJd8HqJrEKQLceAJJAyldceBfziPZdrMGXqWzvnS1YTh
8ZpBdtD09dhazc24+lfe0q+xzsxFxxtDDMaYL2fQxiTFHih0tK0sPh/kskl+N6PzcLNjcd7mmFG5
dY7pQ/EDfdyk9eT9GOC20ATmQUJGcVWZvnakJ0Zlr2HorHa+mQhsuuM1PrbLJ+7XpM+MlRqNGQKe
U77kziotEl93vo7dshPfymt4qov+7t3Ezy4ogyHqwa6MfElVvsiYb6bXXMylEXC9swkxXcLIOYse
47go1ALHzIjXHYGul7SuBO8Xcj3IPJoOMUwHkkfmeSjkaAo6yCWWqw2BBKNbc9OiuXkzohHusVw3
Qbznax7VX/+FTfN+2DM/zuiQ57aFYYv9i7L9el+/NKFGPfNoB+oL3c8QBW4eu9vJKxbxGzLN5Yrs
3ZUJZqLsyrNc2jDvH+XMjeeG3iJqwilJE+gFAfEytahjUsDdstvMev184hdu1B/X++xMpnrv5naG
09J1z8gTcLvzR+jYmk2J/XPnErBVz3ezIz3zGgj/kuV5P8+zc5rMrVP2YLlcivlArQetfJuKQ1Lc
X5ngJdfwfpiz81dNpLBqHW82RZ6grLVlA7lBVNYBzePJ5tRynLPBlx1e6XS0zb0zv7Ey7Nzw8+e4
Ntuzw0kRPzaT0GFnTbVJ49EfBVBUDUTPY378fKhLp5RA1dOhzLYc4zx5SfIxFl2NDSQKtOS5ANeN
V0a4uKbvRjhzt5xyQ4B1KV9qhgz19AdJb2QxBJ9P49ogZ87WmFrDLDgGcdiwtuf1GNf7ll9xSRdD
2PeLdeZshS2yLnZ7xG4/9NCEFuTX/KDtgT79oR1xC1Ob/FqR+2Kc/n7IM1uDzqTeVP3pgGtruwun
EWT+1oDe/mhwAgfQn+6LBDFvCqp/Z+V0d58v6wUZH5z4dy/vtO7vriwDt3memSoHNWAfkp3yyi9U
hPNWrEu/CZrvcjmh33g/g53EuqHrsfONNciUw2Z3zQL8RM6eh4fvH+XMBOQsrqWWYCWGhbxnmcdv
tFszKl+t1Vs/evNei+Lea3x6rwV8HftdQPab5FDzK07nosW1HEqgsQ2Y4blby5EGnm1bIi6JXTBL
2Ohnzzg6WocC/UZGdZiq9Io1uKBOe3oJv4Y8s0oQMcxN2osc4H5tKZ9VyNDXBJj/Kl5rt25YrOa9
XEbAQhX39paAsr3z2bO2NFbFXXW4RtRz+aT9epgz20TqqhxHDQ8j5rWEzSiBBL+W1bzQIIMZU8ch
yLWg0nF+SVLCthBVtDnai2jq9aGK2kg9FMciAtIEpDwBmpwepa+mf8WM2MgAYEzmIM79uN2zwrWr
NMMBT1MaDfWq7JIwba8kri4lkQzybpSzJZztGnkMF1uI7KwIsD33pIdCV+Cu2J6YC+fEE71v7K0D
va3CVZTdS+azKw9x8TX+eoZzoFtrUyujE2banpoIikjKElJsV8LrC1LGeI/vRjkzy2Xdl61rYKbo
3lzVt+OCTJ4dWju6ZYiYdsaP4qYP2m2+B3777toUf87hN4vxbvQz45WTzGjackCOY8LlKCgcX9+r
dQ0pPQYNNPKlWAC9HTmQIg2yF2OPropQNV6G4+RA/Hj+uvWao/GgB8lNv/hW+AAGeNoNC67suZMF
/+wpz4KqXJaEgMAFe24sfBkf7Phakf6iybIhuIqimWEjgfZxV0s9LQQ5naa+TBZVE4FFwdebxiPQ
wUr/+abd0yv/NdjZdGJ3sGRrYzA531F+yxkolJMfss98UN57XQdaFP3L517q8gr+GvLMM7iFkRuo
9Jycv7rJUv6d8vpKFv9y6PtuWmeWQavJSPW4xs0M11Gji4qJ+RAQ9fre8sCe6xF307MdyR+S0b7i
cf4Xe/Frfmf2AprcE6o8mJ+2gdzOQa6qRw0KIfYDNu962tGl4uh2I9/kUj3PnTc8JqgmXrEXV9b4
vN+SJhKpywy71BXopucPnd5fmea1Ec7iRLDIxiLl2Dg0fenlt3y8pl57Mar+9Qp/dna9i2XklEml
CkxhyAefOEir7dM+8Sq3vGL2rg10FiZmvJ0goID3VRdzmE1gS5Sdn9uTZ5IrI1224v+zM34GrO+m
ZCmRV9NpZ0ixtoxlbe7FtZaNa0OcHa6O5EbOGqzaiMZFp0wXFsAo166xF3Q4PliNc0YhlQ5dqg9w
FF1Q79H2vp6W7TJJfeUVj9B4KDx7NbIFCrfDo7WMb/8t+3Gul9mllCWcNHhfaOYTxUahZ/XzES4V
yt5bxZ+fv3tRtHDGkUzY3LYdgM2KrL/Wu27ZAjw7H83IjeytZ76kt+1CRuWD+/3z0a+8wvNK2eDY
ZQvx2XzZkDfibFN4fD5e6XW74mPOeW+qwtGJdvIxfNok8lDWkT7saLLrCbuyltdmc/r83VI2pQlH
xzBSTe41YniiLBZO9/wvLBnIVXUX1SbT+kmp826QIp1Vm1jYErwGLoLcTKjwmeqKU7kc2L8bhXyc
SpHxIrULDqPKPcSBfNuWIHIAYjWwU1+P0KW8nYNytVgZiO230z10sqzv1ehl22xALRlQEYF70MPn
Uz95k9/ikXcPdWa9pDEW8WTioUpVv0CwPajcbM1Es5CWthd1vkgLZ6n0Mfp82Ivm/92wp8/frbgT
xwXhQJcuocPwglLzeqiu+bCLO+fdEGc7p+4di4jTckPuwWNp4zHklGU9+p/P5NowJ/fwbiYI7we9
JBjGACON0yYBTzpPG1X4+TAXT9y72ZxFBc3EuyavMUymzLCfcr9IC6/jkG9NLY/q1zQ/L/DywUT/
Gu+cI7WiUuaxhghoA7KB0Nw22+SWJECc1StysAK2r/vAfo4XkN956qGJmfgK0MgVxEIYRxG8jMRh
+fkKXNky51wEY8XdVKV4ojQRqELUaL0L/r0Rzs5CPGZ958xY45RVQQsRuam68havbBZ6+vzdZpEm
lUARwZrpJo70iDNNofD0r/S5fHh5Z3vSNl2QNyosVUMeGeqOaVNdMcuXM1Xv9sdZoMBTZyg7ibVS
/dccQN843vRWsRhM6rcW5LzkF1MGlvljGBIvdl/RU/fvnTt6FqKnEPCdM445Mp74TAQowAX5dMXP
XegH/HAMznsjqgbSjyLDKPm9JpGJOXF+fZtARRfZ3507M6xXMkyfstYbfXNtAOsAKNHSOFSvzX23
TVcQN2P3vQSmr0zwx+fb9YLI3MeHOzOifQPOzPh0Ik4c5SDCXFg+FAfDExHCEMbb+qE6qluwsXgT
OnM6P5g27HFaTivQCu8GAOeSr9kif9CvokAuV2p+bQ77bJvrPZrk8gkP1g63phuM89OQJkHeI23K
/Bg4K7HlamfXBzbdDrmG3QKaCDB3fb4+VwzGef/oyFmcyhFP0bffe+MRbY6ff//FwN+xAWf8mTK1
zmbJMmaTjsCH1fxHYiYAxcaLfuKeGH78MwM5FjJjjmWjGYYRCqai88q8ilnMtQZnjeRPSQkSlKkD
3X/uIaK4cqg+epnfRjovyuM2a83JXCJwTVBXrjXXy2RzEOAWM8028yadXymbuz+TbL8CkN+HPLsI
2nYr09zBkDMbgU0bVWAn2hw0g3rucxNpXvBu+MWEzZzk300S3ztlYwCzC1Ap5+k3txkfdKN3Vl1C
7uK6HPzMKo5jAva7qgUlF+TJHBfMjM5N4rpVWLXirm/Qw+QMcqtX0CE1JqiglhlwuaUCPV9mZ4Hd
u0/oFQ2HsZo3qGy+JhaadMkwaRtHdPoXSrJHo+D6tM6mWJoPc2eqYwW2oVoJ4Xi1JcUXSEzb1Etn
8qOc2Nz46BlH+w9yP68yH2TlM6NLf2Rd3oIgWEBQpFPNVyLiLjR6VS4EeLc82sySh4Pu/phQ0EH+
P4EmXpmg8pjN9bbkTeeRxLgvUhANWqZhLSaoEQcgan11uLF3XTML2sw8TGPVerZxEvKY8tWYMNBq
g+OiICAyc/sYTcxMO7Zd+UYmC9Vunt+DHlzgoswGL2sHukrN8gta0dEqZFVpMA/Auxed5imLRKmG
tn4eswVzmvtUpxsty74JSwYNqQ6Csc4zRPO1YMo8NCUO+KznaSgtgbMPks7aRcSt2tkfivxQufGO
VhB04Zm5T0GlEqTpnERoh84jKKq0oNqFBDeVYJgya9CvlTz32hr6pRRUePuuMV4akzURaYw5LEWG
5FMBVIBhbS073rc1Pfbt/NymA3ZxWryi+8uvk+ngVMXNUEAklJVrze1CNI0tGCDLiSt80RWRZhhR
r9lf5txYmnp5sFoI+ZrgFFUcVO2uDcKp9NHW420pcT64DfQJdFrgDoryWerqlmnlDl1By4k1y2ls
wqwHR0VL1rY5BVpT3TVWvIhda+3U+R3X1NauQHdJ9FU2srcC+9B3p/ElhpiuJ5Jx9jLAYJFXYCuo
666nOa2hP+guCzKEp9585ZqbmYIHl7OjqdebWRm+6q1wQuA25ehzqqx6V9PhrQV+X3XzG3WV8toE
qAnN6DzXlTdl2odlxqLYkttCgP8o6ZYNpSDa7VyvtNWLMcVrPXMXJRZsTHQPB+LOVPJVZ9W3lvNI
d2y/l02IJqNdPuqhpuqN4XZHMuY53vxo+26ioXjdVzfZ5K66CU2TVrEdeXXsFeQerPFNQRxZAmjj
ZToP6pLvipLeZsN0dOMy4oUVERyLebY2Vqt3nj623wbQnXkxdVdtKfeFG6/6lHxT9pj4Y9Kt7VG1
oeFmAVU9KthyWRnDUq/UrpIuQA7f01KFgD4ENJ4PXKJZ35LRJPojcAm3Rmpv7bF+FrF7OxtAHOVV
SFqQuOhzMHF7U+XtDBgSorjanMKGpt/NIntqWFwGtKve5EjCSrmNVzRA2dTAUWgZCGIrHWR6on/W
S+drTbRdIdM312kDd5TBJLNk4UjJPY10txoqgFNBRg/R740WTzdp1R9T5qa+oRcQDdCm/SS6B5lA
FFwTgaQiyupe+oKMi9EGIFuwNS/c0beo2Mh2WOtA57Zl7QO76fXtsHDjJLKU9qMBiZtXx+ARtzry
oo/ZS5YZfmqoMO7wFU4adY7u6xwNMoqDNLaUC3POo5kPh97t4C9Ai2zWaPtwwYfm1L5D4xQRLg3L
ApxsJauPveQLQsegnOTajWWkM+OY2hbw14n2TDUrzNErLUrpEwE6pVkDZI75aTpuh4w5WAyrDEYb
uC/VrHuDhpkGbpFmpkgWdckhL8STMqatJgtI/DD5Qx9Ak2j2k+1ZVuVrdbeqGaSVJ+SajGFb6eYX
Wvet5ygCUwgPURqVNwEu6AEIuTfHFnQ10t0LOq+6HIGVGIHEzKFZ5gxvlt1vzawOTaKiNAHnB1XP
aDw8Nia56fos7FK+pHOysKX2anKysMkcaqxLYf2GyIGEplJ0kzROWMjcB94kbFptnfa4P4H+4kfl
lA9plWwYqaPaUEvRyQX2E4rA1rSD17gDl2CUCPuFa9MxToiNpL5c1ejn1MtxC3ZybH4RKFaEg2L3
aBiJOoLrW5uFYLeMYsVXoHBexy6aR/R24ZTuNqlwl+rEfZfPR9qPN21chywHqUps3I1dnYTxQLwS
CbmcA4k0ycg1J5AnQXshziJ4r9eWqJ2WTHuu8q8jiQP8f1jocCZC09ZjXyW+0OZXdOM+EpGuwR69
5ibQWkX/tU/LKLeHoOdxNEBb3XaLp2nqw9pgWzR6r6B8v0MtNBCxs3bhpmRWpyAUsx54o2/7wQXd
C7KTBSEvNopockjCklkvA7SQhpwdsxncqLm5I8yK5irZQ+3mMM/EmxMSTFOKC6R+Z+oDOALcfpED
9pKXOVh7212dmI8ySdauXsNPjqDftuiCceNBS5sCmwn/omvkmbr1OgX1HlHcs4Eu7a3NLPv9BDWk
vN2O5g85dWE16x4ImQML1rSeQVZjV2+zmfuklkBZ9RBXaVjgobgQpO33Or3pC9PLjMKHNvadzOdI
ZAmUN2tw+uqQKjHVNssRmbn9QXPBPp4Cb25qT8g3RmCRC7KkgcJ2tlDo17HmboUo8YDaT+AUiBpV
6VekWY1GttRa6mnlDC16K6g3k8/1HmxmetSXaArOrWU2FqtCi9QQ2ujv4WX1AgexUqDGtDgOuu3c
9CZZc9AOe0kJmKJTHOCVfVObQzdJj7pR31mtEQljOFkEUPaqAHTex7rU7uyqeJQmOo9zugaY8mgk
bO1U9mLo+8hlsT9k2cpKh0PBTZ/ReM1q8sA5KT2EfYnnFm1I9HZnmIhLhA5J8TyyWmvvVvFNnLqe
2xWLJq6eCJFRy9gKeOqDZrQ3LWh0vMSYNhaClcnpQ1vRSMtmUM0YWeyrodoNTb+XphvSJJbeZIFY
3py2eTYthkJbDamxmAS47pm+RUvAYbDse9J1SBGo2m/b6gvl3C9rFSo9x0HTbrtBD7MxDimt/Kas
H9IYqCNbzU8qoYvKSlaznvlOzQ9AhKEhua22UzwHOPBbrtXbbG4WQykOfdxDerd70pL51bbLwJic
qLL0L1k5bE6S3ZDzACOhU3h6x/BG89QNSW+G3WhE8ZQEczVFPZkDu66XguvSsyd3wwoVaGnpd1mD
K3t5CtHEFuC1jZl0ypcN+yrjyvEcO8cNQ0J6is/pdkymFR/qRy7UXZt0D3FroGc61RdZAztbNVlo
iiJ0T/ta18OxK/eOU+meKfO9ybIDupmfq8ZcVzCP0GYMew3yyHYFGt/8qAm+lNpQeAj7B2+eWsQV
1RcLp9+ysrXZ2I+Oyf3WQJA7Z9FQdGHGSJSlxp2Zob5bdWGRJNGgleHQyqVWOm+ZkfUeo9Jr5vip
GtS9ruDX5GDvk7Hs/MEFjW8pSvxev7TrufRtyEhQ3Dxoa/wYOnejtC5MO5gllP2Kzg3MJF4yq7ux
53SFpjHuMaGvWYXMOihkEVwP43dnyvrAAqcILcrcb5I4FIgF0cCyQOsBAGj14E2IpUsLfsZ14k3r
gokHiW00ec0M7LZ16GSAwOdJBMuKq7Jt+SN4LuPCRSQvIhB53NQaLgVW2mt+zjnAp6WzMqx5rXXT
68xpVCu0T8OBtRY9ssY4INcdUgbZMq3cq5geBg4YsW2AjBwezjCK27E4LbEZqhn6hchBkVHfikwt
LJJDxq0c7zmXj03ntl6LtTDQfkFIGzZ5BUsltuiqjlinRSOfgqS071oF7zvB6cvS2qoSuVYGfEPH
bU/2fJHUbjgX2j4Ryoio1j01oPEmBgLcUjJIerhOqOeVAe5uqJ25RuT0CN5aeG23mXYlCM49uLvA
1hCFsmRG0FrE6zKp3ga9f+HVPIL2Mf/aaJAv1jogLLRM+pwOHIkh1JGMbi1MREg6LrLe0BjHpGwf
iTPeipJEzdw+57KNKjmmeK98a9UKkRDVt0kBHeZUfyoc+mg77XGkECPBHrOA/E72KaDorBn9ah58
18k2XdJvYyMOSe5YXpaCJKiVYenqN6U5LxN7BFp2Xnb1/CL0aSWS/l6W6B/N9MdRaqlnTe5RWdwf
Kxht7i564ewN04aBdnyLG75AEV/JIZwlPQLJ4bVS/uhH3Y/zae+0TuRQ3BzhJHtNLXiloqQSdwrN
jZ4qWdT21Za7ThWwvg1HKpZVSVYx5VeqKB/zLf+4yTPLsFzcaKATepYPaaUqoNiNfIvdmqFsvHye
Fj8TIf/5bfw/yVt98/e0gPjbf+Hv39D43GVJKs/++rf7usJ//3X6nf/5mY+/8bford6/Vm/i/Ic+
/A6+9x/jBq/y9cNfQi4zOR37t266fRN9KX9+P57w9JP/rx/+x9vPb7mfmre//nj9DrBLkAnZZd8k
6j5//2z1/a8/AEMygQ9COv8/34/yj584TeOvPw7dK0/eLv/W26uQf/2hOfqfjk1cnYGcCYA195Qj
Um9//8j40wZ82nUd4CmA6zh1/fG6k+lffxDnT2hOuY7LcP+nSC7htwSuB3//yLTAreICa4c0ImPm
H//9fB/e06/39h8cd7Y641JgVj+pX3+leagFAAFhpuWeMJHIcpyX4925HtuizxxEzFKIkCgr6QLQ
sA1Q8gBEyxhqv0ZS2deMoQvUeKp0gXTRO2VWUM8KHQ2+1jb2g21BAaXogtiYlKfRHABqFyYuf6Ll
oivznSPtW8esX3Ne3VQUx9qthT928VOW6CvbGXABLN+GafSFk63QZf7iAghUugilZfzNcsQR+MPe
L3ITiQhn8oXE/RAE8HJythwKE9yCyq5khyZPwlbo0CfqZ5/JyaMmUBi5Free1VlP2Yy7hRzFwYyp
8GKhPZKueCAOKn4DbjhD7powMc5rfUrjIfh67Gr7dmqM9QjnQVMeZo59CzYPXxuySGMMLEcFjfJT
ntRyprcJoTlYLpLH0ewfFUNFsZlvqZ0cZZ+8zbZxX8v2kCq2Qy8pkkT9vI2Ju0RvwkOrJRGrzaBt
moVp9Atih3RuuV+A1YYU+FbZooSbE4DTB7Vk2NQO8P0qd+9o0i7oMEagdrxLrV06UE9mm7gKBUsP
daV8olZFnQfwOhyd0+70QroXwMAOquxWmjbskC+y8KrRuIh0J2KGpA0F154AydU9WstNRss1gqIy
fRtVGbcrlwzkmCsu5GYaVc9BKpWDRC/lK1bS+xLNELXXOkIsJk1fCFsjd7nbxnzfWNbMw9HqFnNj
dUASExHg1d3MifvDyNt7W4iMLRvdSqXXaT3xh86ClDFFFKV1A67OcXszluCNWZQlhLk3fQltzP9v
x37asRNx2/9ux0Lx7bX6mr3+bslOv/fflsz+0zVctIIS20KPOqj5f1ky9qdtWhSZcPRrAqPm4KN/
WDJT//OnaQFVBEP37E/BoH9YMnwEqihXR9+M6RoG/vxnLNnfKb0+WDKg/GFJKYFldIF0wUO8r+HF
1DbYWEhnGVs1K3Zj24FQW28zXPEmnkc5026bpPItpGCQ0pjKEJqy9TOpBqaHttBAGzLRpoN/bDSJ
Rkg2on41JIbkB2R0VIr6qUi/DWhI9qy57baORsVOQVgYxRNO18haaBBk7of6zbJ66NLrAsEU8KwZ
pFAgiDvYghxrPdF+xJoOnkLO2AvHXQzZ5KmCdpLJ/Lwr4ptSTPopqlC+k2eBgnhMzJoXQe1o6LNb
sLCvHdaDkFyMfqk9jLX5xWqMDZSebl1hO2HVNDeZwWwEtbgmIIO3cRJzASu2GBz6TVfdS9FBHcrh
QE9JtC9Mhh4RVlReLF3E74YKBHODfoxnLyVdNKlh0wDK7puGu0zbZJcN2uNAuxtRF6GD+Lfu0CKQ
g1NcxtmypQZaduWyTQa/c56sVPiNgTKTgbS1HGEs84k8pLhWGdOwFrRCEiBDxs4NnYpvtIFGJgK2
IBcO8Skd1zPqyXUbI6U5L4SLBFclCVLjXXtMXWDZy2HbtiyIabXQSnbom2yD6PCeT9l9bcb3SonG
z515O+XsvjGaZ12LBWR0FXoNrBWydIdcDHs6V0B5xTvdBjPaON5BZRhEqs2qHZGpHlj5bIrT6wFV
tTey6j62BTpqhhfHGlckQfJ7HPR1L/uQl+2B5PnazPmDno/fOmNmqz5vkZVz09vGct76yd3OMfLi
ySi2mTboK61Pnx06bJmFq7qjYssDNzQKkvPeaMdX8Os/Y663iQA1h2u9VjVVHmiURhQP/KxKVnDR
ICg146N1otIYXbqLq3gF1VLXK2iBW3H5QpLpyEgRpaq8I5q4MWO5VmzYdS0/trS+z820jdyE7brG
/RIPA/ERbH8nEKGcm6kNYqfCPSu2Ss+Iq0eUoKDVyPGuM4cCRDk7wi90iCeRqt/Fg4EEYwanEY5Z
kXJQWqNeBVBCTy0fNTSFKpy2pppkkSK4EsopQU+CM4eF3SBTomernM7ZrTnCCyPjOnk9yR6QNECH
vUHnJUnAKKfhyzzRlXcFCebp3iwjDVK0iT9zgyz6PH76v+xdWXPcNrP9Q5cuEAS3V5IznE3SaLWk
F5Yk21zBFVx//T20v1gjihlWnNdUJa5KXFITQKPRy+nTMhpa6ixoVnFSo+7b9bLjw43clMUAsi9A
bSuE4MwZjFdeaVY4NMg+o06iyelOrsTLYHJbmIqHfAQ/xtx8IjHikpzXqyJPYkcE7TVmiqlWmZPL
OECY2CD8jExjk+cMUSzvnb5idyhAIdbzgSPrKSIpMCCa7e0QM0yGRyhnoM7kSU99QzG+EdlTrh6o
CmA0UmUbpMV2CssOAC6utcp0JBpcNXmBuYmoK9KhcPzOrC0ygHOuxzh7DqbojcLLCG5ABdSCWWPa
Ems3Q8fWREvECsHbIRDE1mL9Cq7QqtKCr21ELyOj26dMsxuh2n1co/ldR/q2i+55D0Ry0twInb3V
RrPFPFocYLmXUlTPhmpEZWdvSdkVK56ljtZEDvXNDafRKuZ0JUrfaf0AoCQLEYet5pbRxO5Ao52U
G4UFtoQND4ttrpuvoESz0lzdpaJ30eXvmIOyJrQDZxho9CoSPicp30aluVEq79FMy1WSBHes7Rxq
lKFjCvUqKtRvOQx0QIx9VnQAUVcD2Jh0sJ8iSuO974KUYqWrEB7KgAkDF2Coth6Lr2pH77OUvwya
ucWorHXs6W4p9BsvBTtGhqY9pDSEujab/kYYrW/VerSmnXbsmmwfBuxZx2APq0vFK1LHyRF5dxTa
Av850FMPGdDwKi4779LwKs9RBA9h9zRxZD62u5SKZtWl0StvyVVG+ZvC2lVZaLVdRAEG+urKHhlU
0+66SrLbKhyOKkcGufAw29YbohIFgH4sp0q10yQ6xsYg7rVKEt+lcGhtVehrXqDCRZM+Q5IyK9ac
YDJJVeWF0xsiCVZ5Iv2CYfwX941U8n/vL128fAurLP3sLo0/9pe7pHyRdcR8ugyWMBW5JPzVX4Gf
8gXNsvpI34EgD+0Ap96Spo4tN4jwNDhHADqdOEvAQaLfGw4WaLd04584S/JPaMIHZwl9NUTWGIO7
RvGFE2fJN73CEEVcbsyOjGVqtFgVqNtL6HrpeK/cs1RJrbIge5TBhNUVBqhG0EJimSHmI0kRa/ZF
RH8ofoM+TLXDG5KzFcmzyEqKsfwjwAesoeINDJW5T8OWOook5TZA3je9EIVtGE130EBNZkVjppNL
5KYs+pWpR48U82XiILA8vU+cmgX5tkZp3C599RgRZCN1ktwzSUejcZbrdk/iFajsVi03Wyce4gcy
VEdm5neJIK8h17a9WYJzR8UjTsNh1+TDPojRoSaHHduVSfyoqK0bqb7ptHFyyXHj7K4IH2ojV+xu
LEpLlXlIFJbYPiZDlIp2DQ7x5z4qH8GI+FZq/bAqUVOyacgu0ZL/LPQS+9aU8phivWuBb7AIJlRL
vbYbjGZV8FZzowHpXF9TnIrhpmNC0zU1Qeik5699r3ZWR7xVEJmhZdQ18pLkBR7NmqPpwW59oCRD
VnhvEs06qbBCBp6pDhGgVXVZBxsUHxMS5rbiSbtWxNm6000QfHg0WBOh8JXaIOJNvQRhGKovge7d
9azvV13bDVuViOoiF/hpNUS6Wkv878TETBpgTyrL8LCBKUMBk8csv8wq/VvpVZdc8hOUxdvGUpGy
W3UNqn4dZiTgj0cv4Ot4qJHrRkNEjFqDB8K2xGiKFUjYb6icZEBlZhhZxzIbVDD3Ja1vMIZbtqW4
Sx2iFzt9qJBroznGusXaSpY19HkIxHwU+HcXPIkos2LO1FokA1qdzWpXKHLuaNQ7Bm27LgPlqYmV
+ziR3jQFKbaeaKsKqa1mH0TwHXcGyZA51eW6S5Aoxr78F0r+CiXPpsTWyYuffC8/m0aGH/vLNMpf
RqNoyIjRkFKAvXs3jfIXpLtUGECYR2TLTiJJan5B0xT+D9JpskoQMv42jvgrqslEN3X8vpE96B8Z
x5+zez7YRkOT8WUGxcx3UJtOYV0ai2STJ6rndlWg+0+Z36BxpJVNQC8qFTeWZhUUjsq3BjPR6ENz
UHz5itAAWjINH0NSgwZVKpA68XQdRz5wlpj9ukp4isEQUVBuUlO5LyLANGrMSJLUdMV49cBVBdiq
ZrAKmew5PDud06diqC9Qdl3zIb4yQWcYhqoGZAe8kpxzF+UAVJ4CuXF0UV3SlvZuwVHG8LWmOQbo
i22furDANZQCSdyxobstkxpFzTI1fcfMkmIXZ/BrO93T1rqGFLrOQOWoZE6H0dJukqWgEyvlG2Hy
Iw36LS3XanA59A3sEPDUF17hi//yL7/yyAZy8n/vTyBxG3++MePPnNwYBfcESv47VfyXM0FxmZA7
ZuAh0xToK+7ZexZZ0WTcCAreLobkDICSf2WRkbFhCpp3TR2907hv2j9xJ8BFhtzKyZVRCdqwdfR4
yoaG3BAZXZrT3Evg69Rvm0xxiyF4JLW6avR+06XAGItW2CrAOYJH1yw1crvwVGCC4jC2q7x25Lr6
EbbiuqXqRRDVTlkFmkVIsw7r/t7rq7cAg4NAC3aFecTPMRUHpUhBsoQEi+dl4GpXH/Eo5lavaG/a
oLyaUmbriGAGJBYYXv/OEzZQKkhPlMaDWhUPZg9IRzlchRS4oW5AV0mbHEicrhXJeCha+SEt2vse
7e1Zm299P3QaqV2RrnJomO8KHri0q4F+qQUe4i5uLcwgtvwSWDFFipE/Ka9RYbJkYfi22gqU9NuL
xpcwf1cgbImb/NooGAdkUXezzkPnIrXLIL41fDDne+mdKsNsBBUQjxXSJNW+CrJdjehwl3ZlbTe9
l9tdVCuOwYoNLbWXoKt6p5A5hnl4GjA0VWz13AexfGBe8bgv12VNXzFoqlx5urbGsPgbMNZ1N2kz
wOvAKLgi0p9CNd3oHTJSyMH0dq+NU1IFxrzAhIEys5IOwMaDVLU3H9NcekSa46kypEPZ0GNq4Hey
FLRlpLws2G7ofZAAoggb1pxcarlpecqbWVFLC6unsGi9I956FEzlGGXXSKzrgKR2mee+W7U9xlGG
w4pjGmaNqcjVoO7NNP1KqmGfluIRZdIXFZB8zG0GXKDV8rdEVbc99KenxjFJgfkh5VOWmehXU1AT
rVTDwwBkkOsjGgN0yMt2KqreQ9Zc17FeW1XWP1BoXVRWOdqS4WKAyfrWi4CP0vs2QK0YIEZB0psA
rNo2jF9mNxR5OW7QtVTp1wCFYgquYGn93UhR7gf60NfsQcAy4xfAU1xnnXKkwlCLtZcYCWgqOpUr
ey2qh1XEM4kA90X1lSwVnWeFSoSTi+uyeM4J4Ed9gpMrom9BjMnWpooxsmoP4+8ndbCRWB+Ctlkl
q14b8y2NsY8q5AI9D2gAKyuQObISL6wG+EtR2qCqock5cjF10u78EM4QALAq5pJEoEvegVPSG1xg
yopH1asBy01DYfR3HeFVZklSq3foH0iQgf+FZv4vbBy7cf7ezK9RLoyTcCZuHH/uL1PPvoxEnnBi
ED4i3GN4Bf4y9eoXCgIKE0l4GX9M0uwEzEtwWxRkv+kHU29+gXkHSwb+BDH6GIj+g4LhGBeeGHoG
lUAbnoLCJOJUeHETQ2+mXa5RoH2RNEU/hVa7iUfqA9CpaOEaqm2fGBLIlv18od9j/LWfxMK1Q91B
NfHQwfc7fV+Uum0I0QbASJBICZW3uH5s4WOdnAbe2N7P0tNi6OQR+7W2EcxPGMoYKhnr6G8vN2Hq
j5XT/xvqsouUtgWZivrY+U+t6F+SYh8l6et5OWiTm1mOiVor6vEyBmVMOyBC7hnAngfNRmkIpmrJ
dVwjYy/XQbthZiW++pokqJUDV/vae01yF+WcGE4fI0YDTFeF/5cqEgWNtcbZD05yeog6TVtXYF1H
R139zAOYXVDeUqCwlTi50NA0fxHpim34yQ+dk/RQImcKuihgPg99SL83UvWiAFKVVp3bhRFw1n53
q0UAy9aN/KIEHKhDAHpB3lxHb30pYjvViGqjKPgjpOTG95UrLy49S4qrH2pZg7AprdaIidHLSzW3
8PRNlqHtyFOPouarskFOm9d0lXjdBj0GTicZa49GF6A6R12l2VGluFB8BfhUFkZ2ViIOFmZn4X10
qzLap+kD6IK/lWm8J8DW23He7ose/K8lXjoSOCWr17CEjoLHicWhjlidWS0+0la5d8DXA4Hkq/02
yvvkIfLMvdkX/VPopyCkaBAr+0zpXWkEHvoDkQ8xAJhOGPXmZcZDhMEBa9YaJupscA0TzK0AA7Ms
SbKrEzEiinKAzUztGI5VYg2wPqq1ewI8uSV3CoIDkEpZqEwFuZrvUVu4x6Dt7qBSVKDh210BKuM7
tCUHxUBtQ6mLow54ocJDIDcH3rngfkeAzgdAnUCScsRz3uZXZd8XaArIfeNYaaS1q9g48Iyuu2SL
4OVarnTFikwVH2huEjV60wKartMGU+o1AJPWMhGvLOoeZCQNrcrgplXl8l3VgwpUjQFw1QbpCvWf
PUBNHYY4ejeZCoB5Xht3UZJ9pyp4DjI/JpdUi4AvNsP7No8He9Dl3B7qPl7HbSM5Wc2yVZqSo4dy
mGPgTbW9DlNMSV4IZFyrfq3EBorvbbLr9cbcMJFcUVk8yzEx1yFneI+joFqLSInXWj08iiQJlWPU
VOxrVOqXuAl3iRflNuI5+S2rtSCHipblIYxl5SDhJlpB44s9BoFcybBWlzqGt16hHYUCDd8sdOv8
pGH4YK6gUCqDNQYUCGXyMfY9tSReRPSyAvX4JslxLHlktUXrFEoBRPMxSG/lQrKS+qlm/uq8ZfnY
JgQwx0+5BgAlijzGwxMz6cVpo3RwbDYDf46bh/Hp71vMN5FBZf90XtSMCVNBeww+JJD0UIbi7Ycl
AsknkIfP643p1YecNhYRfKPXd/9OysQkg74f/SQJpKCOY9UEY0S4k5VLlBQ/QS4fzktD3Ri5UFkG
hyeQOpOmycggPmpnnthEBJ5Pnnk/UtY4rZFlax/4TbnGtOmAVontBRJz4zoG/VHb7Xslu/253v88
ozEi/HvP6CJLy3Gqzif4FX7qL78IaIGRH48BxSaDu/ndK6JfTOAOVBUE/Cj9/8wm/RUAq1/A0A3u
KsqQjR1hTu8BMEOiCSyqgB9gbA2QAfRfeEUYBkI05IrU8cPwCVOEHZdyFSmRunVTRXY8Hx3KorMa
eVcSVJP6bdbRBVdlctE/CZyk7zG5IR2YVLVuXqF6FouVohZ7ILg3+qCsJF5vT05jxjOaGrRf8nTd
wIuGGB9Vy4+3HXzujUcAJHQbTX7NYp9ZviEM2+D9mkTVXSViV47IZVWCyQXD4L6dFz9xzH5JN2BM
4fzBOf7Z83zimKlFlxohH1eLKmlvSDvO0u9Nlm9L0ZQLOztalBNT8EnW1OIADyJoiKMMq/6OixKj
hIqF+SlLIqDLp68DkCJp6ylYTiBgXOoeOT1AWxc85hkhYLfGXA8DA09AHj0RkvpI+vM2at1eRbaS
hWVtmSgTnj+Yn5wsk90atUFh49Q3+on9P63TeMjQBOMG4CMCeh5UA41hVQGxG+UijzAGnYAvWOts
v9UsRUUh/aAW4AtprRI9/GQ4MPogwl2u/A/J9QGQeurLT6lsxnP88GX04yaT1hM+KiOtq4TElbQ3
D2Uswg9Jvze6W/OlfXpCqYfG1UrFIDmE/82V7oPAKUzkuwh4jjhol5iV5jcLubMRhzvipCZHomdG
JrWAX7gxi+xG96x+uKEGkhvMCcPNYFyEGFgjyD4PLtVERm8JwO1w9HhwyFiA8Y36mFgC29/b+UOc
hHS/durks8bbd3K74IygKEO1xkVbXcsqB5PKvks93Cf9RQMNaQI+i/MCp0xanyROntsEWBe4uWbj
AvHnNEZ2BU/I0qXMSk0BkI+EeQ4Y2wNvENYWHYiugebSINsL/6Vrr7xoF4lvQSGvpO4uY+k2KeJ1
0Cyq9mjSPqk2QyiNQBC5zamDk/mJVAam2rhRV2+SWkV3FRri6UbRn1AFWJs9s2IAk6QYY9Tlhe7r
mcuLYSUmLB1qEADWTcxt0deNhLemdhsaH5CuXBc6W2C9WRIxuR8xRTvhgI45tw9MTJEKkSuLmHF9
/qSVz+8U9k6FxiNFjfkryD180K2Im1LDCLpdepvYhWVa/obYylqz+QbZqx1YFjfFvW8FTmg/9Q7o
7NedbaeWZ1GQNse30pFs6k2wK6178H8vGa/Pij8eLMpM8CrgwRqT+4hZMbWehRhZ5z0nyJRt24tw
hx7sFTBS69aRV9o6c7RN7norbXV+X6bz+nADIBrzw/CiySj0Tye2AMXiBZ7XVm6g+rceD6JLZAli
O2wU4P50eq01g6sBuAF6SFQ6iz2a1FXU3j2wIIbYQCXCdSGVjfhwLw3d0jieceEfVR8cxAxbA4eG
IRc12RgAEsc4H62gvsjsjr4USHIbUriwCVPW93ETDFkbK4Cjb6b/zJKcGB68XgVB25dwtYt0a+yU
N9UJr5w9KuWH6gJKcYXpxbeo5K6IQ/fSzt/6d8beWHiMZ1ybj18xMX9lNSRVyvAVvF95ieXtOsMa
54AFtvYG3CIK+OfP/vPFYwYF9oIaKi7Gp1GsFJPeQI6oCreTnsOW2zV7PS9gDC6np3cqYOIbmq0c
AbSAXmnZuOq1S5HVaGR9igfM3mWgSWECsPslZrWZe24gt6gB04LKLapOH+85BuXE6C0jwlWoPeby
5XWL9tTQYplzfnGzu3ciaGK2EsmUVI8MOC1g+/MUMBGUE86L+Oxt4oBORCgf15LFRWEaFCJkpL+N
PreC/Eikq3DJ01zas3GpJ+pftwgb5FFOrnS7RJZXAeku0ix+ieJo2wi2MJ537lKfLmtyqasUBNZD
jCMqYvjoHgASV318f37rlpY0uUu1CjgbmJqwJPMeKTf0TQXyBaU2/3peztJaxu842brEN3w/H9Wt
Lo8GqEVS/SCCh/MyltRgco04q3spCyCjFNEqUNJL8Is6oU5uajk4nBe1tG2TdFHgk8Gra2wb/FEg
kxInlOEg1okt1SgqVgubN6WI+ml3AeIf6WuQv/mU7dAT9FcryrgytOvUjgBZhOSCjNCKrPvENYjV
01W+RKE+e3Hx1lLA11CImMYjgRxTP0lGqySTuzqKV+ioe/6DbTwRMdG+MGOl2XpoMB7QWkdBgQBC
YXQG+5eJVi2YoVkFPBE1UUBQjZdKISBKbsBfF3lWlVzHGEx5fkGzlvxEykQF2y4LtcSEFLgnCcYj
C4QGNjkg2WbWTt6756XNKvyJtKkWZugCq1tICxXDUfS7kVgo4tRO49V5QbPq/i5oSmaU+UCat60i
3Ni89YC+Y4gaGVBzPrPNaMnLmHHykLX4rXcjQvODqQBRArqWsKr4QQ7B0HTdbbynlIPZQF44rSVJ
k6cpbUIzaEwsyyjsbgC/hbarCo5OZDATeJHtl0tD3WcPbHxt4UjBlZpGKJhf4yloOIO1bXobkZDF
veeKBk6mL+QSZld2ImjyUlU6N+OaYw8734mzfX4c4K/JKE2vF9njZs3Eiajx4p1Y9t6ouAc8P5Rw
7HaQv6NE8ydX90TCxEoUhq51WonFGJ2yMqvbsTtkqBdUfNY+nAiZ2Ad/wBRsMIoLt4kOaJtGsea2
QXfw+Xu0tFcT8+B1Usz8CHY89FQbKAYkA5cmxC6tY2oTkDxK+wDrCKlu5zWIqwBES9fn17GgxwzF
8NMzN5sQKp5DiOZ3VtQFEMRXQQeyyuLmvKRZg/p+LFM+WT/OJTAbQLsAd1gnBrc4u5Pqb2W+R5SG
Thdq9UtDWxd2kE2sQmCQutF6HFIDCvZo8MDBEIKgii4Es/O6wFD0GwdFoq78cQ+DRDOjtISYhB9E
exA8WVC2+UN6FzBZB7qryiIA8Rn6NYAUTC+q/tgN17qxcHGW1jFxvrWM1aUuQYxRlDYdDFtdjFXm
V4IYjKLa8xneGYcGuDRS0OU0aNQRebWWwSoHcjKjXwgt59fyW9D0neNDnsdV00HbMH1Y8541f8Fv
XBIwOfRI8UOWly02K+m3edvvKU3uz9+YefV9X8P02EWXh5zjPIR3T+va0fntgFrmHwhBKkDDv4Ak
Tud9gEGtlQXHiWRmY8m52yfg0TcXcmqfMYp4I5Fr+C1lYss8Pxoy9O0JF7SN1aZI6tc05T0MZ3nb
4GFryqxwpEFeG7kpWX1nrtBsufIEWiN1VtkSQ4U9aIYLjXPtTy7v+5dNDWAWo/coYzjHQf2mh3cl
fTy/v7Maj0ItAXJn7PsYD/nkUY0JOspCrRFuEN2gOz8eLgGZDOU/ubonUsavOJHSR57mlRVW0ZS5
1VHFklDmPr+QWUfkRMTkWQ2o1qMPBAvxCFoV62SdYr5Uj0Z+vURHwyWpFphEZy/YibzJC9tluRTS
VAiM3bzPVZR/vfCPjv79aCZKqeVqijI7VqQqGgDYFz2qauf3bPYGAxmma6ieIpc9MRIE0xwCTrXR
SABP01xy/6Vv1/9OxsRK5EHgp6oHGYlhrNCyCKBks2qGfzhz+VfgagJYgY4q0MFPx7lXAqO1UYpH
2J+jHqKAGE5borWfksFPZfxMF55ocWjoZVxxyEADEMbk5G/8EljLy5E0uL003NpWH6Xb5Epz6JWv
WNUh3lZvA1+FtnltlE7s7P4hXfqnD5qcXwkETdzW+CAAa0oxOIBYAedZLZzgXEYa6YDfe/sTInGy
bgxCMsX4NLqlwzEk5iv/Htu6S9YA8lzqoDxavYSOcQmipHhB8qxPhnYLZCJQ2tX1yZ1Ws0jRggJh
k/csgWOTgDvVWe0aZinZgqTZ23wiaXKbZWPQA7VACoLEyl2cZi96J+7OX4TZ0PZExOQ6I0jKW3A7
CbeSjgAir4BWAt/kAY3gGGK1lEmev9m/d86Y+M2GIXSUViDMKL2bUEoRuJO7hi3FtQvbNq3h9LCC
6LAdt616wYYBh/1HFup9Hcrk4Si6qsg1rAONfpeRFB9YrEgW48XD+cNZ2q9xoScq3vW114sWchIB
MkutAl3Utq9+nBeytFvjR5wICcI8a4kEIQ3Y6poqsMylEXxLy9A+SlADFfR4Oi6MjidDjZ5GSq9Y
fvt3y5jcykjSMWJvPBMw4Vgp/wH2t/MCZqrhcMfer8rY6XW6UUCgJ0PLIUHCuFi0QVjda3AFGMkm
dYY9/nPrZtQyXWHXKP0Jq1Ld8x+wcFWNyVWlnDbomYFad/0RLd7olrS6VuxA9mP5ANieF7agFebk
qmZSUHe5Mj6Q3kXKXgD7PP/7F3TiM/Av7GlXQSdYelSxnV3mWUO+IGRUrE+FpfcTMyevfGf6SUBz
nFja7eMYTGLgjALf+UJQM1sWPFGM6TjhoR1UrQ0gBuOEL6tN76pWf0Muwwf6YLjlmv4wnryDL4GW
0ALJ4ouy6jebWxXVunohYpj1Nk/WO7EXIvONthw1lIubEiywIcYYs8EaQH4Rlxd6ugQQWVKSycUW
Gihiigga6QMbE4LTjqcLGfLZYqeCfjCDAYFC5Ck1vkgHYBpKLIlhSIIKPWkkm3lXYXZAt4GlxdcG
9ayiWtjIuat2KnWysEExfPQEQSoI9frOiYiDXJhi2HzpxJYEjX9/YnxNveF5JkNQhwxlA+rMUFSv
IDUCg0vHnVTNfpy/dnMacrqwiQ2L6JCSJoE8ch0dQDiW5o7IdjmxoyWjv7SyibWKY4z9iX0YkMDY
Nmi3TjfoqTM1cKI455e0IGjsTDndwqolKnjAoYShB44RA012CkBUnRjHong3om4WVHJhC6fTY9K4
H8p21EipcnMD3a3g+c+FfNvL3z0erU0eLHgbc7fs5Mym0IsirjBHTccCZS2zVb21+nJBwpwxPpUw
sRtprQ/Ci8ezCu5b8DnLKlBOkbI6f1DK6PhPzfGpmMmtqtqCU2kUo+Cc7OSu+CE7xFadasNcvrtL
b/2L/GVYKbscNHR2eAECnav0mN3n+/hQH7Lb5L7cBfGC+syvHY2goDVEvDmFauYJq73Cw0Pk54MN
T8XBuDVLqxfu3fwZvkuZ7LDec4WDIBFK0zJA219NpVs4w/lr8C5hXOeJJdGFFuiSAQkKeDwR3GUO
2PxQeINKnj/GKfb8Z3yHlMzvHZscI2KQCn3okAQ+7i0NPAw5Y5jwh66/NE1uuNKD41h3qzTYD0b6
0LPawjDPhVObi8FOv2FiN9HDlUUAkSLPMWxSUAYTqwCBtx2rB1AFL7hCs5HmqbCJ0cxJowVminR/
tuq2+ldxpzhsVegrsHJI19IuB3vNjXLUrwy7/3p+r5fUZmJEpbBRWV9jmRLYcXIhLjw1WoDVLej/
dMLgoPR4EMYXwST0u4ScjA2W4GMl9c3CNo5q8fn2/1ab6TRB6kdeGPijgmbqtgBfClG+oUl8lQab
85u2tKKJ1ydlKsUQHWxaMQxWxl+bpLUZ3/47IcrH60Y8jPTSKmxbAAqV7gelgH/9j5HjbyHB8y8N
uCNUpDnAIzFJpHhRavboAoH7+uaBvBkENS2o+e1MXfVswXosiZrsmSjKwh8wqsPlGA+v6N84aPvQ
77WVa7bLAkwG0BY0W55X7ffFTTawMhBeyDIkijV9Id/zu3wN8jDd0m3tEeDhJEZ/txV8/5NTexc6
McPhMCQYFziqhuTZsTw4vHsg6YL+zVvidyETSwx4MKlwoCOmaAs6ugosXr1VKLDH7h+sBu0jyJUC
m0enTVutXDRVNpbQagUQ9vBCRZs8H8KFezt7UO9Spv6V6qUt+GrGeiDAhkb+bMoL+zWDfAcWYGzK
0mFjAMUbN/Tk6Yo9Q2CMh467tM0emE3v803mpg5/Zna4clc1uLNX3X0lLPlPLvGJ4PFWnAguZUxs
zWIIzjFnppaGLR3qS5+0t39yTr/XN7V8JCG8kcGq5pqJt4+U9ICptYhn2NN5MdNZ078e5vfl/ESx
nyxHZE0dkdHClmuxlQ9Awm4Gt3YwW+6qXjizWRt7Impye8MkHLSOgQTKzMujJFX7rIue024xDTH7
aICoRlOAckB74uQuST3JK6Dd8c6XNzwLbRaC6MF/9OmSAZxXQtCw6qDQBtB5ml1pakzAa0NIouj7
cJ7XqD1gIEe6wSich0sCpFlxldwrT9/KaOF+zW7lu+BppoUWYVYFTdC7bV2vhIymBlAPDn+CEUUn
EiXIV8sj98pHVZc5BwVp1iHwMzDjr70wKtVSB0x2av7kTgGDPdap4TRNgbVcbkuMuUBpNMzk1dDG
biJrWyn0F8TMKsaJmMmD5WdxqYGmFfmpuvymIClQD5j4lRF6QYLyD8riyomsibJz1OQFSE4xywnT
KcxkwDyh7+ev7uyTwTQT2HpUe0GX8PF0mFKpmJqE01GG0gL3KHAXmV2RYzTcddx3zgubrSsDtD1e
KfAGQPU+SkuVbKiFhLpnPagB5nHBce5FsDazobTLId+nXZ3bYGKNLPSaHNWSYVwFBkYE5kj3jc54
v5TdsATFJziS/+i1+f1tCplE832rVlVb49ukDLO9gos0Chbu26zmYPrh+NKgU2WK6yxkiRpSJsa9
7iJrMDqxCZLS7Ur9Fq6wsaCn837Oibjxc06MMsXQH7ByYkGG2+725mN51W26TWwbV94VdcQFOJjP
H++sPTkRODndXAvaAjx48BqjHuMKr8IEG9kuYLNnnQIV9NWmijII6mAfV1V4XV70GVZFPHjylSZ2
RZ8svDGzCXcAqXAtMGsAVNwT/3doSwyQGsrxPVPeOqe9LOzqOwaOPWEW+rZ2yFrYoLEv782t7iwV
oWcXeCJ7Yl8wxxG5da2AQ1x9o6EyDgBbuIazengiYbKFKW1jI1CxulT+gRmUdjK89nK+omIhlzmr
D5h+BtphbKY+JYfrAY6NA8z+cgcf3Gs9eIFcP/oTZJ/yLmSKHDI6U0gyg9K1xQ+O4bbV/R8oNfqV
8Q9aoAEK+ahvpKyKUC0zHEcY2Ky5kMBzXCzhzGd3CvSnRIE/CkGTqzrytHdqVMMu0usQE1ErIVsD
6gbnl/JZs0ZUg4LLA4obglaej0tp66QA5na0P6y+RlZhxxTt9ryIz6oFEehPUtBGjkOZvsFgOmFy
peDIYyRG6k4Hp6+JARD3QvXt85I+bxkkQbc00EeAW2f6cHlGToNAw7l3BC+JnoDN8r4HzuG8lNn1
vEtRJo9CM/itnke4jENlWiXqoFL3Q+C1lPq7fydocjZ6hvCpkbBx4IDGWBuna76xBKTh9PW8nIVt
UybWhflpVPLxgFSQ0/Jum3LhBMmCgVkSMiriycuDstSQyCl2zSROwWIQoexSXywIGX/Jx6zOBwVQ
xo84ERJ3oMjzAihAHG7V9HpYdI9n0o0fJUyuPibSVH4V4b50nK7VzrsuzReQ3lsYytpk9EKwCDPc
2GHIgsFGg+KLoQV3509rpgiFT1BVWR7bH0FqPFEL8ARiakgfI0Dtw68g2r/sQEg7ROYlhl5tmJTu
MLrKt3o/3fCyuTkvfO4UwRKqo6kRvgru2McNlpRekUbCWFcyXgf2klMJibMFJ2XuEE9lTAyfDn5h
TEYdgwNTeog6cZmn3fW/W8bkFGW4lFFfjWEBEJPU23AtsFW64KjP2Ql0ZYKmWpXRpzi1e5FE49Cn
DdaRJDdSEF+hZXU1lMWx5Hm9YPlm9+xE1uQKgzdeTZMKaqmFnVUqVyx/PL9jY/JherPGaSMjP6WB
7stJTECCvAhNH69RyMgzhtM9yi17UoSRghe6eAiU6A1kQAul7Flle5c5NbR1TBo5GLCoqtBD25Pr
vdKw214Dl/L5xc3tHghOxpQFCD9BA/RRqwEvwiyiAIIaFhxoaF74Xriwf7Mi0LQKBlJ0mmjTSxsK
tUi6EDZWL66Z972Snv5gCSe/f6IA5RBhpCMoRtyAISwq4mNRqF/PixiPeKoCQNlij+AuYLLDRAVy
NcQEtwYqwJvkQuQSplbKIN8lhh2CxrooyyeVEPBF+AuXdX7rfsudenOdxkuvHY26BGVDd7HvLxUD
5hTtZGXTJice+EWT/zTqPsgtg9AJssEGJ5lzfgN/ptY+7yBomSmgeghTJnrW9XnASwxIdVubrP6f
tOtsjhtXtr+IVYwg+RUkh5OkUbTCF5ZkycwJYMSvf4e+961HNN+wVq82uMreVRNAd6PR4RzdyzDZ
uY9f86vwynSAQeOXO8PJtuSQnoqr5Aq8h2sjT4tbqSKTjS5m3TLnncxNUGSKFuADLPkUg9xZSd8v
L3HhNQ+gxDMJM+c9gHymINM1j8zYDhDtPkm9rPasm+Bo0XpDthiJb8KddR35lyUvnuGZ4Nne9rXa
Smo+7S0gnEn8U7f9Cid5Wcj0Q/46wDMhk5c8iy+yjODCGAuUCcydUK6lSrgq2RlM0ICIFae0GGpg
9g4RrWrirMBU90XYIMdyLgmsKG7UOz5olZsWJKG6KoHARstBgc4+mDUAYguDmsI6RbGy07VqDQpm
WWcmFipE1MCPmoUbcheGAVB3kduCcaQcDBn2w+VdXboo0cv2j4SZ7xrKsRpFiF3tyB1Q+hxg4XCd
oedkLZ2zJmi2o1y1JdCvQJCVeboRAro79zQ0YQF64xv38fmSpk09U5R2KC2L6RnCRAMYzvwuWnsb
rJ3KLBCL+8As0w5L6Yt4Q9L0oeLW2oT9moyZLatxMIIRDCcPkhyAPFsxzQzQwl4+/EW71TSMNQMr
Bk/Q2a0CfEFR1XmCi6s/aJV+pXStg0mZlVBicSl/pMzb0kHVkKA2gJgZlBKg/wtPrbXWkbmykL8w
vqw6SIFDhRBs8HKtnOCxoVjNymW4qMJnC5nZShGXDUsnKYMARBoYcQJd9m0QQjJAdV8+mbU9m1kL
sFMsHpQ4/ol6mSTGqdW070RFZ6uZPuHMTADnnEfydCwme+jMjWbeXF6CuuiwzwTMzCQyos7SSwiw
XqX7wB+97gHEU4NLbg38GyTlj+ouPPY/jVvDP4Jj3EUxdmN8ikfJXUt0r23nzJowxhiPaYRPacqr
MOlovzoHtaaBsysQNAuayGWYUhletWCQ6YC8I3/LhyLDAnOVZdDwzIQkUVWZ2hTDMHGtlu+tfSWb
V4m9Yq/Lav5HyuyiVeKwV9u4wtupe5PEZ9tuVUulYbm7rB/LO/ZHzMz54AYNwcOJqLwGhXN1TINT
En9cFrF87P+ImE8ZqInNgYGPlYRiTCnPlSutj/79nDGirj+HMs/imQMAeBjIRkEfDm5D5MAt6ZZZ
a5HAyqFYM9/TALQUmHlT4ivYdzUa8/h9aHwEPF1xPIunAq5L4L+C9xflwa9eQQnVaLDBZOfn5c8x
AVE8GOlq4V4+l+XwCmg76OOFGv+FrRUHWi9VUxolkfSrMgZ2r6qEkdNWaNDJJYA7t4pBowI08GrW
eRpP3hKw3wAwB5B8lz9lcb1I8OKvqbgw75yQw0iMw/QlTfSuxq+N5nfjdxztHxF/tU2MEtdjOUb2
jYDMwbZo0/3rzi2o4JmEWZgIoK7CClM4n06RHMJ/EI4SU2GvnNriVmGbFNRfEBLPu08TuWKtjQq/
j4oajbEeHlyBTuY7azmTMtn02bUUhoJUeRjCx/HG4xYoyuto1+R33zj2MykzNR+Ktu7Rm8PRfIEe
yX3UfoR44V6WMTmwvx4sZzJml84AlGPQUWC/dO1W1byw+IztbZcDf7SUMLw9gtpgrbF20eGdiZxd
EEaqZ2YeY/PCJjvUhulWZHy7vKqF3pIJjv+PGsyuB2BcKJ1URFBntXODytwNjbjJgLm2z0KQPed9
5oZ57+YS+uRt6ySZ2ndKDRY4YH4zfwOKfqbuWQ94ihyJcp/IVxWQvjUT/GXBdxzhmZCZw2XgClNt
ZJv9SPlAO74LtkjRZ/7lzVw2qT8rmYV5VUnQJSFNQgpkH9DRrNge68P/p5SZSaVKB+5eGT49FOBX
uW+VY9WstMIvK96fhczsSUdhRhMlFsLMdyT50Aq/lidc26qZNamZ1tujAglJ3LtWdi1LGfh0+YrN
LksBWrBhE90EYcVX76NrHVpGBQwolm5McRg6DOvKa8OPi3c5SKX/K2Te56PwfBhQysBm6T8TjAK1
iuzFRurY/VpybVESyKsBFzGRaMx7faK2i4YggSStf7JUAPlg7tfKwUUDioPLmrwmaeYVkjiINQEC
ZT9lN0Q5GCylhg7SgZWg8XcT8l9O1QQGFxDiAR00L4JovItVocGpor1npNpGcwv3lL6KA0iTXHjZ
DHPPlNH71E0+i3BfrpTQF/UcgNzYTkThmOT+qh9Ek2Q8/HFvxCCPxhPqEJvFSkOFuijDUlBChZsF
DefMlpB2EpKRQkYvJwXt25rsQsIoaFdvVC31ScmeGi2rnLSOH0hsPJg9hikxcuogN+jxWH8OQ9Aq
pbGC2jj/CTBlpFWTX4EebgOpTjw1kzlFRwXfoh16ZTJy0XzOPn3SkrPLG7iAvRxDt30D+Hmqft2P
T6TL3cuqtrw/oDxB2K2hsj2z0SRW21LOTI5nd/fQBtlGtf89dAisBX7qvyLm1Q82KmjpLiGiCm4x
ukDrdo+g5FvrQM+MAtYxdGPMLutIx0F3qcH9ARhpKSwzXCtMTD/hL2OxkXCGr0GL5l9cLQAlUosQ
TyxJdqP8IYkBYpvdCuWFo3n88qGsiZrZf8QiiYsRTy1RR16dto+yBbQyuzh1Xejysf+OHdrgmUJ3
BvKi864jicRqPiYIAcYSs9DsfXXrFpXsTMD052eaDNgR1WYZXnVS4xThaxn+uLxfi5Zy9vNnRp6U
oQzAeiwgzu+ragBigK+EH5dlrK1hZo1G0PVSmSFPaRbDuxhK327llXt/0e2fLWOmw02UFn07pY/j
7i0DDSQqoQBRVWiR/pdf8f8cgViTNFOwmCRDkHEEMWjDoJaOn1+n3TVTe68Dy9dKGLC2czMXk4c6
57aGZan8rgDNWbraS7+ynDluDliwtbq0ISFhbm2PvqVeR5WyQcPnZR1Ytst/DGVeQRB53bX5pAOS
nbqBBPL321pSPbDIoRz+rcc0aJ6By6liEGFeaDVNboMWAMLCHAjnKpXrbcDWMhRLOwfiCwMeDU7T
0GZnk6htbRgtLMcW1yK23QynP6IChNfpyt6tSJqfkZkLG7zBUDm0hNOEeWa5t0CBWn9ePqJJc+de
+mxB8yMaA2002woLGgxwMiUy+8Hb5qSrnce4tgMrzm7Q1bvLMpeXBgwxkKGBbGdejASopNzKOcI1
E2wfqch2BWj84rE48WhzWdKSo8NYigZqXBPQzvPHGnBAW9YMWF1ihp8CLIVkLH5V6hrm/e9Q9q9d
1LCaqUwGap+ZJzJBAJXIAle2McaY8soYOLVD/V4f0lfOevPQRiN3EqVtb/G1L1XEDx2Xf6mFogDs
CQ3OQmte7CI9FoHtgVXwDul3k5bwoTQD1kZj5cALSLUXRQ8OFu82SZcftIBkmyzNPDhZJ+rGazSm
XWlGvC+UfHASycZkW6jubKHdJmOCp1d5BM9oTkE4+sxKG/zkaCvsU1QwtQC8ZXZYbFqeeyOQTCkI
fA6mFoMgHKAOsQI2RUSkV0JVj3prgPa6jsFcJaUtzYb8JOJoJQuzqB+YNFPQL4Hq4DzXU1SEleAx
RozF913RUzO+VcU9qdfKXIvacSZnds1iDLjJDBJwPzPfRX7bTqxv+poP/N169pdunEmZXbZAux1B
NwkpLFSPQLPwDBHs+kLak5i5tjHu7RxQfUknnSou+SA52TJ7KKkRYei/iiuvGpS9kpsHA/xolWQc
rBa0qZaq656RZw6xIg/8rIjQTWUD/qxjWah+EQU/EiM+Nkq4t2U0neQlo0lGAE8c9T+zkI9UhuX7
l41t6d7CiMw/xzYd61nUYoZphrwIji0VPbiS931HVnziooSpWQdsNsT6izWl5KoFdBVE+CNnr6Ww
0JOEasc3VnEmQ/26iooUE8MDVjGyn4LEyGiu3SFLt6J9JmH2jBMgzOLDAAnCuFOL9yyoP3kFEBWR
PCrxd27Fc2EzHe87wGYmFbYs11RXVoP9GDAP7Mbu5V1bW9NMyUdT6jBPAjFBDVS5fGsJ8KCI98iQ
N4XyHad+tn8zZxvA/RqFhaeLqEMA8oFoJdpraEr6/61odtOTCkQ0oYVTUvJUO4688LNBBhKpbNCi
Cku0Pekrpa9l7YZiG+gRIhhbmmmePARVkENigQovUThIALaX17To8NB+/78SZsqgjlJugvmW+2V6
D7zTujgaaxnaNREzReisLhJKCBGsOCXWqxVslPL98ioWcxS4Ff5ZxszR9IYWEdZhoxo1C8HsLP0i
KiYwwDS9VfTiFVyVLjGzPXqbUSXIfJbFHkeXbEL0jYZOE5sQ5o2GCV6lYBep8nWgJ8+2OjA6aM2j
xepHWQ6vGFFXznfRRn7jdE4Qqhjv+3q+eWXAxCWFo+ZdOA2apIKNjKuaDRkdlTUjWVQmAh0FZxKa
DslMmZQcsMkV17k/3eklqLPRK3T5GIzF0BEjimA7+Q8VzNf1NKWiJj2oxn1gjRQYkgpusrg7sj7f
94gpnQYVOA+d+Q4rMuayoH1X4qih6C0RHsuq91grj22lvYyirahsZfs87cCOGVeHsTH3TS5+AQPk
iZfhc8or7lVFfxjifidsSQELt6ZQRQ2Ug93zyinHlFMtL0G+PJBdBpZvu5Afq4b5oFRXaRGQu8RO
5G3DktIdhtzcNUOIkZ162IK0DEPLvTVSI89BJFPxN7kNHjKmR5h8q64Lohx7Ow3Acz74BWiXJIaR
bTXxsph5VQe62JVdxabNogUcl4VWQdyjBi7Tr5sqooktD5SJPtFBzwDgDDnUvUjaXZaycHSYA8Ys
E/j9UGmdFx4lI1dKG+9MnxO8X9rXhiBvCaYxTGuAwLwDT/tKSLfoFkwd9C3T+A+omL8uC8kuqy0K
gthAL9ym/8jCwdXWEoATLeF88yaWY+RlQKtm4A34VcrQKAK/i80LkrLbKH2oOnUIIMFUvlJqbu51
vXmqmjR1OqbQTu0RfgVur1aVy6MmdIQo3sNcfVXqJtxyUgtaSNUNuuxee8m6NcBhSSuz6RyhmRsu
MABkW5tIlcBsa42BV5fWLgG1VpvZThgUG3RO74NOu6m13L98eouOBJXQif9HxfnNbDtqqy5BjhpI
PJieLVTk1ZKfur4TI/GbbMXZKosndyZsdmdoOapbRQUrB9bvKc3DJyE3gZv0Ek2j+MOsJOJg3Ld3
hdQdw0FzO4W7fdK9FD0CJ6trLWDAsLWE38ILYZp/wLCAjfybNX+1tlUTtmC0QXVT3utoLG3bU97X
bhSt2Mmkln9Z45kc9atCiaQodV5NN43U3YW9Hji6RJ6qOtmbIJgyomjKgzuVUq7VThY0GW4A1F/o
HzGwyNk1ildmq3Qx7GUIh6eqUrZmv8ZNuSZidosOMddzYsNYKusT8ehEzOpd1tMF1YGXMZBkxgyE
+hdjU2n3ck8YLjz8+B9dIwnHjIcctIbd/1fS5O/Onh6hmoLjVxm435pRBa7z4TE18TzlgdSvaMSi
5uFSNcEMj+TFHAmgZQpukgQHI1umR+qi3gypxXZZawEzBPb4fHkLFx21pk7+DFgA8J1fFwa4ikEx
Mo37mMR2gV6pU5v0jZMRDezaptPL+VOuwJldlrqo9tNcsoWOdTjSWaQC5BA9yHMcnD3cD0rn1vyo
EOYoE/P3m9L87NNvtHcQPOmhKwQ4qEgNfV2nSaKyHwbBfVCWfrSRuTcl20mF+Z3TOxMzs+cmAiMx
GPsQ1HeoRUXPfYWXd1ZsDLFybouqfyZodm52gOF0JiCoD3O/qrcxTzzJeLl8TIsWfCZk5pqHkOWJ
Zsvcl+rCM8bqqLTNSsPFwlWDKU1kzmRMM4F5c6YJAWvTXE4hQg2byqlE1dJYjx+kUQPtuto/hjZq
gd9Y1ZnImS0zZkWKHmProiC+Vdr4ipVrg2YLKBuoboLse+KSQ3pwPqEF2u1AaEkLddPGLWPs1ANy
xc1A/OpJtvXSBLV1CFororXU3BplfErCwRt498q4dF2m0JoqChVwsFsBuDfNpz5cm7lZ3HjMGRMd
vfcmMtpfDQJsFVUrC1y7yHdvCDqRyIgeNQx7NVSL0o4CjqRccdcL/FbTrvwjc1547EG6kGQRzL4b
NpZ+4KYMwg0Mse16+UFtX3nxWvU3XeZFbe9IIdl849xxX8gIR220+MxUbTBg+maGFQu7+0iGbAtM
9jUMw0XvTdA/hvQYOv/mlbtOLnie9RzRtZa5dXhXlcLT2xiYWd9xNGeCZqYpGXFeZ3bH/RAwwCx4
GMsruXohbFjx1It+xtSmKMjWMQY4U5NG0/Isa7AgwNjvldAYaCyUI3oy5BWrXNRHRNYAGycWRrpn
pzPKRWIHokLqwECzkKk4qnrIwIPWGoqj6U+XVWEBrQKaeCZt5gNsu815W2FZnfVepNetwV1N5zv0
0/4OUwr1gdubqgNWza8yDGkYpN64Ri63uLUWfB7GfsC7Np/CIWarC1Th8GQZDcdip1hhwM7/99jq
WOmZlJmipGM8kqKAosRor9VK/VjmgAO5vJ1LZ4d3F8otMp4MQK/96kuaDi/BOIFHlYBcS0o/0TIn
SzpXyXYmhoUvC1vaNoyZIeBDMWRqTf4qDLEx0asWZizFKIVYvQekg86xqxVvsWTJQAMDPBWa0cFv
P1N8Lat1jlwjYkuzcngpgI/LkAK4D1cx6RYXpIFeFCAjeJn/hl0+iy3VMrTjPmHIaJXdbW9YQK7g
1xH27vK+TYcwf2rgxY/OIlD9ybiUvu6bhBREyOwS4bgRU7xwqb0KfbiAIIlzOZMxU4RYDXCbqzWe
TYPkCwXYEoPGNuiE9/AOEDSVRblpjCQ4jar4hTHCkdoyuL9tHbzjCAkLbHLwTFRyyiu2N414ZQuW
BtzxfTaI1y0bofX8WkayCFUPgWu56myXjLHTlJUPlB+MPIHWESTbO3D/Oqs8Wov2gTmkCd1LIfb8
NcnbopTtGiecSSB7TyRPQSOXGQdeg3ULeUVzJ83866DR7D213QAbdB7qFlEvp11VoFaYEu2QagMG
JnPmdF3jxKPkIM9l7M02vB8la0XyoltV8G4B4hIqa3iRfdUxIWCwbZziiiUjPIFuGidJkh9iDcO1
RBOvCDiAEjix0WNmYUrpjZue2V7S4SkPL3jdNWvgEItaD/iRCcBHw6HPrhUQlPOYGBHCnIw8KRmA
eElz/w3DOhMxc0i6aADFhTFipNUxwzhW5ludRd53ZGABgGfAtaVP3urMR/BuQLaDQUZffyCrnsTf
WsOfnz/bpjFRTb3QJcD1ZSFCPwdYfit3xKKXs0B9iDemYpjzO4LkIgQ6IFbQRPlH0tovdRa/NQr/
uLxRS24bDKoTzCI4spGk+rpRSDtqyoBqpG+AIzjqcaMijYoXZRFb7mVJC7BNFjAL/hFFZsnAnDCS
lzJE/Uhp8oDU8PNreIg2hhc8cBfDMtcone/4ze1aZ93STiIoN1C4NoB7M5+4yOF/q0AjzMfspBEJ
2oJ0nNn/HhjKmkCIAFiJ2wItfDNTRi1KlvJBZXDjNwZ/Y6tsb0uWeS5g9lTuJDkkqJAzXxFPBrSu
KleelmsCZhdeoqhRqbYQgNdGlvW0GF8ua8CyAIAoasDgB0vOzPCLTJZr2xTAVIt0Wvc7U9dXjGb6
CXNXjtQWriygIyDLOTN7vWa90Lqe+aOqurn6UqRXIr1F4sQJ2KmQjH+fRMfj7I+4mfGQpJPNEnUq
3y4scJYaCL5/IVBeuSUWtw0OQEfGCcM087hXSEXFa81ivqTjrmWNQ4K1JtolL2CiwX2iVDNhpDPl
lUVeVsEIEb1xGMKSxtLOLgF0uTrIbC6dEEI29GoDtQYMjzNJoRHLahhDB2wgxXlKUfWUjwDKYeZJ
saWbspOfu1bZjE1+XwT9Vg3yA0B2PlCJOmha5mlt5aVgzUajZNZsStmqaKEMB2kwaCcJ46gm5cR2
B+ZNVdkwRCq5NDqCifekkt/7yr7mXBxrMErQTDc+Ky29U7nhpnbxbBTmHfjmf8QmkPeKornhprGz
ilzxLJFtx6I9jVHtMl06kDpwlByhGmtOLNedJAIGqWBe1OX3LNTflShVaGPkG7kQNUa84oLahfai
2xh1T4o3fSgebXQfybHpjcTw0PqPsfEYt2HvBkXtAVByV7J0k4X1MWp6Bi4G/baXjE1fd0dVbjRa
m8lAW1tIK9azpAXIaZoyUVDn+iu3iUePrARVy/BGTqncvgbcohNwk4Wex8ueYEkSUAzw8sFDgeCu
/HrrNCxu9EivmF9zZNLVhIZy44yMu7q+Rvf5mzFm7hNs2UKHvqyZqHfNvI6MSZQqV1B6lCq0DKA/
q0KVsQqjq4BLNE8jj9dA/6gr31DETgw6jRm7R8OvMxL7NGDco0cfAJrmhxBVuHYD/tANycFa0Y5I
vSnFTWDlGym23iIm/yAWL1Cvsz+Vtjhwhf8ESPsRqZWtnpd7yex31mBiukdDjjP4paW2Y1mAVqhy
/jyGKrr76/4gkuoGDOpbgIFG+5qR6Fqgb9fB4yOnIVG2qtZ/II2fU6ksiadLFQrurDYoRyMOVaPq
M+xq4yYbwh+FHHtRIq4sVGTp0CbowzVF4uEVvR1z5UHt2Wc/KBgBEUlIk0bsaqn9NZTJT9aUN1lR
4uMkTwzNSyiKwOvL3kNYTqjCgo8sq0HSLDcP3IpcM21ATQItL2QLVAm6fJTNxs2yoHMya7gTReKB
hcmkLAWq6GU9WnKN52c7hfZnYZ6l6xVXBc42lV+j4ThKD5d//lKvGMFoiYb8DEBL0VD4VUBTZ7AW
zhgGYKMHwAaph9RQHoiabEa8z8DBu6lj4agd25cyO1RJudUsPFOicivKesezzm852xiBdi0Fyga3
92OaJjt7HH/gtt1h/vjBBK1Wkvf3TZJv09G+LpPqLor4LpQ1OkjiOLaozgf9TVtZP7CV/uUFfjVE
XMLIuaJZAJ2zeN4Z5rysVWWhieFADcmBkXhxwmhq3AMI/Sq0N5cFLZWCv+zk9CVnR1WWwOFNtRqB
JmXuQfcB2OfCabuDK3scLA2lkzuGZzrl8QmEfUB0dhWf0beI9tvtuA03t7a7SuCw9PI7P93Z/a2p
LGyHgSMydLnXufE297JN7psedwkGhypqOOUmdjPnY62ZeAkO4ct2zLxSKnQFiJLYDnvbuGRPbrOd
9DM8ECf1MCmxS33JMa/VnXxqQVyo0u72sXLCxvnVHyT38sks2tAfFZ8HrgVyEKnCsQlWL2iHMoKU
riVFF/MIKJaZyKZMoF7z5HmE4Sbwz0LGaJtoskGTU1dL+7bJnrOoQu5cBK9JisdHPpg/s7xea/Bb
XCIiDvSuaog95lastX1XRAybLZO4RAmhDalG1qhHlheJIVYZf2PKZg6zPpAkLXN7ggzO0QLAiXZl
xnwrbAxANLxwai0+CR2wQeYAr5ANw7+ftrIUdNujD3N6vs8Ja4qIkEzXxtpHSgb0qJGjkNYxW3Pl
Zf3VYwChVEUjzJmYaa/P7BjdD3mQpxDT5YHpIHG0aVF6cLRCkr0u01axlxZs9Iu8mQfmo5r2A7Ij
fuPKoXPStvaTXG0e0CJie7TxzNRFYkQQRz6km+qxXhs0+a2as/DhXP78VLNukKUkgPznq5penU4P
O0Gp/3l3fDp63j0I2yLq/LrFk3bFKqfX1lyujpgfSTB9ynXOXssREv8NqPBqkB+g+OPbB8v5gWS7
8yOnV5xyx/D9z9Nr7A2U3vWu/4lCA/3saEf94cdII/qiOInH6Lana9xkS8U6C6kogqowtA0vkq8q
oMrZNGCKT0vp4cdhcF9fdyE1vaen6z1ztiv7oC7tg6UC6Rnpa8x5zBylqWHvcw5hYpNT3UcDEVWd
3htcxX2P3M65f6toQulAOTbg4e7zSXhvjL5497cIepyfCe3p/n77sdZfu2QGoH3857NmkQczgD+d
dPisXva05g0lKyChZ+rT5dUvpC5wR/8jZT4bLLRSjZsRUizzXrVHJ47fzGrl2b90M38RMp3AmUUL
KU3sPmhr0BSqfut1u3fi1E7iBu5n7nSUEomWjz4mHwDKI9PI2yfeSH8V+9zdp5vCv23pWjl4wV9/
+aJZJqK2OEav4772zeoqUk2A4629Cn6b7V/mdbazMzeWkqgdQxM7iyBkdN5N+lxCg3QPWD2UeZ3z
9J/r/y3ybPfH5UNdQub7sryZS7PAoWSnXVf7w7O9Sff49b29Kh+tk77RG5pvVEq2ZBWWbymW/SJ2
FoFpHG8xNI/ggrjKMxrcGhiXxgHvxV69sW66Q7O1doan3FXb2EfHnE9cdjBv5W3ySO5qPD5QfD+A
oWnbUnlr79ZwhpYgGb983syrNEJHcx7D50n3YpMeEAfR1A9u0it83c739vfhJnrtXtVDu11rw17Z
GnSyfTWBnKTNECWQfYBL6x2TEofjH4UCvYImruQMNISLEYhTJa91Ewo7wF/bR2nf+LgBRsq3H7eX
1eSyEaAO//WbJBCZMSKgoZghooMC3iNkEy6LWOAInxJx/+tf8ED+KiPozd7uC6xb3euO4mobc9P6
ClZ5J92FNdWBpg9TZ4+Vn1AHHDVY6AfxfqVu5V/+kqVb/vxDZl4+0/IuCRUsFhBquNxyh7gVfVxj
6P7diPl/Wz0e3l/Xm+tFgGrXf6z+anQ+Pg7Przl9fpad02azewUzKrVc3KIFPb68eRn9iV+O1/f3
W/djv3K8y7fon73/HU6eud1RlyTCNXwLc3+cakjm0LGQ3g0OgXyLqvSWb1cGpZcKjucHPofG0/QQ
JdVJqEanx5fq6M7d50/i+gXVHIQL7ZrEpRvM0HQFHe9okQFO0NcdjypS1XILgSJTN711IyO1WLNv
DI5ZmPTTkeVHhfsvKDSWyb1ljNBjPYxCT4Qg29WselMnysrIwJJRTsOmWBJKon/VEixix7Ai3JWs
7t8lormqhIG9y7aA6h82ZaamqOOi9gduW6Rl50W4DMxqAozbDKPaEtv1gQJnmBTRfdB3+qYYh2PZ
FuiYT44FGVtPiWtg7EcFgAkq/Vmrreewbrwh6vwYKbWNomf7UAmcpsUIY9VKym0dS6YfDClCQ4Hx
6UADoXuvozvf7ccQ4BG9cgpMda9MfVRSOYS0K4cXVQFtjxTjsrfza8nGNElTRrJwEi2+DVvDqYN4
04xg8A5j9EyolU4zk92wsA+OwIt+SqzirqqbzpeFXYNdJSueYsvYJUzeyCx8HDNcvPh/WBYW1AzV
t6aw8Cc62t/7AGMElc2cYMgyoKNwJ7IBjyAZxUHo8rXNwJaQRIfYqN6YpdM2QPF8TE+6HCk7kcrt
AWhY8ckgUr3TK9NJGnYElUROlUS4QaK3vpTzkpYl+kUDDky4QY0dken3GVNcaewfWqnb9WbgsjCP
97bUPrVh9JrIeJMb/aEE0D3VbXGFTUOurDT2wpavRNWGYKNIEjrw4irCq5OiyH+TCcD5l02tImUm
Spo2zYNIrX1hlu9stB6KuGnoGOvWZojT+0Qo5say4+PYEJT9Sd/TVNVAB9JFJxtt9RiiKN1sRKZN
SAIQrUnoEauWNloy6vh9O7zWzC4CU5XMy0PNxsLVGJJwpl09YNLpSSn5qcxT9PRlTiTrGxM5QAuN
rHaFmch43A4k3WE05kTawW3U5LrvNbftCtdOUpcYyJYMyR6dEw21G2VrCMtJhsq1pOw6jDrZwamL
a1BzJNCoIXM1Er91NoIOqcBQ81VfqSntVekYtnZKNWFpKNM28m1kRtG2AlyzF9ts3AAvq6HAU899
BIM/AJr2aEn2thZBRGE0ezImvaswsouT5Aeq4phk4dF7agz3Uhff5VAWN2xkTMoC6whL057DoN9I
InxseN46Ied3io5UKwZqkYTF6J8cO4rFPVI1iROR7MbqUPyWolMhY0C+r686M31BwO81vR+knVvI
5RZh6keel2/AZ/GUpP8k0vA8QkXQ81XuyzpEjosV9xnGmTad2DW6ClQfW79FEjqhba49krpsPMNG
n3eKBnOnlDvPbPo9D8fORU/esdD4cawVN5TqVxKRU1tr12nc7JsaoxChxj5TpbwDH3WBTKEGkJeq
fB6rwEf/pHCqRsheYsPSOzl9VzlonY1q29v2vqnILa8aLFXTNqTIR8fW048oqV4LLdgpar7rrHyf
x/W91eUJ5Zi1SbNyP5ilp+ctstRI5ALxLYo3g9XvRS7tZXQuwCDzexRAW8dg0380ZFcs720qTBb6
QN/3iyB8IgYmiqLITrc2YQetBp1ZnbOj3jcxBTDRi2T3TivXVGLZVk4DEE2V/Kiakomv4NfIutyH
SRRsSFQH6FqPRiAs1pUjjcZJjazfCFB+haZJCgoVL0m1RzVONujpH2luRxtAbEQ0tCugp4ZXydja
t4mRcNqyOKNCxXB4M6XRFe1k49g3sZphUs5MwfamVy6pk8TRE1BP4l3SUhJGvzQ2npLEeiyQsFcl
tQdRT3XgoXUqR3T/clu+j2LUUUC10XliBNdKpT1qqvTY6TChKh4ydEoFB0lUMW1q8KQDLqWDNWm7
pgEVgtwYtsOCVKYGAICcWI8edCXA3YlRYpBygzAbI7eYWmu1FyNvByfrB9VF0qDziz6/rpoh2Ji1
Al4M7VqV5GfDUl/+h70vW47c1rL9lQ6/001wxo32eeCYg1KZmkt6YUglFWeCBAlOX38XVeW2RGVk
dp1+7QiH7SoNSBLAxsbeayAQ34EZhThwnj2EJUKLqY3jmsRW7PR9XvtdkageUsJmsMsptysiPNyT
YG8+TlMGy1RNoGsVs/ZJE0VlPGZjqudOWdJG3jJTDLbSJUXzoxj6hK8khafpXSVo0rqdglQyKyaP
VtUqHktHHqrHzmgLPywPJtz0aJ7JPu0BHDMLBSlYoWmBVpshrp796CAS6n7X65qfaNDLm0t4hVBW
oR5fDZYE8l5frKtw6N0+EqnDk+qqxGeA55vkyDx1LDH6XanvYaZwlVQx+LaaA5HO0R7zDPJQRN7W
A1sNEl8BYX8Z53HQm63qhBK7CZVMs+Fo90PrYGOTNjgKs0y97cfpURnKINHbLYNYctjWHrBiaVCU
k+QxCt+WLv3RJyAHQPkIfhYkubD0AvgdmWzDEURSI1PgUBxdmXXmi7p60EW1tbRuo823XUNFvybP
Stm12ByVi6SHvr/yokhxDEZNj9tHVB3MDnhn0C0v0zF7i6L+tpTqq4KV+1gqIwcs/dXQVc95Dl8s
ZbyWDM2NDWvV6vi1CUUtZcqujdrcK/1wURfVKss4gCz66NJyeq07BP9quCVGdgAEyw9z5Zsu6B77
NLqI6bAVOrSO8YITpzHENbyC/ciS1kUHBQPF6An4eLIa2VKrWwEzKo7tVY5YHjpKCGS6InNDsRpR
K6Qm0Li5JK1LKBU6RVoQR9czsesb/Hg6e1pkY5au4MS9K1LAMAkt4MKY17Gbh7SFf2rrpIWs76hV
SW5rJoo3FfCxilv9coxBKtTUA0v1H5XOwQvib2OsuFZrfg8jHJ9mfwG8ww6o1pXajL4Uxd6kI9iS
ApoPJhU3uBvZVUv9LtYi2GWTqwHOhRH2dZaPu7SGUUDMfMWiG3mCRqkqHDSLXroSZtBwdGWl9pwJ
fg+sE9zcxirdlHGuBySvI2+ksXLJE9rstFzmODnh5KB3fPJYbSKLaK0ZcDiUkt9HxlXG+MQvAMoq
nEEfjPKb1VQhtaUJpt7QOkw5X02YTKRl+puBvqrN6jBych7D5lNWc2hNcIQbDY3y01nqkQIYhQ8v
pKSAd9GVJaxUh5ZlbZUERcBYckA19yayocx0rOSc2O3nKwSuK7oK4AMAcsB0wPBmCam2uiQRUA2B
AnEo3AZHZ5jxTZWcM255JyP+k3W/j6OA7qKBWaGoXzmYdIy1sedAHeqNPEtqSH6Uqo1nlfqNlJi6
3Y5i9JTBpOtICpt70QDoXKfNOoebBHAZ0yEzB5xILA/M0NBs3HtuWmZCynpMr2mh7ONKexTKiBNH
6q9HJd4ws7gsAQ9HZKG2GM3UyVqsaJKyyhFUbBmSBRzqKH4ZynjgaDqmGri6SL5fwqod0Z8tfU2H
VlQaIbNTLARzoyU7nHcweScM1hJqoEiq7DYG2cAS7EVH6CniWg5MJZLdUkDkoDZ7dRuxELZpleGg
Hb7lCfdZLK6FEJDv60xXbceXAkIoeCJBbKFZWLZj7SJ9vYTCwFPCisuxVWVbybLMniKQjOu6CW0Q
qC5lAT641GqXJYnWoE1dV43q6UZ5jh91ZIl8amMuSluoao2VjKtB0BDNJlN4JQMaXFiG+ztr/n2F
ALoEQhQghfBQW3KBTTi00X4mAXLN6/rc56EH/C7Qzr8n+P51oEXtJ0ELDkV2tGUncVOWrxSdj9NP
8vmFvXdxqAzgG/wgAcUxrcULg9xgohiNUQdk5F6tPdSAFtWhf3oQ7cht+eModP76hxKHrudaUwO1
BrUfU3dwb3qIBzBSoVPNdzJD4gkHRXckwlUyM8ZWkDd1x1FmNJN9mSMxH9MmtnFv8Duiu7kwnbqo
L7Ux2ugd+mhslvCR630PuyVcmSaXd3EE50d+DxvPe6pSBz5JyEYn30p1RzWZyzLyDIRHYUPxMuhS
jqQsHu+mie3ZBGa3yXJ9VWc1EBfUUXpzV8T56J1+J59f/M+ZRSOSoEEHpBWwqZ9fSZIMag6qDegF
TeJDogjXBMCtyN3pUT6/eIwCeT8Zdr5oMUOe8kudSy6gDS7r0KqqMmDE1bf+XDv/y2PMA8A8CTrT
qOpAHfzzY0h1leIUxABlhqjV7ROOhMs6Iyc3F/2+BmR0jBV40X6lq07Q1wyHAuj4KWd2x/dyUtt5
ipsPNPslKq/D/Nvp1/blqXQQ0EAS/3vARRVy0rVO7WbcORwkcL+6kXr4u5hn6ztnHmtRhIxLY9JF
NI/CL0YNCOgUd6K2OLPDF+3o95X28WHetVM/bL5KxKkpQ9gzqCvVh4CPW6peXaKF08vBEN7E7LqX
fIG68ul3+LmS+3XYBcCv03pJFgKTFtJuZZSZr8YXhDEH4Rms8BfCnsuBnXnWz/WyX2Ni7kz0IlFj
XHKAEyWVuAoMQwD8lYU70eAqg7pJW8ku8xyWaMmZKuDn3OfreIvo2Vh92bczE0muc0eqDSfOM6ce
iR2H59AZR16nCtovCIfzRvsibQmsY2FNBRgYWlS9wZH5kBn0lUj5g1bKpaMP2T3IdasqpWe6govy
9Pszfhp4EbvLilZjLYEDpe/7++qWXMjASW7VVbviHsRDt80t7ibZN2MrtsWZKvWR1wvIOyBXsLl7
97j7HFyyss7Dpp65emVjKxwiD9YjMJAkSdzTa/XcQItjFnYkSOv5ALIetmDU3GmpcavH3BnL+Aw4
48tIi3i5iCypAubaAAfFYCy3REyuUAyIvB6gPHXmkY5G/g+BeRFcCs4VncsYiMIkiEWw8r4//c4W
nVMsjM+PsowryCqUSE0R+pmHYpjbe9QGwdEm28JpV8j9AJ1C18g1fO4oK1QuXcM7/Qm+ROnFB1hE
mEiqsNfV2f0uxmVwxmY23zJczU+P8uXweR8FYqYoBkOqYBlTeKimdawq8KuxIE2SXlllbvfdbV8/
Voxt5XN0zuPz9s9w8wL6EK1DKdU6ZgIvSFXUg9LbzLw+/TxfYuTieRYntkiNulb0VqDwnzgqJA7L
FM560VVY9DYBovn0aItu7q9VArEjoERAT4Xr8OfnaaOQ8RKOLoFw0FbwwkD25p4qVkmQobtMAu3b
cxdwR16VTujpZ3bBse0GzuPMd6QzWXSxC0qVtgloZdCMwwkeas2qRk65msxKrCZND04/67H1+GGw
JVKnQFujhQvcbEAg2aR7Yygahf3r6UG+xmPM38dRFqu+DpXcKCp4mI4BcCCXY27zdRPcpj7fotVi
V8+iszd38vYc0OXYwpx5najYAKwN3fjPEymmroTODgxaab/NG8OBDPKZtXJuhMXSt1CtZkRqRBAp
NAGsuXvtauN3M7v57X14isXqH1RpbISgs8i+YZsNR1l2cOrpHLH36LL/OM4yzqNSUTGwB4L4wnrS
9/HB9AsPnbnYb7ehz1ff44duAw8br9tZkV0OzrmNd3QxfnjQxcrXIzIppJUhumsaF23fQ3s/egDG
9d+ZM0AcQQ21LP2L6UbMG150TdIFShIHSZrdptM5cs3RZQESKOjE4Eh/0fZPxkpNo1kTux0PUfSQ
Gr9n1fQzRBFtvsYArWl9Ue9v1TA0kxproqOAwySbOi4cazyTKh7ft7oClDpBUvNFn16ZwtqwNJxW
khWgeAn2yVV+E66NQ+j3fvmcXo8X1Wa6a/Yo1f0bk4SmONrUFII/iB6fty4rrL43GxxhOQ2MCHWz
/vfw9z9fIfyEICkP9DjM3RbBwRQtZ71hICiF1o2aMdi1pucMEI4dXB/HWISHdEARkox4inIdH6xN
uEm2kBW6UwHWZsBOpcAwJc7gaN9Ht7zOV4qt13YF2NK4Elv5jJH0sd318bMswgj4Hy2FOp4IGo4u
YGsFAyhGtVWdGYbMieenmy/C1cdxFmHEzCSO/qgGU6UoDy8yHU9iTCspLR+TgW0E6R/GqdjUugQE
riT2rQnsNFXbczfVYzkQagjQ28L1G9O8mF5NGCNV0kig05GvhfKja+/z+m4yXkS1Es3N6RPu3GCL
ee71eGhokYqAo4tgGGgCqorTkNrh42ZQUIFHkfv0iMeyBKiOoERqUAsQW/Xz/ii1VIhcRc5FVG+A
rHFCfqjVVgNR5vQ47zYkX6bTBHaVGibMV95PjQ/JHUQOR6MATSYQGyWQN+W6WocbcVUHcODdamv1
slpV3uCMvr5Bs8CBUuam3OU7cjj9OY6u3g8fY151Hz6GIdc9ZCeQuTfhg0je4mRvsHPPenwMwOxB
qAdmbSkDwWTCWkPBkkmLYiUKtMKGp4TU7uknOTZzEAqaBfcgDor1+flJJJOgzadh5sYMjnREAR0u
BsrB6B/QvzuzGY+OBdU3VNFQr/siJS5yaSj4kAlk5i2U5b5T+NAlOrAB5N9JhCCLjnFQnIQcwGK7
CVaZ5hgDt2NCvpMDfAfcyOn3duxM/TjCYo8BDqELo8EeI2P4Q2JoslH6b0UNvCjk/ejWKHRJ8dQZ
KlwNyUVg8LRy0rIPWMcCBZYjlj68Fira7RE3vp9+siOzhBoyWjewasLSW2b8xSTSrGRoWVAFsvmy
Tr/xMkscyRpvkxp5+enRjrzHj6MtU36WRdjmMR4xqu8HlgEb+3h6gCPb6NMAi6NbSJBmaNBvCWqO
2vVYoAfU9EXjQIDqTJJw5Hj9NNIiKFBrIKTOmAiEggmDCgmShBYtPQXMSEv6N3KuT6MtQm4ulUVp
Ie4GVAsPcgZqnFLdSsk5zZujqwF2baAbYdt+CbhYeIqZJwUumOCU9uZhTHK3Klc5ZKJPz9PRhWCg
CQrcIfCry3AHzn+pWbxHMaRhkPDZlM3r6QGOLgSoDeL0hbDvF32GvEBzFNAWXC6B1OtTaTux7I4p
IBv8/jh4V8AiElSNv8SeordK8FMR5VqjeC4m3dHN9qIx2Nls7sgxb830EDQ/YDTxZWrqgWZpV6Gb
a8qQFOutonVqURQ7wCIguQIOIFe/UQMSDeqQ3sYEYDyTV6C7ZGgcQUH5ImuGzlZUiN+hwvA97q2X
opMvScWRfJoQUTH7YnT1KXJNNV7LRr4GRMxVAXuyrOJQtpnTqsShMvCGAMlcpiK/qaEWAqWiYdP2
1i0tk3VDtT30jw2UfXp0ayP5ArW7u9wKX+EPWtqYEwB1J+OA9XcNhxPgtuSDSEo3N2O3aojTk8Yr
Se5qw/ikgBtlgiaKm4GnmOMIhwfltZ4ASTKb1BkzdLRpDM1pubtWdebp+jS6fQ/MiMKciMRe1YZr
TZNSh+Xg1Cadl1fTI4+Sy3CkzgThFPh8YQg+SelTasI1qlYK2yrNVdqWhT11MnMl7GTUWh8HrkEA
NrZglierTmPRQwPYhW2Y0m1cqGIlgdDlcsYSG7BReQcthXw9tdJ3Kw/LrVJRA9gQ7srD+GoY5new
7KFB0aFJEhXbkJMbtTV2fAL0K8J31yiIJyoEPxVk5Lz01ZLv2sLCRFiBzCa/HKxtoWuH2U0jtJhb
E9WGEL5piwRAPaB7hjwGnmS6iy2SOxTY8LXcWpkdNwSQQ1Nc8qZYobX9Wk7tbioFmijJtmfaSjHF
NVPVCzZlL3rqZYwFdatuuhSNjj7iO8kK3UGwR472J7TjGy+POSwdTGA1myF+yKtyL9WRBhym1Nqi
BnCJwvGYGSB8K+21BextaHT3VKuv9Z7uek2YGykDXkBUsOtLieR2KjJJXlNw+QvPLNpvA++3GSWo
YocdwioVVzEMccYEKll9DPCnDphS1R0spvthRh4lzYB/plgraXVJTfZDScRKtYpXK7We+6Yt3FmJ
MZfIphvVTW5oDm5g20RTVtJIPb2efIlTp1A7gMfoLTiVl9CwR7FvTHat1d0ksLdIhhZ2F8mtCVyb
ySxHF5KXRLrLDOIyNvyos3jVydY9PBe4U6F5YhbjJY3GDaQtZDstK69Al70CpE+buoeM5AcoUrq6
ztwOKuODNVyKkoJ3FZm1AxlYx+D9KzTdHIjDV+thnALF6nJ06elandN82Sw3hlYAgglmpZ1kVLdz
AIpyAbRa2HDhqBF50o0udZOwuQPD8proaeWBgbXrR7j8yD27lSv6VikChTFVRbtXl38UeuNnRFsb
kX7B667CpFNINljZnaA4R/OM7BmExnlZP0W5ltpak/rMCuH6kNPSK8S0mcrOLUZIbp0OtEeOJlQb
0M+EJA3gEXRxtatrGjFFRYEeIhhOU+t+JG1U9QZc5DNdlHdDosWt49NIi1JQXEq0GDKUYPsraUX2
WmAF2oaA9ANQMGgtM7lr+5bbwfcA7JZA+N8fahe4cadxO/tg2AY4COkKnFnco8mjciarPnKuffhw
QLt/zuCBOkXpZ3aiosUjU7e5BJxIc+awOXI4fxpjkUTJslpY0Xw4T4SmTlN1dlEL88x8nhtkkT8J
XY/ENPfJEK1sYV1o2u8p0L8XWX6WsVVYBBNlyV7OSiiS6R0qvzAHsnN9q0b7qfNOr8qj0zGXyn+N
sbgYhBGU2OUaY6hGFkzVN6uOfSqfE9E+N8ri2qbxGuWqGe1WdUMwVs9dQoCu+3H6UY5tMFC8AdRB
UDHA+F6sLLUHFouhYC2gpNftBSRW1IysEhFenR7oWCbzcaB5ZXy4TpdKDTdjmHMFHcS/VGQWortN
qwdDf62gLmWQ59PDHUnUwbrFvQIeAUT9wqGvW4paPHw1AokY3mTuOyCC5UsTBWU0qE4PdWxNQ/YV
gkDAB2HBLeZJEqUaJSIDWUOHxq1lJD8qAOH/d2Ms4uAYJ7mZUCScyEoBtqmAib3+342wiH+mAsPb
KsFTqGYO0dL6MgmNc8SjM29qqWlWFQPuwYYkglwohzE0g0xtz7SOj22aD5OxvE7HTS40yqMOVsed
DynAvYUtChWYM8McW15wBlZxawKkEyC3z6s5lDKpzBM8ScWHHYMopa2p0YMlCpzEueFXSXJmAbwr
1C7PJ7QPsEmBuoHA8CI8JyHlVaGGIuhHC7JHo5I7vIpqp4vQnymSgu0jFcj2jHbQItOlzGYkXme6
tI0beRUb/LpgoTOF0i6O8PeGtNH68FpLlBWRKELxZP1IqFXbWQ/dTrPofKTTPhR5g6pVLxpVw5Ui
Yq4y1QaQS8qejOpFmRIgIpVeto2CP5UGQN9SYwWnl+Wx+PTxsRcHRp1VaZMOeNFa0jpDlq0B2Haz
gqCNfSYSAh+CSTv1ipexMKk5i7iKE1AFbQBIVvTprbjBG2tROe5GYDrJsAJ62lMg32pXk2EXiuLl
0KJR2iqIWbMyhXyh6tqTaUZ+yvvRrqTKgzL0DtdVd8SVJVWtvYU7yVBehFG6gqqRr5uqNymjU1Xl
BvrWhWtorR9P0wYRDNjqCMm2nsZ+LOA6DPy5iKyV1shBb1UXLTgwU13pq7asYjtsZ0xrhWtJ2eUr
bUz9fmhdc2zgQcemyz4dHo3SDMAeCwCN3SXWsM4VcQvgoeIY9ZADIIMsi1bd5PQx2RVtpoI/AJc3
AF1B2Cfge/P+OZqkLbgfli2DSQKCB3f6mbkBRup1RidHUqkd5imYDvH1bC7at9SOM8umElCMdbRK
LbI1SnndZJOjDXxLs+a1lOHlJ2cq1qQWNFrt6lV0aCxxGHpjA119lIxGthYi3UVq/13WAe7u6ati
Rft6GO6GrBwdOSvO5Z4L75CfqYSCU96cvRdn2Z/PmxwIeRCrBpwheA1B7xF3ZlkPzlvitbYZ8KvE
Db3Tq/3oCvxnRHOR58nIyiH+gn6kWq8s6Uf9e6LQfz/RTP6E6DAU8hZhC6oRVaz26EANEXjZCUTq
5WrDFG39+48xK7QCTgDM4xcHRDERaOHNGHQ4J43WsLUk/Uz8XagC/ErzPgwxv8kP6QREV820lJCt
om0MDYKLMKivIYTuauv0fvQfh/vpOffOqVYqx+YHZ/wsu69DjW95ukiESaGIeQvxh3GjbLJr1Ydz
k1v6iddttdfOrrzeT25pYPnaKt1Ia7GqV+fgGsc/xD93okW+wUeTlQ1HDk0KspviLOi6c9Tvo6/3
Q/q01NLXIX3QMxntZGuXz135zbTiK1DJ9rIP0olT+ONKPzRnJvVoivhPzqYujriet0pRy1g2EFiE
SM20TyzFzTOw98zMuGBV9k1A/+33l6o2++0awO9hvS5eZsQqApDkfCEZXgy0z4b2jOrlV2TpLJD+
YYRF6ka6KJXbHGvGmJ4Uo9Vtucp9HCJBOUzbXiruuF7f1BLz4Jv1+/XWT0MvAljStGMvU4STlqMa
lBToamfSuUGOZVzomisog0LdBpKYn3ciywFbtWpEyVaH0g5wNTkLwIY6PU3HB0FDEAk2hEqXqp4p
oJ5VCDnHmb9mxwaqx/h/ltZnVsN7k3+ZAsz+DX+PswgrRcl5VeU67lxgUR8A+H9RA2sffpe3IKCs
Tj/TsdTm41iLFxeWcZnyuW2NfzlM3UURfLn57QiI2emBFlrCP4Plx5HmT/IhWAK4YQzQMcXG2lfC
Yc/ETw/987RWH6K15jKn9Nd2OgCGaIKH554e/NjM6dCwJbMuE25ji01txrQtUo6xGZFBQVvP7oUw
TzjziMfy8Y+jKJ+fUAU/LKMhRgnHZCslPTKzRvHBcl+B5YDS51k4zLEBTQpTAkgdAuy1bFLj3DPh
HdiOAR7uSauxXACec1UC1vaQPWNKzon1HlstHwdcPGEr6VUN2UHsAFK4nAwBkPmdTXqIwkXnrFSO
PxyukugI6TBRWsSNwpILDv1mjMV2VXgXpW+yGSTxVimfTi+OhaT7z5X53nb6OdJSsgmEFAWWiXgq
stf31W3+2B30B/NyCrQbyx6eQsnpz+y6Y4eMJUPaGrUOZOLLtjHTohbFeQl1iI7aY4c6tzk6nern
mgV+9Avc0c8E4WMb4OOAi803lOHUyyV6/DBrtmev5EYbbEsLTr/Jc6PMU/phi0NwQOKGZOEck5pL
GH37UdL6qIqfGebYyvj4MIvDDK4AtOdmiJVRgSHNnES5SCF9g46UGV6ffqJ3aPTnWAzLj1ltB5Ie
ALYt+WM1VGEzrcjHAEgCqmbOBLqnXhcuMROn0IpdNymQ9YbkJdRVpZq7YCXZNDnQHnLZkJZAgXvd
tRSqBBpE76BSNZ7jQH7dkp8/4GJLxhmkQC24CwQSADdjfCMgayxlsznnmSX0NeMDpghxBgknxX/N
5eTqPfYjSJ1B09xXxlNEfz98zqAl6BSio2Sip7kI0s1AavhKYsMP8R1k7ACnaF0FNCL4wjtl9Evb
/j+/D/8vemOHn3PY/Ou/8OfvrBp5EsXt4o//umUF/vmv+Wf++3s+/8S/gjd2+Vy8Nctv+vQz+L2/
xnWf2+dPf/DKFnJvV+KNj9dvjcjb99+PTzh/5//0i//x9v5bbsfq7a8/nl8LNCaRNvHke4vZ/vm1
9etffwBzqc53gg9LfB7l13fMj/HXH8Hza/P6Vh7/sbfnpv3rD8nS/kSNRweMDBON6Zixbv3b31+a
gULobMP6CznpzA8sGW/jv/5Q5T/NWYEacvoA+SCuYaU2TPz6ErrHM7AE6oggMELw+e/X8Gmi/pm4
/yhFcWAJCDl//YGUDnHkn00JG0KwimHfYmoAhCNhfr84fIgzaqJAznLS+lWZ5MSTmXyZVOFllqGo
O45IzTQa2rAOrYMISxYcWOWhgVQyA+8zAnvQyybgerNy1Qqz8Ntq9KAZsaqR1s9NpAc5VNwmjLei
qVxQvF+zOHMhGHGdTHQPCrvd9bIJE8Z2bZZ8K2WyU/aQLahz7GygMtBNqyVb5hmUbeI9EuPSq40k
RL0q/W621ncYH0KyShh+pkVuF40r1khvUqX7aChu5UhkwM5p1G3QQ8ZVBEjJCU4iPEuDMGp1N+1a
yLwMKF+T3M8VpbVziztiGLdDOu6sDmDsuE02VlFt5EjdZWbqJQWB6Af1WJn4dUX9KIo3/IW546to
dX+SCr/v8l2aaB4oXxuuA/o/FH7WEOICdXQhtxC2q4uLcTK3qlZf1X3msDJaw51rIxLTznvqdpN2
Ww/NJjXMtQJxGokj/iRE+L0ZXU/xABNesBW0hN5AaeUgNAGBBysgbXKnc0m2aWatJCY2fU+2ehI/
Nn33zUgMXygTWKPppU7Gi7KBzMhkTQdo6WyFZcw2TH42ZdBpTtxUuS8mzSmHxDVldpsZsmum3aog
iYdaI3qLLu+fqh4alMUElY7XsAT9XYxuk6Q3CUJ7j9oXWIv+CAUcMwIJW42uB647lT5+g2SLC0rJ
hloUlqzhijL1BrbmAemFK0zpLkszrzPrq2RqnQ73qdqqXWZaN9U0HiDSeIj7cDVB4IYNQE1AwGmX
yfltHIEST/t4xTq6axtpz8P61lLktZFDGwXiCrt66i4htB5EkEzAq/fionDTCArV3ZUmT24fKhdT
N+4yLbxQM+0Ntp17vaArJZccI99ApZ20rcdjCgIFlMtVaUf0skCblSbc8jIzUmVUj7JsiP0u743J
Tgt1WA3gp12qGRTT24aU69JUpe3YGaqfxWYPRroG1hzkRy6lnEFTqlFJZ4dc5as81ogCjAVI4k5b
Rig/wAXlQeKKjsAdD5ZuS7IpYQGkkI0H1ky+b9M+AamclV5b9L/IHf8X2XXE4f/8O3B+jexJ/j3m
OBeOxPb5mPgV25U/AbaDHSKUlWF3h57bP7Fd+ZNCbR9/B/IUAPwfYrtC/6RA24LUiMs16GQqqtK/
Yju+NP8+tB9mJ2XwrpTfiu3vAOVPsX0+WqgF9L0GhRvoR3zOIUuJZEPNRb6SrBSyMTnYzBAHUloO
/IJFIvDHradcrtlF3RvIxUDw3yFKr2pDyLsmjzzdupyUVLObil/wDGWwiLi19QLLvQfJRJLWq0nQ
1oiuquSldQ/dEwUN4Bxon2dNkRBqCRoZJiIWaunE2GeVBaGtFvEh309htZZ64lthuRvMwktblHsz
Xrs5RNX6idx1VnI9GbPtWOP1MaQXVdDqiuRx7EZXy5Rdy4XbT81LkRpALDGb6hDWSYRvhjQYBnFo
iXVvcch7xo8a4xv406zrRttH1XPMnuTOvGwk2dVIHqS12BgAzUMN9XbKs/WATysgKadAu8IyShep
miPp0DJTodajEp9Y1y3sxlTASkJ6DzMOH/LM25rWvhxBvLRLHWFA+l8vtgrpvVGJnNpsd2N4LXXa
xYBPmrcvcTauKU6ypkfDxaod0SACawbK8OYuU0enhBhGEvWQpM+2g0qBt4IJAcwoyFXbhd+UGPJp
ZjtcdJjOXq5WMrnPItlXgNkZGitxujS8QE/9Xq+KfV5ShxWVk4xIaXm/B2wV4JFqz+WnCjJRSQHg
FqzFegWw86RTnifgZ+JBDlJgS2gFLTUteSys9odMuwcCk81R5ReFWl7TlCo20avUNoDVt9tebv2+
kNYx1BtsiDB5PB8fVVSjTcq8MtYfrExGNEd/i5KNNmr+FKsFZFuqEJihxEsZXZdpuiEGqsssdpQa
PnCoChlYeC9THF7GUealCmRpwU3PVAYETW1O3jillyUED702VbZ6qB2iWlqHONdQvSjtto1cng1r
okODJ6OXwtI3edRcNkUJfU/1aqQVKjTwRLEhnXQL20NXS2JPIuF9TCLA4sWtlaI1MbZ2muoP9WDc
DzAO1PTB1WmFCo+JDhCWsES+QXIHcuc6JGyUb9qQbQqW3yXdDyZuRsCJ0k6BSkD6LcaCZ5LpJgkL
5A6oPkDAwrEFtwB4qQkQLdYynxvmbSqAlFO0IIr4swyzM64VHtBGo61HjQ01iNSRaH4xwXuhiySH
5OwxU6GlqzbfNLnK7MoYnFiNXNJm5moicCNUwpeOS9sobbdF1zt6DZVAK/N5EUO6WsldoPHuOqME
G38qN7QOiQ3k05tZJY8NTS+wxja9rH2Xu3pfyKFfhpUnJYqj5iqMZHLhGJRBpTAyyvZCyPSHksE9
LapachUNqb6SkbvYsoBiCGlC7tV99fIenP/vlJo5GSdOqfz59a05ckThp/4+ouQ/3y+BFILl0NXA
cfXPEUVw2ECHA30wMFT/++qhmH/ivMJ1BfdzsB7fEVp/H0/GnyaccSiAW7KBSgsscf8+Qf8HVw9z
voN+OJ2gtDp32mGCg2uHgWvQ4hKsF2lYlKoyBZ1hlM11A2O8l96ICvWZ92mE2KCEcesOkdnGnrD4
ZaPnW+hMbqsy55DLS2I3Zf1e6lLqyUniT1mFBUquYoISQhYTf2JAO4Ut2Yq8dhpNesoSOBc1Ehzf
Q4ShgV3kMrsstH7WOHLyEYdiqeHmMz5orAxGrt6EIUTIFHFlZdUhrbONqTwzGtty1rxVGZxEDX3T
6iu1R0oYGVuzZf0uaQdGn/RMaYinlbxJ0UeNTegA0gZ6feiJdi9mGIejQ1r9h1Gj4tfDFg4lD+hu
vuojzJma8b6tWCc9sFokL6GW/X/2zmM5bmTruk8EBbyZAihL7ylOEJREwXsgYZ7+W6DEK6rEJkP/
P9UddNxodhGsKiDz5Dl7r71tMbMjGVcojy0tHo4DfczIem8s9Vbv7e5WRVQ3rP89Uj+O9PQ+//uR
2tLayB6Lb289Vbzw11PlwMnCU0h3hSpvGSS/HOqXp2rpmiEjRwf8PGP+eajnyaKsX2pFjaoQYT7n
/Zcny/pEy5nEtsXouXBv7b95slTt4FC/PFr8KkpSC6oj3YeDrl7VqE6VTTJnnhC+jrHcZlOofy80
etxw0bgJ5ef7sWnwELhlbHOfAuXjnp2suHEezOdbWR2v5yg7JkBXEPk9cGjKzkURnjqdfRcV4Af1
snJjZ7iyohqOmxVYp6PK+SqtwHGNwUNv2X5l5pdaZqzzYdqnvRhXQyVtRO+46qzeTX11PEdEdbTi
UooTL8jCh7GByBqU9xQlCDDz1g/lclfZwzUtrNM5KSB15WDswuzKiVo/zZS90qApVof1NE1gjrKT
LNA2jpz7qVzvpDZ7snTJ7RvKVqsiSXWO3Rncv4sydCXq1i9t+0tsmR5LIYxzNYTKqm/F2PuBYvpS
A3NQT2Nf4fyYod3ta+miDcoUliOkXluI/STFgHqNJ5JhESpt0hJmfGz4eZXS4DTTL4XdrvmcjnNh
fmZo6cMQTn07Hc/gPa2GwLouy4YyMWP/TMPUgklQUleFiZeH4AB7EH5BaIO9LTF5WQV0qCg0/WDJ
kpq6zCtFe4leyDMSoHnN1O+VUj2fQ8lXy+icblridTM0tLE6mTR9ZRnTrkIRq2SGJ0Vi1472BuSb
V6ry2SBZV4TgrgbFukHY50bheFTL8ZOGiGzhq6q7we45KEumK9fxShdCIn7X8jR12JcNPE5tuNWT
7hIYzQrHGMKjqb8rHVBhqE/XQ1Z8iyXZM3ttm9HzwcJ2mZJehYR+uXwBzqqU4CpyZg5FAN6o8yeY
czMLM46Bz0Yt3fWGg9g5P9Ol9rYJNd/QIbCOJdzEUVt1NjakOjY9M72blHRLlu92iKcbqW23Td+f
VE227k3yuerBFp6oZoTTSj17HcWppYyAUcPYI9dsnVgZn3FHDhBUZT8Mpn1hI7dPqys5jYGpThiF
Bvrx40mYFrtkkvehk++MYDoq+zR3gXyBqLUTrAfVldLHBDRz8JrNalWkEDArEyoXkppUeLNmR+5Y
I5rJdFVfs954XUZ8Gie1M4NQPtR0+7ooQHGF4cjZxBsjQu9LUbkaVwuvm16v9r26PNDq3NTNHgV6
XG2noZYv2oahrR4F9/p0LJ53ln+bw4/NgRrknc3hqfjWTG/UW7zq185gM/miPEJ/S9d3yWt5vTOY
9OOXeTfzqmXTeNkZzE+Q2+FFG7SDQTDar3YG85OKx4nZH/oeAqHNv6q5/twYlummw7UJOyO701wm
IK+6vVOrVE5XV8uUsw84ZbVatE9tvQwBGJvV0PlOvK0yxHIFJzWpVvJ9NKnxVxFo4/w9ze1MXnGM
FQOZkcxhL7CyJdqjrAXzFyvRs/ZSey5F9AartPVcoEhLrWIvVYu91C/dcykzJek2KySgqBOZesoK
fnJwBUSRSEeS+9rLRA5dPak0RNhZnJzrAbXilcNK1Kxlh/NnlUnddVaVXbL7d2P/uLH5ot+5sR+b
b09Pb9zYvOrlxl7qGoKkbaoX5efd+3Jjq5/kJWaaO5Skg78oeRhrLC4QizKKIYTzNyXPgb4JoqOi
yxQ6sCwYcMPl4OF6fWPPbTjb4cAU1s6UnQLN14bYPDEh8EQc1ft5SpXwWntePwdJU3I3KXNzujaD
Pq/3uGRm7VjowUKgd+RIvhrwhOYrA0lHdlKNk2m6/260HzcaJ8n3brQ8zrryrZEZr3u51Wir6iga
wYxaGiZCfvJyp2mfNMpmEigsHKeoNDhS/pqYcXvqCgoEi3oXSd//imuGadBRVQ6YDLoVQvj+rrh+
Fku8OrcS4Ef/FsEljXiZPO/DlOVKiLbLnKHc6jXkjdQkl2tqRi83q3FtMMpIx+bGyoMU8UgFT9PS
vaEkiEIao8ht7fkqyUfqYa0t1rbW74J2vhuUXl+Foym7fTXdgoWnAyhRfrRdmLnqFOPc0dLHrtbO
SlsnTi+gm6MMT1YRHGFoJJiHMAEOFXslpoekDMWm7vXAFXp81CWJuWrUGKNmzq+Lz6GXfevV7DEp
6YkFTnxtOHWyAf+Nhde+whcq3MgYLyc5C1YhYnmUAPo2itWnLDKu48i6tonJ9bIwJMlijzmQeFXi
C7L+izOPD9DAU6IebLLtU9PrluZSXtep79T5Ny0qH9tpbN2GYYcXlea6NITOfyRd0VDbaCLKiCZs
tz0hB2M1b8u+8YBXRG7ZV5XbCWdXG6QFD4zkrWauPW1sr0Ytxa5oqX5iBhe4Oh9TOCxmFSWXSTMH
biCNAbmsjVb0+tVstXp4kwUljHRQwqkuP1r4DJUIDd0gB6spcUbMoNUX4rLJyrUvGr2VvDYk5CSe
B6/KBxN3UI9829jLZXovmth2KcivYbYiXrfQgThx9NAX6mmN/9arTVjFpi1/rdXyPnH0h1ozLyQz
pL+rZ8xOnWMlaWGd2ZXmZVF4S8O48IY6OY2N0PFVY9gIPbqX41Hfhynnlb6aj3JSEwNjyol6IGkk
ys1duvRMtOJ6nttzuYpvRe4MvhUYq1hOVhw7LC9sIMybMu1IGW0MoTvnaid1HgHE1c6xpsxPuC2V
JDuKRHRflOMqk+TLWKfFknJ4xXOtXua0gDlk7YvhKpK7I2sqWm8p1buAKRb15VOhS6siD6jkB+s4
G9tbE7DmOh8R2JOLca9LIyEqgia+PSbK2YDNvqxiP4xpxfQKcwa1Cvh/WnCsajVd6BHMYmkJry77
M1ovJWzJ+JR6Y82rg+MuRRaCKizlYNaeB12Wu0zHTmg5D34jclDgIvyS0UC1nercnmPw7dkKOeam
UCpQqu1+zGqL7uq000fLt6P8PErKC701VmnfPukcCLTUWJf5Ri31TaUcZ8Uxc5TO7TR7lYzGQ2eg
Q9OmreZMGuL49EipxL4CnZgryRGtqVPqowsdxSF5ufdKidm1sgt07tChK74xyK3MFuQOu7fRn5Cv
6+sl8WJtFA7uOJA8nBE9lwZX9hCfAqB8COLcdnWz9cy23ddkJlsAf925nOnZt/MJD8S1ZuTC7RT1
a6c3J00kQq+ftZu85bjWR7lrkG2gL0HTA501rQ9wlDpbbTY3SsX5fWzLs6SXd/BZJHpV06ZO22xv
6dHXRLWPMjQSfsbCFnbtD6nYv6atwdbzzhb41BQ0mMo3qi1e92sLpMZiaEc9A79PXiZ3L3sguyMp
owpaPsp3KMfUaC/HCPuTCTGU3i06RlTOy+HjpcFkf0JRSwsYue3PV/1F6/aQbM1phF/DZmrDFmRc
uYwwX1dbZE/0TiaLaKu5BJ64D18yP/JCzBQ7xU0fxm1zl2/sXesSmxiddVvmQ+nN5fGNfpRfQWQO
U696yrxthMUWtdfRN3VDT9ZLTurtq0/2Z8v5tbplKfp+26mf/0wOXConHgV71+9/pq1LNVOOPtoC
6l8aHgyOvkv2RdntKjldS71M+NHX/79LHoxclY7uXqMul+yxkCV4nO2z1D6ppJTZ0Ly2pFUwfMBY
ox56910efBlRnHe2FXPJVs+uHQZTFLA7AFkf4JO4ed69zPJnvDo6qlFaEFHVRds4OMdZLkMJqDQ6
UM2JFnW4+z8S8i/t/z++PIXzBho2xPyHMnSgQ+gAk+V6yrVprumPI0bPvaJ/7NrH/4cv7dWlDk7F
tRg6Vvg62qohTg8ZMHnjjuGDwCEvWdCplc+TmXnvX/MAJIvwiptzkU8zlsfUinrp989zUgp77HQu
ylRybTq9NxFt1KbSURuAN+mn6DwHxwfbbF+F2rEWMl+L25WulFuFwC5TNl2VUaZqQJyNws9OgNAo
J7OhDL3K+TsK5h9/6yKLe/3dl6kg8Hn57oVK5EitMW2/e//jWD7iw2/71aexyDNeX6HqMLKpVROR
QnPa1cVpDmV2HowjIT6iVx/Q5f58MwfPS2aESahpfPCz1q2ScB/Xp7QmNol5Rns0sNdV/6UElp8d
5/pHuav0cd59l8vPXz1DZpQlMvCuaJviaXWtqtx2bfnBCvTRJ3nwnNaBU4ehzTUSOfIiIVb0xjeZ
BZOl/oixcHjqPryHD53SOhFCDKi4Vok8oYiOR3NbTp9le22DA+ni76mFmwoocnmTGBxTTBKe4nU4
3wnjIyfXW0u9g84GHDFjF+OQ1Rein2u1li91iiNvNE+0IvdS6a7J7nMyPKrum8g/EtV/dMmDVYOK
cayyikuOlPBzRiGnQn1PPREgph79Ad9un3yUO/PWqvj6fS4/f3UHxUEDHFEqWRWJtKmU06ZnF2Wy
U5zaQ/CjSfGbqvf19vn2k/LqQ122hFcXGwPHqrPlYnWPRGIIV0J8z8v7goOWfqkPO8QQg/SVmB0O
Th8t/2/taq/f6OHySMhcRwUfbW2n9Qo1XNcz/XLC795fdw4MQj9XA+X5OE+dhRb69/co98kYSeh9
tkMonUppcSxI2mrpyKMAPenK5HORKnu5RyOlVsfxh2arZ+PdHwvfq+sfLHxlWDZBvCx8aH62WZej
gM8Z6wSr1q72Ttdf9KHY0kX1bHSOgyrOEgKfynHeZXO5puWw6boLvpZeUT1LCx/Jza3JRiT806xP
65rV2qx3IjK3YPR9xak2ZSy5uui9tEg373+Ub9+avz7Jg8Vt7FV2BoVPsiCEr53l9Wj1u67X/HSw
fLm7e/9qb5Uj4LPQQctLBvthF2ZG30UQJvfHEJOgZheehRMvy5pV0I/rfLpkBPXBjv3m4v3qigeP
XhVyVK0TrpiCP9dszsDEF77/pt686V9d4uCB60lHQ3ZR8HRT0rmdkXtYTXZd1H9Q8Lz9ZL+60MHT
1ZK/5yhw/rfqbDNQvUL3htxgVUE5Uo6LovCcyXJjKFa6/DWVxg8+SWXZYv+46X9d/vCh6wNHLSrB
wtKlYi1FyQOhittaEPw22fJZZIUkGHUnzFE3hlTu515gbu7SW/qCHxS1b67hr/6Qg8KmVcg9Ey1/
iF1noBKQ9oJpVyO3aL9axlnOyE5Wb97/jt98THSF9DCAM7S9D75jRY26PqriaEt02agxAqkeOnHc
F5/NXvjvX+rAqvpzcXt1rYOvedZDbZbThK9Z/xyGnMnMYyEY9RPyEKX7asohp10VyO/ev+6bz+b/
LgtA9/c1VUKg7+hlRpqpDWUs2I7YEDNCrcMrkex68G7vX+7NL5G+L7Sj51Tig8uhE+yYWofRVi9B
7FsXs/lY64ZrB7nfx2dleFuXH4FP3niHSCuW5jTHE/65PMivdsZhwknR5U64NRIAEmJeVabGGDwj
WLA5yYrqKRyDD4Ahb+1Uv13zcP3pa3B2JteUkuZrUY+eIqd7uop7ozPuTJqiLuO5L008k4bbHAV1
tv7rj/nZwIKN3IC1cTg7NNq2lyTVCrdRgWyCQ3wfH1fVrq+3+jiSeAoXNvlgnXpjPfztkgdvOVSd
We50O9x2MMpRR7i6BahO+gAV9sYT+dtVDp6SgB1VzA1vLIsec9mXunvHeCBF1wvqzfsf4QFv4PmB
5FI2z/4iHWIYe3DfmNLY5WC5tgyqNuPxeK1t562zms71XbwxVvbVuMIrsQfworvfetc6pvHrfnSa
e+OEYHHwNIAe8FUaz8K8VzevEpmJkKA4bqOAhBlpHlHK9oLtrMJYEAYflaxvfomvLndQ4cSyU0oq
Xe1thGVBWOArofelHwDV3ticf3tPy47z6j3Bu6tNqeEitlqv9IqPTfsI0/DRx3bwzFuZFUj9ZIbb
OiDL+sic7o14dJX4gy3pmd58sDn+9lYOzhVKF1UhFGnukfZLEFxq1pepP0oUpgNwB+WauPHTxPw+
95+b9MzUBs+iQLZ6JuYK/E1r9f4d+8ba+tsfc/BsGEanpVHL55rL+X0sZRsRdOfqNPpjx4g/Vr71
xIIn0qx9tHUtT8KfnwIsVtyL8p8UgtQO9awjqHFrCINux+OsnGIsdo3iLK6ODYPg22kDcEqg3H//
HT9T+w+uvGAPmCdzZQSwB4vOlEpTnYVTuC1zAp9qD/Kit7nLY9c93tVevrncFO5mt8svmG55whUu
ojX3CWWXt+End7G32nvGuRp4kl+dVN5V8sFX8sat/tvfd1BARFKqDUMwhFsnVfyhPEmUjwBobzyx
r67wB50wsCQ9StuZnQbfA6UiuQZQkYePjNS4Xv78kn+70MHSIOwaiZOsSJtOhEN65/Sa6RVpJyJ3
7mtQteM03NvppCRU9qCQ5CF96IjaWJVqeRY0JRbFWL4I7ZrWoFM9CJusbttGy6L0mr2djCRexSNQ
pdA8n9PBNwMRu6I1YOpXWulGkrmVs9qvquBeGoJH+ueenK0qZ97XOZmlU/iIr4yY6i+NgqBxqu7T
Yt5rxLH6Q2efJIir3dyqB1cuy4yzVZL5rT2FfkLGJzOVUffq5JG063N6dvWC2iTqB3djKps3og7O
JMZFejDuWjBgJH7nx9UAUqptHQzllXERJ9FeFuXDZIoLwbHQrBxjNU/KSd/DjtXaHVr6jY4Ushr7
0yxMLvAzrWsta2taA0pIFClMzQvbzAL5PpgXaY1oAX+VVUSsqZF6uTRJx5nFgVYxnVVYpSTZ0u8a
QiXxCB47KtMk9KMcLo6QN7o0gfi1/Rg8OwQs+6jLlbM8s/cJMsMZvpPQNS+cyFFumE4WinQfVfbe
rNNdbYr9oM8rWUpStx/4TNpi01c0MrXsW5k466lrLzO1S9zQ7m4QrW7qcCClqCQIuKVI7fyeAVzU
ld4ATWNUs/siaC4Azz2qY+07k/N1XAxKQXSW96Wf9913zvBHsaruehq5nEn3sBy/1lH21eQv0Q3T
dVT9fGiyDeaidTBF0PcS2F9RL98Ky3yQIOcSzgwG1MR+U2Jm1DYF8g9JNJdqpDHvz8/sMLgE/8ud
cqfT+ibL1h+KYFt1xlGd86EZyGWb5tay0C/Z8n7JK44C1bUCdccR8luTN9vQZlUJ+UhI7j7r03kT
tPa2HHAHqVovYwaxJBjLnNyzfhVkxk7K24sxTI+bpNlkqukZWnajZ/paOHnozmP/6PS4CksldlPH
PHY6bcMmT6h8l9yqJG2CjjojIBAYzvhZqavziT9RksPzUEeIW8WLE+u06NvTMdTcGuVCHxknibCu
xro+k1UmrHlq7BoEY4qGmSRKlM0QkTZryqedGuLHrBmUShXtifguiEO/kzLDDZXGD2RSpbnvDZVJ
JWCxvMuZL5aQ5jTPiJ+1jNaSH0243bxnHHmkxSiE+5io6zzYJcH8GDf6RTmEFS6VZDM7VeoFXb9L
Q2KfZ+NoNp3zUehfy6Tg3SdHYV9cjV3Mzjh80ePioiyCk1bwfrLwBrrbg6jFUQT7ltXdt0J1Xw0Z
eOU2XQ8thuTSgDPACh+Yu8KB0Wt2mV8b5m40gnWA01abZqbA6kmdht7s5JsiHBvPhmwWdvN6ghKs
JkHkM2pGOTRo17Uk7uOsfRon+vuEcKGScHtD+FbFKCPiWJTW8A1osbk4NPxA2J5QcWBXE+mvynkg
WTvwa/vFZ6O3E57QpnrUSyS0ekGKd3DR4T7IQkS9la7zG4zv42wzr59aJL7tNa7uWz3TzoNY+pLL
zQ681KM2pStbZ9xOrKtcDGuhT9iKZQxM8zapnFVFVLwmI6rOkaeWoZ+J/ilPQo/8U+Dd5b3WO/4o
h9dTVG4yTToNuoQBsXrpKOI8TCApq46rdwJqkGK3efOjLvo3L7bY9f57XnzyWDx2b4nzlpf9Ni6G
xoOR5hlbQMn4a1xsLagNsG2qbBAOSp31Mi5+9iPoKPBsW+cUy+97mRbjAZIR9GFhsPAykJD8N9q8
52nwq4IKbR6AeZwQOhNrft2h0UfFnzb1BfHvVcTI46hMsipHkWEk8tVsjn3nNn1uOEiz9SY8EW0w
w1OZRTYqq14Ww+h1XTSM2zzm9i276UoOQ/ZxR0b205e9nzV1fDqORYrVUR7Qq8ZR5llGODKkUpTr
totgjM2Npm1mfTZPZrmJlBXMzBTqX2n75hSqKcbPYqPOWusjltC4w4e8F/fPX9u/+3dhpf73/Xv8
+P1xeuq6pz8FD8sLf93B6PYWExg3o4ovjB+93MGI/pCJ4qp5dqPpi6b5l+hv4cjgvWbEb4N05NT3
cgs7n2x1AZgZCijk5dH4m1sY9sZhpUpnCd3hs9iBP8Y6GBOEUZEO9SyV23xs1Bvikmx5lVhJlbF6
axaJh5g0tLxvvizC6ViWy5UsZ9hfEquDGwqgM1dEt1cw0eIh0IlVtgDRy0SOxN+HVvK7GsbsOH63
p/xKzYOtrotdUIer2qrO2Kyj3YgT1SV45aSRtNqbkqh2Ta1V3Xmyt2GqPMxqejT3UuMOs/mk5e33
PnPuHbnQ/bgudReIwFNW2fE+jIdqDypiPKuDpNqFhXWXVIZw63rCkdvFHv39Zh3L4+iFGRR8rSn6
UziyBQzZvPYj4bT3dDU1qknV8kB5Hg1FIq8LRVF2duMQepqL7aDnOgbU6psk6XutJzCsFPTGhCy+
z4EVbNJ4yHyhTNdJlNiYXu17RZdODa2d/dmk2nDqptqAQwiPLSrbY3zVEsG/quTLofHFKSxxLDGb
xRHRxeusAfsUzbrljrpzquZYBnM56XHUjGdDHZ8pc437T5QniNxvUNydOLx3IKcQXtXPszl8jSrn
pqsz7aYspJlTdJU7mFfsOD6FNWXclnG7nZAsDrelVk3eXFXytA1MnO9zWV3mwsh/Hov+LRTLUPa/
F4rzvise8z9XieVVL6uEsqiYsKbqiM1pxb9eJRYROqIHnHfKIopafvSyz7EUECiFWImVxVSgLb9e
JdAt6LqMWw7xMAPAv1ol5De6JVATaQqzWuC7VQ9aN2mjpMnQp3RLggqkCFR0fT4x1Kjm9GJ8DUMZ
+489SSdTZg2bvNZKf7B0iNb4rq3AXGdllvpBmdX7tnBCH/Q17F9dn6+QSnbXU0xE49oMYlAyAN3K
M32ibnSSsryJcySVhrxpinDpliRaguM6LKJupwzKd+ZvqJ2kirs7oInr1gbOC2eY0UtGer4dhUMJ
b3xGdy3IPaJxoebZAFLaDI7KIDAey6BXPKlAWjxGF6qWjESyVNFNuvj8pMGpTx3UokNvXyeyeWqq
ldVCrabucOW22OWzUsheimUDgEkah+tGKbVzxZSUY0dipJmm8rFc2/N6ToR5wm8SezuZzoKg+FyI
OvcWCfaqbCHDxCGTy2TG8ctBJEzzy74t9mUr+6aWHdWt8jRJg+d0QIIa5VG3u+OhqE7Bu+4XG4Bf
TmI3kYewDez5cUyrlZPTOsq0ULpLAgR4nlmpI3a5orJvG8AAF4ohVZdNAg3e7+myg2cudmWbSH4p
zWeOk2wUa7wzc7S6zbhxSjvyzJg5VRkIxbPa/Kd05N+qsEDj/3tV2MZZ1n4pmxLn3J9rw/Lal7Vh
WQD0/66BsYbgiJUNioRFzviyNtifFEujQkAk6CgYWHiiXyoI6xPbPC17WVGWdiB+rb+QTD5noh0U
wYBgFmomloE3Ov9GO9Y6cI1N1HbjCF2I7R5vSjkpK0hEGiVv9Vz/SmaESdBMpkhbGijFWRSnmXRP
pmA27K2uBYGhKklBF72l5X0SmtkIEXywGKzptUAj0WZldNd2stwDiJ3sYZ/PRY1CPZYQ6DeFvTWa
1thXZajSoZiKXdiXjgyRiKVnyGnjzJU0QQyZFToE+t6aKx5ZxIxAv0yjvNTkEdJFN+nVWjUlokbV
/ls0kTZjSc3k4lLFPgmRehNBkV3NvGkQ8/2R4Qwj7KRGFV6bZdpRHcjp6l95/eyoWZjU7zwfZQZR
740ng1e9PBnGp2ehFlW19XOT+19tbeI750BGxrtGusYzHuJXbb2c2XgqkBvzCCzHzZ9PxkKn41mC
ms2tjHTxryhF1h97JlsyFToPGY+gTo/g98lNUEqanWgpmv84CtdWal8WsebqBaSdQJyZ7XisQpNT
Iz2l+Z/tAKYdERSXukmtnkvmQPyYuBbL9FOzpW9tBS2l0tN9q4sV3v3HQRtJB8+ByuXpReQIcsKX
rCs0VF7b2dBZmEs7NcOVGkMYup8OOkvTmt/TRDEvBq02/bnN1TUBFOEl9/o47AYlcrwxMfdmhr9d
Bcnppbq2DmtR3BJ1BlQVWIwHN2nw6kKc4PdHqBUlqhc5UnAyLOr9rKV3JWbF8ikJBjeT+xYDctas
LZU2dZ2jLRn4faQE9Cd5Oe5wQywwF0Hbpuu9iqrAFQxTCNxiQOJKXbnXhkgaBnQwidDJPSPqy3Yz
YeXzcRIkoVjDPUPS2AeGSwdxN2N80XKprH6MqP/tUSYHy/9+BvePX/HCvGFqW1728hDqn2yD2nSx
SUJu/I0VZnwyFhekQxwgzxTF6/+2J035RGlK80Qn2/PHKfbVQ8gv0nAE07z54YX7i+1JkfnTfp+3
mSpEaU40mJeBkjrUz68HqGrXTgTEyGDhU6bgCHRcEBEXk1lCKCE2DQRWtZla67gkAiB31JtOt5B7
ZtPeaZrYYFbTz+O6TRmcudaSS6ZkznRqT47pYcYERV1GOvtIFDLmcDDO63K/doagOE0XWp45peOK
NGL1OG1afTV0ZbvO41Bj+MR8JS0izqVBobvQVchoUILoXG/mx0k1fbhYX8lXKPbYXcKVjpTOrQft
bhimm1Lq7wNCUuAS8Samcp5cKHlguiZZXrVpuUllguELO+pueK6tbejElp+KyFnP7cRa0VnbFJWS
Sz4jbyewIOdrIwhViRNfH8GtjSXFNcYQcmQTVdoZ7EWdiDl5DB5lYZjmcZbg3fEaJ98L0fCgWkWW
udlM6KAsd568PM8R/97Plke8aclzw8cTc6z3RCfBouqR8Y1VQ/Al/3PnCBmdEdfGUZkjecs0JThx
2kDx8slghWGpEYUkvHC0lHbXFLkEAFLXtnKnaagzpkEE51OZOl9FY9mb2XBOlTRPKSbMJO2//NuL
n/di+91a9az9+lRmj39uxsvLXtYBgEwcReGsmku1+ZuzRwEnCBiZGA9apeRO/VoHVPsTqEDISzan
naXF+2szfqbKICZZbK8qhkjKhb9YBxit/74O0Ky1OCzbOlXyUjA/A75fCSkyEyp/lRsqFs586k6V
UUN7WynZAzPX4nsf5P2FHMYx4YVh4leOPDZX1kSDB2VkveLe/Yz1tf+eNDKFbRl1+BlA1Sii9BIC
YxJYl4MeNr4imqZdiQyZlpMtVIFRVNs2j7VgVYzaOU1Z8naAtONlGzKbhE+7CBKSZIr+CXyYlCKe
My4yWwVsOsmYEZkPxmoMOWbKLp0sReI2EeTbWxr/XjaugnqGm6Gm1TYQzUUaiFvIaPwtRXdRGqor
OmuXNSMDrBaqaWfYAabRRvhV6UxbXW4+50W5MlXznA3dzw1jN5rV18JEKcO3nHgjZ2TLqe+Vdj4i
YvHODrQj5tluFveeHE4rYoMAj1RVuAlKveCImXTrerHqdoa+ieohOKcUWalhepU4j1bluLU9yKe2
jlVqmfGpAAfl5tTSi8GfFWNdCxVfY3SSZ/XnvJLulcm5b4GCnNNIPLZKCgq1g4YymoXk2ko8efYo
z3By8y3dyM9SBekkqWQPpu546eTiUo3tdebYzaow5y/q1DTrLnLOxjzUdtHUpu7zcUHJmeiN7eRr
jfkod9V2SFD29lNQwV8hpRKtKoCfqdorUX/UZO1NpaILUwjaSevrNh/WdZReRY4KWTbwAmw2Vg3T
zk5FdRGMkd+HkuoOynDSxe2OqFP8s63iRhaj3kZAB7TExh4kNxrTAVZfh/Zt7C0vlqS1EldMWCO/
hCPENGFVxuWuttOtFfU31aDcqpINHBEy75DBQiFoLVKdy7CZzzipHOltfds29m1k4aKego4WLrM/
OyRuWFwa8AfhAnyZOhZNckXcaLLunaBc6xMkGLxJfhq2x5y2HtIuRJVirWBVfp2y4WaWxbpuI9Pt
SK0VmFPxCF9Q5H3HQuU7aUyJGhgWt59dYSyOLswkx9mMKbclXH0u5K0MNmfKpbt5qgt1929x/nFQ
4lj/TpH29P37U/N2mcYLX5Zn7ZO5SOPwNT63A193GPVPWC5xY6qoBH4SMH6dlciUAhkum2QTwmj5
tTxzVqI60226CNAumG8Yf7M8L/3DV00E0AP4xGzgXo5Bc/EPbrwjUEuVBbPkKlw5sCIDBWN1w3y7
+HGT/Kf1Y6n2/ryQwVvlVLi839+rwRzolokKpd3ST2cFzUlLizfNUHmvvoLzH7/wtcOE8K0PLrT8
/NV2k4pglqRIa7foyRQ3rKi3BjWfIC+3J6NjFcQfWO2l3MVPal3egirHjFJj6pdKc4SY3Mh+rKUX
2jQoXqY2Dhbx2vaCoLwl3WwfWhRcjUPRFgejslEMscuqrnD/j70zW47byKLtv9x3ODAPrwWgZlZx
nl4QlEQBiXmevv4u0K02Savl0L2vdke4HbKLYKFQmSfP2Xtto1ZdWsY4o3AqxWScpbjqLEk50fqH
yF1dmyD62JiQZ7a5m4gGNe10P0/SNkWAexWL8Lrr1ZFSUEHUOJuenKVIbaaE/AmhuVYOdjRt0Vg3
1W7q7X04hjBpY68hmSIROUMGIs0Bm2f7SQa/mkpf69a4kwbjSVHGtamGVyXsCA8+AWFplJejxUJX
olTjjJtGm75l2zQmSIRlmZh+RGm+6rvupFjV3spVfuKIaKBSu2u5Nu5qQy/YhqpjZsEYs/XuetSV
yp87Jqtj4nj51G3jGQI39KtJe0w13LrKQLwQwRCqbyQy9IkEmYSkdyc9Dr6R4VCe4hRGtxMg9olG
s0E5P9kes5pXU0SOX7WkO7dMUzntYlSpTH3yMzWXbmf7ogjS3Nf7RrqnxZ35TqBGJHXEpDm0CezT
MTpkMq8WVnIJSXF8noywWgnLzj0HgRML9ERyHBqNWWLW1Fnd19oM92aSseZ2g6vp0TX6A08z7Ylz
PJhcOEcSbyt0drMWXI8VijmngxpQfevtgbNzGV0NBEmQ0s2uKlo93s5mHm5SooMFLDbNgPNaRNl3
CmhD2xW1sL4lQp2PjiAnZms5gY9Tej9p8lWqtDetHB4DPiFVHcCJORqA1RaMbtHtrNK4LfCImaW2
ocrxools9Yxn2C5ma8t9pcpvshOSkEuDb3NNHKMil37Ydcex7fY2xmEzHNdxbmwm2SJNkIDxBJGU
Jn3vxOCGCGpLSV93Hei3LHItvXHV1oSmDL8W0RONRn8QCbj+YUsk3c6IJz9lvLDK+2FXpgl8c3mT
hTVVgb4Z9PgQF8mlrRRfZhE8CDO9Qy4Jj0H1pNFaGHP0QkKa3sNOc9JDp7ZbDaiDPmsnmHNuMZMd
JUwv1/NrOym8Dke0p5qlvKJZkrmhbb+iB9hrhb21+uLrrDber5eVv0vl39bJv5YvFvj3qwrTmUg2
S7PZkuLzIrbtw6VfXxtudPUfF++/HQ/m5b/YTO9y8bN+x/KiHxup+gc7ITviG4vnwzxfpa+O0U7h
sGMpsM540V/76BJBwWkG5e1CMKAX+KMbDzWd8w9NEkw+C/znd7ZRcjT+tu3QcSFgY9np+Z/xqenY
MS53kmJKt00kv4g4vkkwsBIu4Ut1ddGO8cNghPgZxqVuHz1zTre1ZMyrHvEhnRBcramAuCfyL3UW
urKkMdtu1vTkjvGgrw0TeTTkwqKy97LardBcIm6xaPDHq8zO9ma2s/RvYVCd0wH3dmlfzra2DxT7
MDWcGOSJUXazMYfRH9V5XQb2VnEqr9NlOjHtQTZ3ZV3Q5Iz8JuAbPpqrce6PcpTelq2Ur4JY3We6
c8Z/ukk6zV94IEmX3C1d1HAGDj50275hZj7sh4rhA5kBQ68iE/ge5JYNA3zXdLgsaGCu+ozJ5BD0
+2hYD3m0GfX7ulsQjZpbUfi3ZISo9lEbT07dnFO2LgcwTzE9psO8M8x7a4gOBurMCjGj0UrbZkDG
atQ3UlmBPtJW8qR6XZGuJ9ylQfM1Uqn41fncdF+GqtjKIBqG7ouYUzz/D6yj61EeVYDyOaud8BKL
xq5SEmxOlkgx6iuzDzwnvIyp5IN29PKRDL7SxTp4a8uV38LH1iKpWePJUtYJ2jxP4Wg2998bFREB
PqWE3wLYna9HUHnKmzoFuzI9dRb+/ynZpK3ton5luW49PQUIWt8os+GN1kVf7WSFzDfnwITn3Nvn
bNZ8K25cnXpANso9IcKrBOOlHPTs+UtB0m2Mon3sTf2uICp7sAP4ndZBBWbMkp+UylpWokXAO+zS
ahmRFtIVtqYmSfywKU99MX+3w1tNju3HNC442XJ8yU56Xul+G/SJ6ltdcd/VDklYBWs+x+h5U4eU
Qn1a5HDto43RP4syv1DSOFjpNee4OGhXMDpLP+srnsDqSStRypZkoHBYvUyN6Ws7aAr8Td0PzG+O
LA7B/BAkk+EGbJ5RUO80TNelUfmkaV7pWnwhaahOwtu4peVVEpUYnyKI+JQV5hhfKLWEUCXCRFC+
ct7fhHW+KeNviXNXaJGfaSG6WO479ophaNaKwnEwi92iXdhZPjWT28rzYyYUL84s1w4wW9c5Zzd9
m9bHtk2vCw5T1lR80WWxp59xm7UqtJwCL1h/qoPkIZsadNPmhTFeyGbsp1l4nOdwM5hUFoQnlw3i
zu4I63UebC+1DL8zW49RMkisYGUZ6S6qLuqk3cjK3h6qlR3CiR6/hg2UEfg6M4kBWfnVEjOnZThI
YjyJ6CQP1atBpEoTtLj+DV9yJFp86tlq40fODV6qvmKs8jkyrgomIiu9S9ctwAvDiu+0NDwqZOFQ
+nwFRaRS8A36U95w1J8IqJM1z1Jv1OFucFB4lhV6aBQF4RVN/6NRqZQo+z4ujhLD/VU+9qtm5nuf
bspWXpPyu8ra75X2pDvDqgZFrUnRynLOtaj8FJ+gKj+HRnFnykcru6bBuWChvMIkGtr4ElFVOCyG
rYLqNl9pXb+xtMlXjW99zAdM7TwK68lsqn2UDlCerHuzhUlAlzNhBNmTGhEwQhym77WRHjUrvyhp
XijWFzN3Lg16TKLpyEsZXrSowRJduJOt0uuhdVFM656GQRNi/a129IfvNPNhaOqzlDpbxQ7u3za3
f3d5aKK/2OWPP5OdLi/5sccvTEhiRZgCLsLOT3IcmpFwd3Smemza70h9KhR5G/kHVnvZkikR3slx
TEh9JjjrNzkqeL/f2uWtT5s8rUyTDd7GFuqABeW3/FgFDvbMiDpXsS+ERWR7hOhFjldXmQSGQh2I
0nF6OzTWExHZ0mwDwBurZjO/YUithUg6v8FJjWIGthYMPWepKkeFeKklam0y5uhIpSJfPJnpNqZf
0KM7j0Uikb9QW4Sp94s/H5xqn+RYieyp5Htm7WRq7RGZSF8qtp8HYtOHyW5WCw6GU/aYNfaqreKb
fB6kvdWp+l3VG8YmRn19WUiUFVKm6l4ka99aSbyQ8iaf9XG2wCrXV1g/JNcKOkRFGUe7FB7EeUA0
R+tPU6Z1F8osFYpQ+12mJiACYQ6Yq6CbnSN53LWxEujtKBwMQDNi7NDbjrLw0dZOaymtum1Qk3a+
mispWZtDsS8wdAClmeMz4DDj1DHi9Rr133kiDz25cibP/P9uVR1ff1ZcL6/58cXTSBdagMHKomb7
UFzrBMfxIFvaG5d+aTe9K65NG7uyTTvnU7ADTapFFoOOVub/7CWS6HdmCG856h+7R8wPIbICj0dX
gPr84xevkweFcVvYbQ1bNBC+bMnUdno0Zt/LqjeXnmeRgs4s63ATLUduXJUqPo6lEVHFV8PbwZwT
Ov9wSYnq9VZ4My9H+Hw5zItRLVaAaidv4KRvmfE1UhdckPQA+krse3oCjAqp03Wz6NZ2FvKPeThb
+q7J5Xbwe8e5mCwN4p7DcKz17eioLVFfRH5FSnXWiQCzQ+coo9/riQYrZtmbquGMflwhS5CkJD9U
O1fE8qYkWGxMgws04xSaOZ0OosfGzjnnoEMCIsmY6VO9ES3jEFYGRp72hdzfhMSYNbF1mcoD1jDz
piTmrJaLDbuda5nFVQwnOZucOxWWaEE8WkBM2qDaCNfQmhGfFhGjptTD40SsGsiPa5uYtSmeTg6x
ayPxaxEmqiYIbyxi2STi2fDQzYwCCr3xteq5rJXNYstBKbCVrdmzKUnCSXhVUK+yHJfM4NldvI6V
ct2TDTfa0l4mK46+wOC20nB0lOjUkyZX2SBSRPvYysFjTyqHpTX7SDe3LWJu0JThHcvjpsc1M5JT
VzjmTUFunTQ10NdJsovoV61h2RB9k7mCrLsqrPfdrN+OFFytsJjZin1ONp6ZA4bTiytWuUOlJMeZ
DL12ydJDZuf1vOOKlD1UjHtB6t5Sd+a0kVrS+DJ51e/Ui3CQdkxY1jmRfWko+YKcJHTb+F+UC4to
P8cO981o4ieohovOGQ6JTd+umlvKbwqwyQRNatIeGnLDa5boQIW2W4jXyGuJFZSCyeEcQdKgrbSH
sIIbOduvA1GEjS25MdGEjFHEyiassCS0sLKxgjWBlgN3IdDQiF4mirrSgcc5aSg7iiX9MK5nHqb6
YBKLWGu9hR+JiZBinQuCE+0k9lKj+Nb1hYcf66AQsEh9+TARmOwPQ7wtcxzkkoyUhVDGpHHWUUtK
46Tgc9N0WlFWd9bL3F6ZapeQkNIcbH30CiFfV9lIeR/x2RH/KLfTyZIa89Kw+8PYtLj0bDiorbZP
NAvtWPeUKEHoknLhtorxEmolVrrhwajno9Yar6kRe/ZkHUIz8WDH7meTG2RnHIn0wDdafTNONZ/m
uDxZu1qfbnMY42bC8yKKBeEvniepXVuFdNs6Gfg8nYj6VBTQWJk7dsOTaPM2il050Hqs5ESJPUmB
FZV/ptf/W/VZv5xiH8WX17qd2GzeglL/CkNdXvZjA9L/QPtFTNB/5dZ/2TWMP+irkG77A+D8ob2D
QptqjL/4O5z7D+0dRif8OdrIJano9xxHb8l2H3Yg9jCF6Dto5GTsyvoy5X4/Vkjl0CnGcdiK0c7X
UZd9lSJpmzh4kBJJWxXReKWQu9Vp6zaxj0llINYK7ctqmioABVY0DuVZolV9KSZzU9r198mwdr3J
rJfTz6TFKXkVxlnEJf68/FGPq0OTNC8qINlobg7CJsp1lRWY8+F1PC7yy7gjiEWylS8cbl3UJrdp
ne8noxVbVCzEeBF3PCv6iTnAlRIaV6ZI14lTn6eAg2obn+i0XxVS9FUvNb4XyguAUNeOi0tMDUdj
aPZOH5AJJhnfWq2/rTMazwxVK+HsFLs/ywB1tal4ZghyqhzVQ9RzUgNG2qlTHCJR7cO2eKnTamMa
805E6pOuT15QOUdNcQ5JAlBqYHjBnORsKuq60OJNVFjXyaRj9NQuYmm6MhiXZt2uqeZ9gapl1Po7
Ysu2pRQdUzN+NuZgmw6FN2MYdOLyxu71g1DivTmKoyIybrC4kBuNIzFQ6mbQ94jZvEqb8GoUFzUw
BOSA5TcLVvCqUYP7Ms/vkPWzO2oOZ/WeoAKMXFKv+pMjNhZGyqJzrpUq2BgEsExN5Sf1dRJrXt/p
6A+qFWMh3+k1bxzig8FCEmc1OXw6Ea4K/5U8566UJkdwiy7mc5dP7aD3ktg5ZjMzeUuPVqjs58qA
M5/fBvCgc71aN+N4ayfaOnd0yCidiu6BeAIgMSxbg8MChifcZkWrTLSyrHDD21LXOQTtpV9zSWY4
Mu/MbN5PrI06a6TBWikDDnfzOHGdWdtHrKYWq2rG6jpn9qvJahsE0wNGm3VZ2C/IOkhgBH9XsD7H
rNMC941pR6Rls4Irw3iQct281JQqftA7bOaj0Zk7J5bn+0Fa2n01oY0Ap0gdZodbAkeHDClxt6SQ
jiIkkDSLdEVdGZlVb/VmiSwNc1uhvPvSlbXw9Dm/THopXMVGyjCiDFYDvRa/EfN3Y8a95Cw6qgLS
WWUF5T6MrWgA99SHK0OtbbdFgExiogBbXYWn2Bofasc5CSt9tKThqaqiGwY7OA9aGg20oY4k9jIy
ievGU5uBkETrvixG9dsEInmjzF3sGT1A7Z7wcG9yrGstitjNneGbHNFxc2KKl2lI3blXzCWpZpmQ
1Yzk5hh9mBIe8ni+QZdKTFjeXddqlvtaxoMTWywUSkB/KuyiQ60oladWIQyIJNyBPKJjIsyNk8UR
0syqY0qlHUKtCVYdyhOo8nSKJFpxUpTuNJFoKyk0IpdNLPVGKcbVJZUbDcjqqm06wyOyCOXqEOCF
1NBtpuz+6pw/JzKJYxkhj/FoPfWdcyW6/i5Rq11XB5cmLasxQnRmFuNaKWuZc2t3Ygi3ZMyGa0Ma
CerpMpQ5HGC9RA1fLcZn0kK6q+1iRf38LVSHW3sefT1EZKfx9NqOOgFUgLxHPCR3zXjS5PlrN+ah
rxTlrU6cD4E/hV/E8rk1JIPhIcmhUSpWcqcLd5hSv3CClqyjeCtZKXVFT1uvna1NZpWDKwaJ/MBe
Ooq+egVyDikhdXpXjs2vYSVdNj0PZtmFnhjikyrK8r6Zu1epNu8wajIdlPZBTSU5hijh2+e5Iflw
MYrRYCRBE3m7m2fVTQuUKZbVCCs9mp2E8M7CAD2fdjmKQJVWWS0pblCXzvbfvtHb+XVptfzv8+vF
S/3T8dDyqh8FBFo3hBKLJXgRfy/2zP9q0pkPQQrhcEuex5sZ9L9H2CUfV13ksAsvd5HIoY/4MR+y
idChbJBRtJmL0uK33Bpk7lIgfCggEG0QwPtmflbQ5n6CwKR8L4q0VejcWBxMv1mZSL7PsZPHrlJ0
gPnbZp5nH/W42I29sLUD8ZamCkeDeQdL6Mi5BCKMlNfrCOZAVWNN6u3c8mDbpfu+KykgJllxRS13
nr2Yh7CFbqzFTcTKN6YpdiPlXC52o6Eqd/1iQNIqgRepnOrqulkMSlFoW/fABHAtaZNpqC6lhfRQ
Bgr7Nf6mrhpfqtyotiXOpyog2zuUun3R5icDb1SNRypqM18Yo1vjnTKT5JDjperxVAF/uebsEjGV
mM/Dm+2qjn0YlprP/JbArSF9srPhXPai3/dSYl4oi4GLQ8MxilDXl6mqHFma1EvCOCTWmjS7420h
u48F3YBYuiKGwEIOm+8l1Fl1I72EOcefgBOBUjdH7vJRGcQxiAjTaORnLdTdQE3Q26b7LuCspvTV
czTYD7raXMQtGtcG3okAEOgkbD+hma3TNHqIgT8oVfGFLPOtEjNC0iRvrB1rxXxu7cShiQ6/pltN
ERFa1tmw5+d61oGUGKmrZA4MiiBdy7W8SzuxLqJkqyTGgyLsg5kEz5ER3QaiuSwCxdca5buEtSXo
htu4jw9FCkwBbOiL6vQ+1SkLutFQr83NfdOZJq13O8WBXlznMdGzcoIuuVYyT8vz62lwzmaH/68z
7vMsJNlXWsbnoQsz7Eoq06Op9cwXe25q5E1E5bFPRxvB2U0zgRFp9rHrqrU2BTvdGpkyJQ8pHBMt
GS+SUfZ1K9zlekL+gMnooGrmo9ooPSprMSMdDEf2YbIxBeuhNlxF6OG0O6GrQt7XrXNjNTUkGcUc
pEMbZftESja6Ka/DQNtZ8FdWWhZtpijdzgkpvlkEBMLhCQrNey3IvazPz2NsbQlq0fzcLizIPdb3
JosuKKglN2tSkqDNO9H0V5XjXNZqdWKExrEupdejzFtzQI7hkHLnj4TvyV3mm4PyIqTOKyt925bV
RZbXL0WKx5B+L/DRS3SVm2TulmastM8YX9g1tUJtoCiK5odYrRFxdlc1XByrSk52Y10VFRke/Txe
jEvEcGqdUKS0RErIO2lE21qzCQeINqGto0dM1nadwRbRpf0g0lNdk4+Yj1BIxXhH0ERNNiliCcJG
SpUBZhAGhYvlyyxWQQRI1Nec13+3mj+3GnaGX241rfiJ88LiVT+2mkWBh8vJYFNYtHmLqOAHWgAx
tm2YGudV9g4E1+wC/5EiIKtmH7FwDDqGTqv1YyQbNAJMEj9GG781pdA/KeDokzra4rdgE2Q/ZFrx
8ajagL0pclXBMtdNBiVYGnjZIlV2c6PvlyAhWuy2k7WokfWg4piqdPeaPYyXQVFplJjAsfJ4PCix
XmJez7ud6C2HP++SRR1tSI1f1pm9TYbaJ5jAzazmbNqYZ8mhjuLe8tskrC7KmNyvlZPj5bgOcF+X
BAYNHLfmtnVeUyweNqPVIZ8h/1MVr+IyN0uITWlxssqkGr8HWZtE+0yb1A6ebBMYD6UhX/z7iL89
4g6PxP9+xG+6rH2t/96OWV714xFXKH40czHk8QM/mgpURmosqgCSF83q+4EApgLgyehJkZOS9Ywn
6X01ReCCijOQzCxErwhaf2MggI/+b9UUVR7ue75kDBhw0358xufS7nhaC2fjlBMT5jD7NuJ2a+3e
9jHzV8+iaWmpWK06+AzU6oI2e5YNe9E5+vQYOF11WUuZn+U4EWRZ5AfgpM30TXdepbfVlBBCZlNF
ifitmtXSDUsFDU0/Xae9CXNpDsBq2Uaxtq1kP0Zi6TEYDLzGDG59ku8RA40vdslAWSnVQ5Fr37HT
ruVcZtZfl8zJQ4NCSU5fjA5JR5ZP8dagt7SS0zTHz+MEuzGdwjVDuhvhpP1hLunqavNw1dVg5jh8
PHLsCN04nFNwwvJTKRt0NKao8+Wpx8of345Cq3ZtXn4RCZaEyJ4iHPPhYZKNU5KSKG+Ww5oAociv
ldlZWVb1HYDNlaI2Jw0C3CicTQ4RTjXMg2YAHChBxcWEK42w40BlPYtZ2tm5dtXkZr4qFszcHBWU
gIDnwmHYBZDoOoh02PcZOoRetaDqtAVap0Gvo9ii+2rknrwQ7uaFdZdauLIkunk0AIILdSHiydRu
UQ8JpJqnc2XopywiPUrRwicFxJ7D+lEtzL1uoe8ZC4dPy3qPdK3LCEDfuJD65IXZZ2tAXruF41cD
9JMsyH4jiD9V4iirT9XZKAkBm8EAJgsPsBKyna1ktCI4o+B9rbSROG/PrHT7MJrIiRVJ9gPk+ltp
SYHhB3S+bbTh6t+F6c+995fygHPyQirxkrXyt07xO40AI33M9QjgMSoiFYCw8d/d1/yD6b9GpDx5
8ssO+6FTvGj9WH/+sy8zxvzLfIxjmR/I2YGhPpETv7EyLYyrj8c8U+GncXLhF4QDon865uX4DkOC
+XSeTkXdTQb6lnogZO8WNNSxb4cJNW08xU+YMyXpANjXdADmdsqwnm1S1kpNq5BZOUo+nsZIs7Zz
J9E0apUuBt0et458jIwrYzIH42bQYhKKw/K7XM1jeAcqEvobgTro1i0nXEV1IYxdzFjd9IoGsbXL
uAsCYjh2F/Dv9Aok3vgjkOTfGQchj7/YU8/J6+vXqPjyM4HL8sof+6r8h0kGJUQZY4mQekts/1E6
Kn+osBwWR69uA4dYsrb+Kh2RxHBsdCwMG+hV33Up/h70+xtPr/p50E7tCNkNRNtbrwJX4PJ4vxtz
hFYNh88Y500/GRRkHFNgF4146ebLCAm4vQy4qd9wlDOF1JsIJWck2vI4xUHnSqpqdH5dBCyyQi6p
I52s0NGPD7Hs8WSrLSlIpFArre5ZpFI3Szx1NNPKDnp9PSzR1dMSYm1h/2rop8VhzPnJoBMoI0OV
Cb/O6/ymETBkW2KxhzqiBzzJh4jA7D6c9wRK7VIbh7zVnRaGykzAtiRlN2CoTkMz7mmjouGX0bcF
tA0qkfFvI6piEk8aUvrkOJvdoaS1CTiVw3euzxy2kOA48y40+zuckts5Flv8DQBVa0aumOJozPvD
SMIGTvl1RYq4Rpp4Iyd0Lh2OvvYD8sknGe3uSBM87Tn+iTrg+J6fcvLJ8VZwk0g/pNYmyFLSrkuG
DQaZ5iKV3Z6M89EQTABwbzVZ8zCQQbGifb7WyEUfyUcvyUnHGrBn5ONqS4A6gTXwVYlU16fhSC6t
SqI4oOGS3PW06Q8BMoWhMe5G3fJ78tk5256hgro1ue0zG3dU664jd8xtph0dIN8k533E/9Eswe9q
JZ0nkuBlEuEhAe31JSJ+4NV531wLlZnCEiJfLnHyLTmWZLzXIx1pOvE62Mi5UmiJM2MNiaOPl2D6
cYmo5ytAiaYZt5Y0+RYp9sESZ08NByzSfNLIuY+1mql58iVLIcQrwvDs0rnqdWejpRtbUl9nSayt
ngcxcwhuDDjNd03EMGneRKq60RL83XUUIXQwvGGEtBtp20FF/Sjb6LFBjuW2/SVuay9tWn8aAnLc
05n3ZSPxre0vPWLnoElfG2yEpZ56Bn4J1Uov6HW4dLZp53RXcYpqMwJzmeY3JeUTY72a6U97UpTu
VpqLnVbUXiICGwdMhsKWhyUNn61auHLTX5PK6Y5deVRm9aHWbUAM0ibuenIzh2mvpygAzOy6hwyh
jMGzU2D2JvrbF1ZgncyoqrHBDjetVJerNI+vRjN4sNoAoUl2CZ3YE6ber/MmPkbqeCuHJppg6aIx
tthM962AaGF3rzkCBFN9ERWQiyy/tGnVoO2is6Xd6EOxiZPpAYvYKZt0OmwG6fKDP3a0U6zsmHF+
lBsKQ9kJXDtznvu0gpikHKais1aJNa/bsebb1c1XU1J+nYVYz/rSy6q7swgFJkvyLZmgKYcmSw6t
XZ8cCnEQr2kEdq0Xk/Qv9ej//KkAw8Dwi/3p8qX5+pOEyOVFP7amN9wRykpFpX3wkSehgpogUg6T
xIIi4zj419ZEDOSbNYaWBsSjt1C9vxroGC44PRoIyt4gjL9TWFG6fayrOOypeNyp6sCHs3N+3JhA
IkaJE40hBp/pKsnzhw6a9rs7cvl37yDv4u+XYH6AypQODVFAHy+xOMRnYYFBR3PuT99C758ixX76
Ht5d4NPmmg52yhSJ94DFDRe6iuDmnwjoPwtosfn1GTUwt1ChrX58E5JcjPZIDbply9yIpSUNV3iO
w6txcNZp4GCZ7gc3q/li4apa/foOvqF1Pg05Plx9cYG+Kx+GwOp0EOsw9lftsd+Fh/Qye9E3tPJd
zZtXX+0zAjt345zaVXVUz3gH1vV16hPovBvk1T/lKyy19uffBkUBqd9gt3AHLR/4+9+GOETLgvW8
hRa7EidJRm3a+lUBDjnzf/3Of3Ypw1g6ETTxMO1+6rlZo5wZiIK57bAIaif0i+SYMCEpZXQOsffr
iy138fP7en+xT59xMOlVrE1VuC0tczVwKp5BZUd98Q+fJgXnLy/z6cPk/KU4DdPoLS28hmmQU/nl
XDKk3mnRvRk+/fpN/fQOmrLKckFzCVTExw+rmuNALQjP3uZkv4QVodDKekwHxr2eIn4/n4Uu7V/X
+vRFHIG5oFAOeTCCdu1IhFIpWxwraz3UV4kyuf8P74yamqYs+Zwskx/fmaYn5SI2I35jgDgxKQv3
AKdH2l9w8HuYRjpHv77gT5+Pdxf8dAaFw+HkWBjCbdBCmYBMX8wP1Oi/vsjPFjPj3UU+LciTiVNP
xJK00dobtb4V2u7XP/9nq/G7n780J99/ecO+SQmj4+crwXNACLco7ugXUVP8Kcr7n8b0nz3lb8hf
BMYWSuZP15FrW06QN3KzRL6WnfsphHneXegExTfhsZDvfv22fnbbwLVYXIvuJdHJn94WWKTeRqe8
NTnkYFxww+jLr6/ws0///RU+ffoTkqewLnjcwlZbD+rZ5MFuHfMfPp6fvQ/MluBcTMfUnIWp+v7j
seJpKoKExaG3gyc9lXaWGni/fiPq35u8KpFGCs0ZAFfEmH66V3D50WlEPMeOstKRha2c7eNBdcmG
tnctmRyn7HHeyI+Ke5e/bv8/r/3pLpazit/M5PHDqe1LX8ev/H2V7DEbeQkzlFV40UEg8Y3vhnuX
ePDsf3195SePJUpDWNMUPHS53hrg7/YuY1aIKy55LCXRbGzkKhq4kwqjx35uZWxT6UbJka4b0p0k
unPWK77iTFfTlBybaHZ57o4BGcd0sInTHp35H55i6j4+37/2IHvRUTAGgOy1IKwXw+vHz9+who7f
CEWcxCE33kkG1MhMTRvzImOKPZMNq1Sc/oIcgKQqdBRC5tJPJaYWSF0wFm73lsUykcoy6zYn8FGd
THT8Sps8qG+wf5h24LA4Lq9zqAqjBZ96CDe2OmKQrC4bBReaOnrcia1IrLWomi96C2WrnO5mbHNU
ea9NMJ1apb0LnfCelvxOMsVOnkxPCPUynmpflIsj36GkFA+NlW6HsXeTwT4xgn+CE48n1ZyudWqF
uhFHIzQOxFt5Nv6VvFHW6uRc9xMkGWjRmQb1wCnBCKK478EURDO1XbUJneqin6cNyK2vCpJyLUGc
oLcvZd3djhEyi64gcoUufGbIfgr1Z9VVzOKWjIx8Nn2nVp+RxeKni4NsRS1zbyqV8LSpb1dRUn8X
YcdBWNlA0I1c2cFnMwbzbV7rW0U05iqXpnVcEqrdl2u5CE7gezcEdyoruTWVXSn6FiZO6yPlPxU1
JVqpb22y3hganlHhXQi9Ouml6krh8KzqwKur/tShMdDsYJM73Q2tHVdDPwJv1xsalE9TZq1TScB5
cjxZowM660Tz4piQp6OZOudML0GWRe1amstdJJj6YbzYlyjEq0S54Q/9XtfPDh9eG9fr2Zg2ki5d
z/x3eO8JKgmvoqi7Iszytl4G7BGp8Iss3SSYJxq4Wc1jjVadjKd7J5dz2irtpajy2ygz/GoizVSe
NEoJuIe6eSrk9KC2+lGxW783h1Urj/s6y3alxMheVEu0DHkW2eCs6Jk+aYO1ixxtU1cw/yEOL9Sd
FosqbKFLdI8Hsl58InAQIwxbvWpxI2YSykS7aZCDTedRVteREbooDMCiKjYpvrIXgrdbxfDD3SwJ
dHxYkELsZPDbWTe8alR2TcaTMzXmTZCHj5qk3lqxvhGjdSuiAPtzYUAkaq6dwnLjSXqu6grXl/bU
dWa9SYroDP3k/7J3ZsttI+m2fpUd5x4VmIeIs88FCJIgRWoeLN0gZFnGPM94+vNBLndRNC1tx76t
iO6IrnbJKQAJZOb/r/Wta89X9qUVUZ2LbvU6vDTIcKHu1e2YUBehWPEBUznCTcuGh8uL+vYN+7cU
PHfUf99evQyz1yR5rn/tYsw/989pm9Yqz/pNtY6vie/nz0Lw22mbPTDbxXmXMMsLfhaC3+DCMnVg
mgusjTOm4udpm+wN8Gqc3/kWiyb/wp+ctuev9z9fdxDFnLbhNloScHRVxTr//us+yYAMVQvsuDFS
j530cp1L0g3S0cuDO3P54288xPWcHIewBSh19GveqgeHu4gqq70+qy1WWZ88mnqdydEuyeJPFvNT
exUEgf8ZZV5rD9ZS0Sgny688Ye0r4mUmkQfQN8In2+ET67V5MMYbQORgjCDL6qbV2C94am5T41ym
5nmdXArUd8tMhCXQf3JRR7eOSj23zJI0NvMcccmreH9RPTsnGpEknemJv0oDfcOK50Ju/WSf9+sw
GPwMevm0HVjx3/ZoB9c1aIVf8PGx1sZ0mYwhFcDXXow/ObAcPSCu5f0gR3vwSEqK0BoYRGe7MiZw
OD+ZZ+93K9ovAxzNZy9W/BruoLWOy8bW1J3R77o5z11aGVW//qM5/ctY88Ue3DG9kIYqShlLLs61
sV/U5nc5if746b+/Y/NjOxgkkJIh8Ci7rTtj7ZudHQVAB4Obj6/kaE4fX8kbautgkAJ+VBrQzSKX
qt0rSrE3e1AAXUx4nDLEqPlZF+mVTH+WvPljWBMjqgG7ed7+vr+21BJqQ2pEbqBRb6NK/6YH0idn
pGOezy9jHL09YC/x7OXcv1Y7g2PiKIQvws4TwjMp26sVeu9oWIbeU5Fdf3xPj461vwx8NBOTuZgb
8eVd05dxk1HdxUF+xo6EjQGYkP/dWEczMcCuE6SsL2sleGpKE0LXDJxxBCtbfjzQyY/EwRM7mo2Y
k0bC0CZrXVUbszSQ+s8InNXHgyDX5sEfrEpv924uoGAHk6EXH9eAxY7E1KHr+BZhSQjsDkGOjdis
WSXN8A1IdmVnBXwtWgyGth/HpLjOUJpNm87r/JUPvq2YIfTijKNH1qEsZoeIE7Qzrd6cwfXljLDX
3+iUM9a+mQH32RvrPnrj3jcNxmDktQLoeQzyRbAcBmjfk5Xf653/nMXlU1LXoh1N5FLPMWx16K+J
/T1TPPV2Al4DXFj6WlTaY6B0a6Ub7wch3vpVwvYv0MB0qYB1kODRiVlWfnEvxuk+bIR9nOT9ZVEW
ObJPGdQA1Wu6PgQYJ6rfrxAwL7QSF2YwAeqeygoKgXcelnq+CYjlGEYi+QRDjJ4sQZtPYflwY6Ug
iDSiPuia2mNgvJhBu0ukLHSa2grOxsHIH8nXDq6IBpL3umxMa5xK7XcM/zWWf3zXm6Lh4CRLSuJ4
WPDWYiSOL22pP3dYn7Y4L/x1E3XphRAmllPghum7cpdH/Z3Uo3iK06JZFVHNZbTeTjeCaNlV4rdI
VB3FwBVktnutTC57X70TlHAPg3FZ1+F3XDhnJAMMjlSK2dInFOBthv27YZ1Ljr/fsN48Z83zf12f
FN7MP/lzyzpjNnBRWBKbT/gbhyRLA03grAokfXKOsjqAc0ACwF3BdnIGi9MfmgUxB8IbNKr0hv7W
Ev7RllU+ARxnA4z9g6Q5kWL/W0nlYLniDFPjfE8NN8uM4KUOxiFYRPWAUHzsqYctcnZHqz7yzZqK
gqV+CxQTaPYog32x9Mm/wzpWfO/p6UueMGo3UnzdKZEg7lC7xrzlqFLh2WRlgw8ckCW970CXQbWq
cxcTOl5ED23W8sF9xTu9CaT4PvHQ16RxaCxYNHF2tcJlOwTfUqOUF3VhfSl0c69MerEutPwWMf6V
D59f9pqt51eXVgW2o4vWij9eDXXyhKwPo/ksFyLJkirfHnlPC7XbuxI1Gg5RrCyT6hpj5QD/W+vB
b8jPOfZHE3tHaamPhdo+p/503o6GY/QeMKWU076hdbvJF76EhOqQ2lnvMl8FVzVau0bQXntDuOqi
EjZPVhlgvMYXw4jvpCjacvbkiNkuLWvcSj7KvrjsN1PXPeFpXPdGeltJ2WTLNUBHo44ey9HzUCEU
m9RLnSa5qYcMOoAJcDxPcJWDPVDRg+Tqps17uxZBAOVS8YjA/1YZJXJ3ctTLinebjuFt7iu3TRGe
JZl+YWnkFxVYNdtmF1o9gWHlVZtDXqss/LIFlJKs9Fb88osmR/1Zg/thOoZOlarrWM/P2GUswypa
AxsmxnPY+pSjBCha9WCAr5ImPAdgSHqdPGxh38QXpDYspLp1w0Z0ay+kacDjzjVlS2T2ukJ60GvV
ZdAJ99Lo7YxQcPMaK79uYuWXqzU5oBPuAYvjfd87VmMhJUTCAnRlbdCMZ2+dX0ZV5i1jv3hqTe2l
zPWV4SurUI3PKH5FdoCzyIYUfGlS9lh6jXCtFNKZpItfKHtZ9bAwjLay88zctm14LXba2jKKJ1WO
XPQ2lKTifhHX8K3DKvYuq1AxFmrBE0pVDMViZhisEZCdM9EHAqnX8hXN2OHFMpgpJLEI5QMc/WAF
dzt7BeXlwXMbPHWLOjy+MgStZi6X1a6lovtjI/Pvh9mi5P3Bh7n5r137Er7+WkmYf+7nZ1n8C4yh
xpOgKf6ujjBrzfABzPxDTQbGwvb+Zx2BJCJ+gg7Y7IubP9j/+SjPNgVyz0jqfLMv/BFc+LgdzIbN
5EOKlgRi8ezDP9rJZ56kjGZWj+skG1UF/FpZ7sM3iwBeARBz1wnega7DnDnAKSta9lxv/gK/bKZs
Ew+tEi+L2MtuAkK664UkVVvLry8GnPa+HNzzzoyl02hS+V0UktdE0ILhNtYiS7z231RpyixQSwWv
Gx7SyvOgXbz5Ef5817APX6q8zr83/3ee0y85nrnQD5o3Kd4//3Sbp/zn+F959xP1/3v7Y/81d56b
53f/sHyjJ1y1r9V4/Vq3yY+//e9/83/6h38ra2/H4vW//8/zN9iGDlL4Knxp2Gwfq24t/r8PZmfb
P2fZKcHj/HM/Z6f818wVorfGgjzPQs4gP+tcyl8y2wiFyfZjgvJHf89PNg1wvjjhqrJmie+CZIne
I5uEqhmgzzf975+UueQ3Oe7BkQI5JZsT2liUNxR5bsi9P2vyTctnaHrm9rW/JDnsezBRvi3wksGF
669qrbhou1ZY+HnaLvsal3Qo6fuBXFp7jIPabQx/WAbU3hep3L12nhTCjom+RIrZrctO1FgrqTrX
iCEX0xCa96UgWjHZJdTWY220iXeubQNIY7eufb//hiUcbk+twPwze7KGfNFVk3IlVF5iZ3W76ybl
jjntL1q12reS/GJUUWc3/XSrTpAH84m0AyOv7bBARVjXhHPWnGlT6Cxt/mT1aCBi7yYoQocd0WUT
ECmgJllqk6MK+4gzvkhEOjssxJFg67kzMckB2V7O/XQZD+GXfGBtV7sroyzOMzT+ZaTfykW39Vmf
VGvk5FINbqvJq3jQngJs3CThNuyJdlK1U3J1nQsrNdZWGmLLOu1eYREtQwgXnFIvka04g4zqMClJ
M0k4+Dc5xvac/lKyNLtgZVnFZcGGZTKt57qjIZz3aQ8hTNsLDRU9Ja4vYedEDtnnsj1GkrcLMKhX
Y3huggxejABF29zoFsHMrlBY71KYTEpBY6UjQ30ZhKjY8iZwOrjDtaKK4E6DCN8rOIF4KL4QOmZx
VOqgLw71fdEbO76f1QJ56zIa29cgFSHXzKpOLJiLxq/PovgGkPU2UcPH3BevawwDZDLCF6zJmgfB
3JQLD9SUTIziIhJLvH2ddTb6Mya7Q1tLa5XOWJFHsLoBEbFhWMs+X8qymL7DZOvOClWEs2NJjS3V
Y7nPZKGxM3k80zKF3oeg32VJ+yI18mNLNGkAaiOsw30eeLe1kmLoSCEREGY6EGqazOmmMlR0h536
ecOHnAZFS02pfennQFRvjkbFatzt6lr+WieD4Ew+AaodTs6dBeRth9GMLJ85aFWdI1dFsld7w/sC
j9u06a/f1lT4nHEOaq3a8Xs2R7dOYt9SA9G3oH6+ETGl4pDt3HoGM6ZQyjbdHAILZ+CsmgZjIc4B
sf4cFaunhMaac3ysPAfJCjGRssEcLtuXFjpRft9FUY6rsNA6NsoG7mVCaSnoDBdCQFBtDBmEzZr3
LZhDbIckBDlCrq1Mvq2qK1CkCbxVInLfp/FJSQyXCFnZHuZwXIWzxUI1gn1DXA+kCyJ0C7J0vVLA
KdJtFDJ2DbJ2YcR8J0bvR+3j3w2Qxc7j90vM7fOY5NWJhYmf+rnAEOZMF0UjRxkK3XvZIlA7VHwc
Sv9zvjxYYDiKcpDVWUzmICy++z8bKdZfOgbOWUAHxxbp2B+h644qY3O+AisLxCDEPyIa/qMdUDON
llkkSsXMrs9zQoqLTn3x1HB5cFv+J32Ut2HoynM+R8CPh+VdOTiUxZ70x5EXfaQw4g00AgDp43j/
eJj5r3m/WnI1NBxk7pzEDTqq84l5HKstYVwuJpxFgiScItLaD6WtGLc3SWn+qMf8Vppz8uYdDHe0
OGc0k2VR7UhYxX5VwXWO1WrX59P/cpi5DH5QN5AVRUDh3VduDoYfk8JVIvT3vuJ9UrKff9uPbh5t
vcNh6HIBv/GGyoW5vZDHbNUp4j4xAok1lmCej5/UUen+x7z759Yd+yOrOqBeF06Vq3tLhVBvJ329
HaLNNCw+HudXvek88w4GYut3eFV+rpI8XHPz1HXm5ItL1T7HPrzoP7mek1MBOwqncwmP1ttJ4+AZ
iUpd57Lc8owU80ZXh5egzm5ow//gg/52xs0V8V+e0T/DHN+2QBwHKSV03VXbOyP/ItHf+Ph+nR4A
s7eGFY395tGLWnYE3PlCWblmr8H9WULpcz4e4fSd+meEo9nsi7UqeOSYuJoWr6cBHYdYuZ3RfdKk
OfUpYA8u8n3kO0BF/v1zV622nuKYT8FYvhg+1YxEWAVDuEiyr3Xw+PElnRxrLjhygsQPN68Zh3Os
iac86aW8cgf4Sp4t+24PeBB2lfrJvTv1dJCYY86yEPKyQLwfCFOK4EdzDIeuiBti71Zd2N98fC2n
Hg/HcgXJIVE4kjr/+cFEbvSxsyLPK91ckO/lWANsJJ7Dq/+xYfjtRH5bWI5nMj5IHYM2V4Sd6/04
2lgNmhRawFqc8HzaYfMvbXWZ7yHsj4JdLeNLazuRp2Yne+Oy3brJ3fi3i/W3v8OJu2nOUmh4zSiF
uavvf4VBIlaxq8bSpZexSBPg3sMnb9MshTh+X+dYJXkWyOnQmY8emKjEfBmGqXADDNlb8bxytBUy
91W6Rai1iR6kp/g2OuvOy9Xo6suPn+SJy3s39tGXL9Ckum9Hxq6a21B70fs/bN/N3/B3AxzdP7mO
AtVr5cIVrCsoZBw4OZliLs8+mSvz33M0VSgSoeibXX+i8uYJPJiSSt6o0Bq6wlWyNF50deiWaXVL
7NsnU//Ea0zjgJ0VhSpqTBAZ3019q81z9GJV4eaIIvL+a9cmOLPvB9EVok++TqeeDTJ8fb6DyBeO
L0lOBGUwcRy5ul+BngPql3z9+OmfmnkHI8woy8P3eMomsdJDRghN1a6rGH7bxSgNfJygCFqo2mLb
jL58POYnV2UczXaOITDuSLxxAbduLMx1kexvPh7i1FywRPa9KIn4QklHz0gNYS+DycvdQBRWukgk
sFno1+3UOR+Pc2rfwCfhn4GOlilpKEu5zoTcrZf5d0NZoBnM18mFkTjCaE/DJ5d16s4djjY/zYMp
njdJSBkkYIpr7L3IJFCNHyyR337sTmy4Dq/nWCcD6m3w65oRgl1AHsJzdiP7y+66WH983069Q3xJ
WT3QRDO9j7bEeKQqpTDMnBIGfrtt5AHms5WG0LHFxwOdWkDmb/Z/Rjp6QEJJaa6XGInkkxUIxvm/
PCL5snSEdblKnWBpOe1yWiFhX3mL9pNP+3wC++WrZEkE3aGSo0x9fHLy/bofjYHxNRsP6KZcButJ
sSvHsi+Us2wl2dLuIj4LVvomXosXOEmHhbhK2Hw+k7VpF/a4q+y775TBnM9+tZOTCUU0p863pubR
d1mIQTNN7EdwDBQbdBWOJD19fPNPvoXAgEjLA5byy4aHrDiztiYxR4KgbQR5GXfmLhk+MT58Nsh8
mQfvRC+qFK6I5XPlRrGLSqadmduW9PDxpZx8Lw4u5ehmzZRPuc0ZxenjbfVoZY4B/NH/ZLbqJwq5
VJmxu1FmpguCfe/91XT9UOSpXs9XQ9aQNSsfhDTMv1il/lXMySqXEgUOSirZjZXdKlWp2QCHL2s/
UG3JKB9lbSrdIUtf4bvXaOnrjVZmykKQbtJqbtKJaWG3kifdZZ0GsU7Mi2vZ6ElbgNk5uoVSkDA4
BWp/rzaNq8madp+YYXgOXWQAqj7H03W+T15CXZfdCO9kiLqtqCl+d2aOIgQ3ovvyIWzsOot9eoTj
YoSQKyB4Ly19ywcZVnBeUYUDpsJ2bxHrXWzXaXRlxa3uFMQGyh6tyJggQY1K5VWXeK7s9/diW6Jz
zhYe0YO6D/dbjfPrBKkxO6fzmDlcD7jcfQT26LyIrVEWWkxtTSTYUG+bbEmMak/rr3fLProWRHWb
Sun9GBGJCDzWWhleJSG1D69agSi6SCXCsJjDFHF7By6ovPtpzllM+hr6k5itx6bc9wkBsiTFE0wd
mXdJUYP38/VXcxo3naz7dhKoD3prPCuR+jCaym3V918l8C2EB38ZqAOkviqh0C4n5mq1jIY5tG+4
FGCcC3BlwNdvxl5NF/SoN71QPVUA5MR0ckNBfPAT465UogtNi1BX9+epohLNM+rLkpoijee12EPI
FSRI/7K+EwZ/6VFWXqihcm3QA5CmzrOncDwrzcilwPxAurljJkRqBLW+8fBjNyUAvUoe/KsYtK7U
Tl9kErsGSdsD8V/IWYoEYNfxK2PKdOL0u9bnZ5gz3LGF0BtH0Gq7m1om96IHOR9ywOEqYLcK30H9
r3J12HCOc/u4J0LLh54aWHajWqtIV/fkNl4M9ZcWtgfVYVcy9ZtJEl9Dyg2F2ayBbF1gH38GA4Ys
n8AwRUE4TzNDkHY6EbaGHl9bMAQL2Vo16bSq2mIpBP4iCNIlcWGNHYsUPSM1XJtDtTECVbQTuXUC
Rb2JCunCquK9pGW7pmvPiyR3wyz5LnvSWvWiZUpEVmz1q66tIUYY3Za4oqVWqfsQ4KtNkvt9GQiw
iZM9zlHKvjmOimLOuHX8quMREUha1FZN0h8CNkHaz7+6JYLX7YkcwoAPbwmjf+92mUqE2bSo0myd
TOKeAshNFhhEmPVO1TeuCOJPCctdS/Ra0eRO1KQwbGeMUAnsIRanBc38u8Fqr00Z37xYrkU1dj3F
us6s7IqMiG3e58sy5NIbZq2jTMZVCYR49FLkJDM2MF/7JUqAId3Ver8XRjoHcw6lNBSrKBY3ssrM
AURbRhWmxnYlSJIjEsWENQIOcnaGVZVol3QjSL2jYQXpLPWiGqJL4im3dY+xYIQCPDXm4yh0hEkZ
JE53X7ETUBiHmGhGmhMrOBksPWOyg3jzwqu+N+0C8n4D+kppardNkEYgnnIUCOCZp90l2kDAqcyE
A7LWqcgHOGKkc+Di4FhlewcJH0NGMIc5iKHtgyxX4uQmEaXrXBxXiuq7g5csO/Ifw6o6i2UJNbIB
59rfVORFwKiMF4AgnUBWbzxfPG/8eCmQrjbk4lUjRssROK/Wly+qWd22WnGZG9I3X0nPEkk794xo
11Whq/TNCsYVCLvOiare7acIHVxZrdLEXOkRzIeknL5VmUSUmm4tjUl/kEsMSZ5wJnfskDTd1eio
CsRsoHJwOCpfh01w0XvSmRcQbqWnyy7WnElNyKZpWlsXpG3qBwgcvFfAjvvciO9xXJB3Bh5BMS+l
CcXa2G9zzu1Ifd2g175YtS+xUR7dXI22sWg9KT1NKBBkO4gWAd2oGFajDC2vWQT56PidsEyhaMCE
lJwhlRZGINcL/Db7MahTJ+vb7xPQTYkVKR2NfUzn0I7xOClauNXIDpvi4TFD7R1r5dqITRtH8hmp
YZtS8BteZcKFLKtbie2MMOuNfaYHX1NktAjm+IpCTU3DalekxV2FRcyuYcoHrXA2BcZD6jX7wogT
5m2G4qMrbqtmWrCYbWnjc5/0ftdCeCH16Ixz12SX0bDyLe25KNJLy0RrGE3XIW5hOfYWyTytUkBp
Qls5raAs1ak5q8wIqmwasadj3sRS07BK95Edpt2m9bQrVM0rIa0uCz29GtMiWZREW8idCiuWlann
jdLHaamF9NqQKIqttK/D8ZLX7VaZ4pU0pptEyHBflY9iLzg+sJKIHmcvkuKdxKvMrFYgZZ4qf/zK
0fqpT7W1YPB2Be1Kqi4Cf0atXBfFsBjF4KwkbiaurIWeeQtRu2xkKpxC6pga4XOgUDNMgIMI9XvO
sBC120Ts9oXkuWblEfCBiSmyEjftBuD8Yn5tDdoX4GKrShk3sghkJGuHFbR+RzXxwpV1atmZR66U
Xlf0HPtrcerPprS/nSNZzEnf63ATF2Y3PRZA3iZduRqD6r6DhLOSZJJ0EazZ4wAD1sNuVaYIy8J1
7uWAX4zoAfGYOxhJRr2xW9Kd3uZCAa5WOFdxGDpiQuTjKHHJiOFCdS/TvyTCPqJZORL3qF9IkwFN
t7o3+3bVJiQcTu3Ob3v6h0a1VKKscpQ5h9D0+QX1ISNyOcDAXXkrdCduWkYSjB4Fn3qDOILEvpr8
1rLKX5K4XcmqfCnxfbYyjYcA9wrum2AVLv1Q5HTGrZXEd9lUrlNcb1VOKJ0l+G48EPboVd8bPXr2
QIRXnXmNaHdpTiqRf9W9VXY7oyFqvtPvrbrZSQmVGUA/u1oUvhiJdiUMtAv9aLhiO8nLkDb7JhIX
QoCFDbQc/6ucHBrIkHyElVghGRSatUHKi+mDtbREaK7ZWUgSkOeBQVbKx2YkZzKOvaWVWcjk401Y
or9FtI7EpXzM8/yr3tTt2qy1i6DBMNcX2o9ixL/tQYvjwu/bg/d5wqbh+UR/kB/72R8U/zIUIq1M
fY7JAsjKH/0UoIAMJ0vKgBdHVeo9ydL6CxQXuklAlxrB3YewVhOjlQxRAgYsVfaZP/cnxC1lPpi8
q76xKnFwweoNFoyRjs7Zfq8rWas1+tqPkltgbUlzayaiF7vtIIMN5jhQmwu1rsqUfI6ypEkfKlVx
O3nqcINYMCSEIg6Gm4LNLnmJ7AsRfqA4pfIVWZdiF5FJnWujg9nPyYDJoXeo29B/9ZR2tGOigSpb
lqUbjxhSu9IIfOto/DW7vJVrUuxATfiPQsmyMvhm6e/BSy704DxN5nSeTSDEl2ElXXeBtc6Tzlqo
pfySNBaChqmSp32bDs24B6sCZXtGlRcV0HKLSCQPReYq1DVkKIDNp0wLFxkxCu5UECIB7FJ5qGSr
WqpDdQ+2u1ymYa2DFRKJO9BQlVpj3a0jowvYYkcLy1i2hMuvo9DYZGwmmtZHjItRDjKt9DxJ84ev
6lyLTZBtSH6/TzyqxQEGlm1SYgJChFCs/LB4QnIRolRLpGXYyxOmW6hRZWTpyyoJJluxygs5ZBUF
l7TISeC2UynRb6xQvBNqNVj1OjtYaaoWZTCbZCBWcmHJQxZYd1kTX2Zi8tRMcgZ6hRuvBN+tKL/A
dOkqfvWl7KuBowEYzTQlWTPEEVwE2rhoOvyvctktSA3dDgmSXVW81BPtoS/iGkGQeeX37JOHYJP6
3bdySMOFHyIVqif45hOrZc05jsb0vm6lh1CIHwd/ehkb1XfEMnGUmlOIwCabu1bZyaBdK22/Vkyq
s8yTZRwr7aLPSZ+v48IWK2vV1e3LYNbftCTYJg1BUV6h4s+N93LHQjIE8l1Se64mWBfRVKZ2Wcfr
IeyypaD6F+SppksRx48rCR17x6BMvkiBspOrfNf7rblMKwNOeAR7LNHcHOFHZlRXCcQziIXkR5kp
wYbyqpmG19hkYpvsiXRWp4jF3Kn4ADeWuRyMdpXIFq4dz8kJe7DlwYQpV5eiC+72DOXOV+YZNbPy
fsQsEUh1SrgEaRmJFba4wQTRCaastlU1eSraxJGU4iKgh2FbUcjOGu7rsuIaiKhFNBtyy6Up3A1p
xbU2ariqmxmnJgjquhbhvsha1nwbKsPNi/ib19eOF2r4KFgiC4MahVGJl02uKNuqrSNn6DOA/upU
UCxQSE3Ps8mRdRYcNAUXuVCzv+xiyPpKssXBeO75GTIpi2hXveLNVbRxG6vZsvOqK6sSwx9Vx3/X
l1nv9/v15eE5bnHynlhf+LGf64v6F0+c5YMeFAzRN5Xtz/WF6ERlZg/9s1K805/MiFCWHrBaGEcP
9SeASkV0idDF6XX/WXDVL7VKHeGvRPzVnG6BcOOo/CYROxTnBTtZQZw5DIuimz4p1P5SkT4a4agi
LfhFGih0PVyddOSuWAQaJLoKnZ7wrUXbcHD/L38si4d+4V+KwkeDzb/MQc2ynLrRZBFr3Iz0hhQB
Sqovu2Bclf0nSpfP7tvRqlx5TZoh8W3dqVtbeEaz4pMS7y8DQE2TUJzCpMX2jKD1/ZUoveqN0HMa
N6zl67YBSplp5reP79Yvj+ZtDHrV7LRp8B13wZJIyhUxMRpX6M5auVq1/VLnQxKI+1KIPnkyJ8cy
mGiKoqsUro96U/1UN5M5So3bWjdzjJS/npEQkQRHUBKXH1/XiZoynSlaviDkaQ8c+wCDWmzrOGCs
aWJKtypEQyV/8GATin4bst2x+Farn1zgr0SW+W7+M+pbR+tg7hHUHad9OjVuYCL5jeTzpsdwHYm1
LXol56mc87jhVFW3L5HvBn2ztEAjpUPnloJ3G5TSsijaDYr1fF5pqk9+vflFfreN5LdDwTzvcDFT
q8eOfavjtI+3rnHJxDCmM8N6MJW7j2/7qSl7OMT85wc3YLKiQcwUbsAwDstJrEGOfMLl+uX1ni8C
S9gc5cx2+FgxIAx5N5RT0bjs3lZCMzpskM7NaLoCQ7D++GJO3q+DoY4+W2IWSZqalo2bmtZGlglW
V6IFzMmPRzn1VoBQ4J3AAUHLSHl/y7wx8S0FArubl1/V9L6IHsSQwHrp0vOLTybAZ0MdPZ3ZD9fm
2NtdIi9tDYl35b0GkGLVF2n6pHP02VDznx9MhCoPQna6XFVVejdAfO/GflxwXDnT23hNNqr78U08
9bqr0syaQqMP4Pvo02LGoQhONmjdMZGeYMRdep1+Q2qMreOcG0KZQDH9E17AqYl4OOTRzayrvI8n
k69zYz3rxlJB+y1plOjST/Rmp2Yh+hULqztqhV+kFyK5f40ZWY0be9M5MW+DbZb5DcigT+bh/Pse
fx0OxjlWK+QC/YtYYJw6elDJWm03Hz+iT67jWJlg9KKYhBZ/vydottAsvZxznPr48SC/nJT5OqDZ
VdgDmPhI307SB9Ou8ArFj9V5EAyJevY8135jE3YPIKK87+cMETsgyvDjUU9Phf+Mehz8GWQN5CHs
hG4VKVeWMm71WrBTMdsnvfw3nPa3IoJjLMEs+Tm8RPXoeyFOxpT3BfPOUpaV8HUINxotDTnonL45
EyZKmTV1qNpbi63/ybf39NjklqF9pl7C/X3/Vhv6pEoYUtkt0KHVhcEujbukWjbJ1hq2bUYc3+NQ
rcf+k1ft5FPlECOyVwYxcryYswFHE6txf/W7/F4gli9fc0JqxIUobGX5kz7xJ4Mdr+FTXfiCOTCY
cNFZ6J3ccJNd54SpGgtK1h9PHL5Qp946HHasaYiefhE8KVpFozphNJBteyH09wLUcJLJt3KgXA6D
p2DB9YBXdU4a6Rs5FHZmLELVCB1O2BdFK+770VpZSXnezqmdYuWoTbgcBwFQFq1Ek1hQqVrFRA32
I62pXHHKtt9Oylyzts50iOhD2q6HyLSphK/DRnfUdDofrQFbNKRuLP120af3lKDuKw78DTVbJUWN
hXLYRnO50QPlixIqC1GiVk++OhTAhS8mG6svlg2pAlYGslukm5kMbizVu5hifS6J3305dzyQWZw7
yJiLFl2armePVZ5JTyKcL1sptQXRzmyS1HMz1M+Srj4nsOTB75GEEa8O1xtWa1V/rcfCMbThrMzU
5aROcNJSR0+rVZEShFuED7KZXDLShQBLLS2ztRo1+0zK78ukWcqWt5R7cAWWSpBdt0rixDXAjltl
7laS9W2IhZUwUO8PFYr4IjblcZWL6pkkEWsepVujqp/yiubM3NzRKgwkzedT5OQMQQZsgffHcjB/
Vw8+aYFc5GNRMEM03Ge1jb1MXgYXk7gelvqXomJSfvI1Y+N/YkhNYhml5sh2Vp7//GBII4rVBtsm
Sw7OeKzW6ZPYx4tEFBc44ZGziBgmydEei+tWiTAA+3dm45kL0kcD2xuGlTbh4Glhn1XDjgX4JpDb
G3WCZ6xJlU3Zw808cyUpUCQq2bcVgXbt0EXEoadILvANrRWgan6d8X0RsysjYpIaCYmp8XKoo0Vu
GJSkPAdfyK5ThOUQS44Q1VdS/kj+984j/44i4kWrTU43mfcaRaiekplRfmmMRQVfTh1efcv2uoLy
k+J4imiHWgoIwwgoYbVuZXV2EBB4WkOfM+obqREca5LPKLA4ca899lJ6QfnUUXI619P0hI/P9WoK
i23jaLr3ldjYTVhn57gtCOGTIkenHWhazTqUyx2hcJeilpm84+Q5RrySXXY2xOENQuAFLfULqVSZ
vqGbKMbrWGU3kpxtM697rKvkIsh0cm5J5chIXkb5MTiBmA6rSoruIjlZCfSdp0hZBj1URVNzPFoL
VAFpkpc3YdUt/CS+LRLfibtsUYY9TUeSB/8/e1e227aSbX8luO9scB4ebgOtebLsyI59kheClhSy
OBVZnPn1vehYsSQz4u0r4QAE+iVIYrnETbJ27aq9hkAF1I3E1Rzbs5ksF5NQllZ6XAB7UUX3bhxN
oMmIYz02kyBpEqBtS0F34iUebZGygkoSzE0TN34m8KKDeOIdzFVGIWyEAtxsSHUtvbD+xin2ikTl
qIZVYMlk9MC5dVZrY12B9gmPlFMX31P0eXO+RAqT12/6fDj1MsJ86JuajcfggCUJUp4MpX6gagep
Lpi4fPYT6mAznRNHHhATuVw+p2k1RCt56pbQrcuDSZVJ47jUxz5wGClkR6pQuHP4+GsFA0YnkGay
oDzCI2KoZRBrgLbvs8CyAFUj3chqvgHaexrBjjh0HVSU2joK0AgzYRIrgRfocjAwUqcF7iw8Oqel
5CKg6E5uKP5RuiRg1Bc+kM0yDL1r7U719UEKl9y0glNthcdHTRyvotOLHaCM9uRQKLOFWsBg2IAK
DPw98bZzwDTUkjisFVsaFlo4QxN+WQUiphrsDeMcid0bmnL6CHnaNeXUFR9BIBMnu5DBWZtePqpi
qA4GFEfxMBM2y20QCmMGF2EgHvZKiC6uxtDSk4tFJENCAaZJQuMAIaAhJ/kijh4FEB6RBAeoo6w0
86dpTjBxubEKKUWYCcg73UM/H74Zns7tAg7KB6G4MSvYV8To8WEXg9PMzB7aIA6KsMItsf/OPTb1
HVTmsTOxC6i+eMpfugBvUnhWvQTE/ZZF0QtLuI1WNxqWsF7yI/cpJrHl5MXerkobTVz2wmp9oOMg
wa3ClecXd7EJ2FMZvuYCv5Rd+17yzGnNV99tqXEPiAC8qbyhXopzTxCXDK80PJ3HUZVOmZKPNXQn
cM4/IhpgXHbET6pQ/p4Xzir36wmt3EUF425iGuPG+1GwR2IItVG73HFhvICw5F+47Wsd2pggnw4T
SgCGAdbpvuDFYBCm6RMgMksqkp2OTsWQqdmDFjjf4Ky1doCjCRw21kPxgVPyEQ24KYVIbookUHAq
CKwKFppavRd5MlZF9Ed4Zu4UjsCVuITlJ6BEOkQb0Dt6CKF9SyT/uSTKc1miDauTMYc3BaXMg1eW
Gz7y10BELQ3fUUeYKfCoDAwgZFK0eFJpnIqg7+bKmC8gegmI2EB13ReTqfYowasFC1WA4wiMR+M7
ty4ffceDj0ZRNufZgIVR9yXTIDoSinMl07/DURbOnMiiCnRp4XPzTCCaCmDUsvbUsQudSSgULeoo
GdsqTthzok7kTMPGyX8UlNwc+7m+lh11kJrkTo7LtV7J47RQ11qezh07+ebx2pMURVOTMmRGyCyl
1ZjCFKMy0Tlx/DuOzyY8dJkrpIQIWYgCKON79SwsNNhHwKAiIAvXcUE58EekdJeFwP7yCpQyvDoN
a/+ZJ9E9V5eTWC+nYOluXANgPJtbJnWF9noI0c5KmTmolCTEAMYphYyRDK6GP65zeWZAWn/AKKwz
OBjaFpqlCWQIw5InaAM8hKr6UOj1fUjqtULdUYVmD9Ayi1QKnkq0aYBEnBSRPZGZOwo5Y6Jn/phA
4alMYPJpkqlTliN0WpbUZKM8liYgh4wkoYK/vbAAwGRIQ+yAFWEmEWiW+NW0NJx7dDfRKYrGBWo6
Ex2RWtNfMkUaR6TYFAK/ckNx5sjKACdbcCTxqteygrVOxI9MMYMCrDKKKhde9oQMwrpWoW7j4W/I
GDSCslxSb9zSAG7DufOx0nBaOsCJpTvkghzSean7Aq7riEl0nCl580RxElZG3qr2qllawtS7Fp2B
7Xj31EvhkBf4EvKVrJTazgBTET/iNCdaFIAYfU/AuRIWNrIwGD4ZJK+Wtcx7Q82TJqwsn1gdTcxM
AsswfAo1YJ1s3JHYXemoYGdSzpE5K6Wl4VVD4CcAdfRWaNsPKywqI7WUJyRgFKgnOIcX7tIpxZEK
SjnD0lbgkNDHh1y2KZN4LMNkprShdpcZG5Cgh6VBpiwVxmZM9ZFfZ1CgMQY4+sxGePzfmGg+m+qU
B+gbaTTYxTb6MA4wPJFU3fkG7kwhL0yIcQMYJI6pThrcwFQpyUr1QEHO5WUJa6IqdZdRHWKVNGdO
7PzwY3tVJ94MTkFAmlZjXUYtFiGXTWQ/33BG8TXhJCCCpJFNtY2ckyn8PCYc6M058KKJDiMAtAGW
RmysChUlhCN+V5R6Hhog0ifUMiq2KIt4KZjA2cV2uDZScUSUes1I8KMGM17h0ntoMc5zJEIpkSeJ
lD9hT7/TUZQMQ5ItCG8uoZz3IJk8oOeCVbjiJOScbVbTr2ntrEszAUQmva9MdxIR7SuXaV8rQV5r
YQJ+v1oPSyUlwNWEC7iQPPmSPdRo/UqymA4CkPJJab74tIEkQVTOgUNZBh9S+pUXM0tx4yU02v9y
3GgRUuUea7KP/TAdaSVQZoCmUZ39jKky9UkBJIcZRUNeTcupGJBqDNvKoQjXR5f52ihQqxXoV4iw
5u5VMYYrqaSXQO3RbwIj8ZIDtN1GG4MvYTBYR7I5KES1WKohzG4KYVIg7yhZuRDDHAfqfKrjuC2E
05AEd6GgkWVTDBLOAqdx3gkI2oxuZax9Tnt921/+tynXkCIvNeX8lLYY9Da/dejJKf/AMYoGkrKE
3hd6czgGOPTk4B6IHoUAF0CcMp9Y2bwpleGEH4AQCKqKUBD73ZPDj8CHARfBUEV4ozUqJv8B5gNO
qOd7sEa9BHZhOO0Gcw0Cu6d7MEnBayFRXZjJTgIYQiCG2dBl5Y45GTS4I20VR8XY44tRHAE5C5/O
sStlqIRMtKeraKB40jOkIe6B1nSHSZ4/ovkCFHsGJWxYlCxCxnlzjYPdFOVzy9aINnULtuYlssoM
YyuXcB2gcLWUPNvCP4RBWev2wgsIN+C5SoJrmYD6L+YBKeP0pac7j7ZXzLIae3OoOi68QkQ+oncp
DuQGKUEqEMy5JxWrmPI/kjQEuSaOwAE2MQBBvewFAlBd+HIuDHBiDLiXRswnagJ16/JkE/HmNmNV
MVBrEI2yAq7tlb4QlPoRSPE7QDImGYcM69BJWYs/NRZspAh43KD8Bt3GeUDKeSGI01hR5kGevZDc
fvEcoMQlY1aXyV6mFLpaPDaFTEbeIoscEt0eiXZBYDeC3DgbKUIorHNRAvo396MSCeThSzhmSPEw
4KW72nYBi0DXzExR88Z8sCxDfpkCFYL23lOEGwHCkvmQeN5LBX31VA4QtVnOeQNiuQqTCmyrBLjY
wYNrIBu4L0lJX4FpgR8eW8E4CUUk4SO24bNsnrgMNjgqtsk1CAs15IySSWrjNV5JuQgndRtV81pI
wB0YsaSETzyXB4X61RU4dLxUlTSQVx6Qn+8Qza9GSWM4yRxVfgJGJx/EZoLtfcbl+TjPdYiEk5wI
zgpQe7MeghYVxfP/5ifca0UwMF0v5SfgoUO7PUfhNz9yVNOvU6GJCKPupm33kaMU6FagFwAnZWhm
/UpEH8JIjUo2GgYyD31U/PU4R0lgO4ISpgM0IKj6f5SiGqDdaccAKUpD+dj8gSb1eT8xksMwTtxE
nMHuzRuFHrC4IZUnAs0WnAqiSZSgn8k84MHtbOxnRjBEmfctqGpnnpjSdzUAlZTgBRtRClC6nmVP
mgPncJBd8kUeGfoDPAuSgUO9HBgknqE2hN2KqGfLgtlFPSiYBkdC6hnbAtQeEyhRLK+NMKM0C+uc
QxmnCckc9AgF5WjiLO2IhM/YAU6giUfhLgy7vMJVFxQkrmEsZmUxh0iHveGTQJwUtMBO3xUwc1ii
/gQqWxvhSgMg4ctwWHqQdNVD9ZFxjBvCvdgd2EZuRYH3FTu4YSEgDYIUb2FXj52Jt4A4K9Dd2CFr
lOI8lc+faqeAhKv4oCqiB8IuTLBUdy44MjwFcHChJeVKcRq5Vn5CCXY4nr5JGjRS6sSrEolBN/xX
2QxcbDSQLvwme/g6jv7h70EA0i/mSZNjYtueMiQdt9YfIEdGR7QSniJYNkJyZMmQpsQSErkamsKD
CiksRCqzI3g1ukhu6JqPZM/4YcfJzE5AsFB5Thv4TUbkWbCDGe1Mqu0FF8vLHP6AUpNDcyXaB7E+
c5FcpbRBatMtyE1zm5NQcJVzmtVzB0mZQcVSRZLWgMpQkvSHnIWzCEnczuw7xRTAitQWaZPl40Le
pE3ep1gACBYCnBvmONvQnuJmjXANb2bLBGdrOXgmWEaCZj2RWXNfmjUmwmKj2/lKxOKTYRFK3lYj
6MvpFQ7JsExlQgmLMzmbuVjA1Fhbes2KFtUVFJhoLg28EIqUgsvbC2za4DMiEouq+UiGYt0wC7Vt
jRULFvdrGBmqUzxWiyMa1IzMGFvhJIBCgLyIikqf5TwsNvg4fcyxsRuGaXCf5sqzwXAC6WLBBiR/
JWMBr3hwVVws6RGWdr1SwOdr/O05fqGCL+o3FUBf0u97BdsI2I3PNeugb/erGzZ0iL97+zHZJ0ei
dp0f+PMAx/p18B38cJh/+65G8u7X4Pu3i2r+/c9TBbw36b2jnx6k+I5//z24z5ffel2H/5yRPbPY
1ql+3ZD3K11bAVT4/uVbWydrQZkhgvcPtsv1/V6DLo0+sLw9O4wz3/3v/zQC4wp8HQ7/d9XY1WGU
o5FR7H7cw88ig/+3q2bW7idlu8NQR8NjobrB8Pvcah0dNf8NRqdF++jNFuX3y/f/vDVDy4fRfcsG
qNH3vH50x2I+TdP9YayjO49d1PXjkxRw1sNAH4M3/lbXDw5niMMwR0MDL3L90NT3MYcPIx2NfotJ
OgSRIXhtYzLIt5ind8TC5m1k7VqearM3vfrujPaPNG2xl236mdcPTso2CVz5FlN1lOWWf7jGo4d6
i4k6TrbWHx7qLWbqxLdsv/WNvMU8nTDYFfikJc0ot5ipU2uX7PZto99isk6Jv3UYdG0/P1nlFtN1
6mMqtSSxRgTr6td9mvk/D8N8vJHKLabpDGmg/fBMucVEnWHRa5MDbg7Srr4ts324Yy3ZXbnFVJ3t
WWiFu5YMptxiqs6gBe1j/LZX5haTdQZh4uSVMgo3zMOt/nh11FtM2Bn1g7ZXvlHcuvrZzsMdscIv
G5K35bPmZOTqr1hYWw82IYeRju7OLebsYv/z5561j3+LibuyflrVvrUqU28xc1fYJLTcmlvM21Vb
RlBvMWlX+9bneYsJu9rnLammaSNc/SKuyOuepS2jN5jcq0e/s3ak9TVsELk3GD200rbnqd1iit5Z
jLQ9Ue0WMxSDp23VjHaL6XlHQ0ZbJlBj6nj1TV9bSWJlh4E+Epd2i9l571k+bTX+adT5rr72e2+/
3zr0tfWducVEvUeZarfd+VtM1ftku6dt9D/9FlP1wfKDL4M9zn4ON/rj2eq3mK0PVrJtqWj0W8zV
Do/Ta884wAT0Wu7KLebqA1SrrKBl8FvM1U4nrWtvzKPFrISmVsv132K+Pu5hCEL9lgnVyBJcnQ4e
0y+QxQlbyuCG/niL4S/Z5Vx977MgbatPjVtM1sfLZirXXvtFIf1rB/8Wtq7bDaf56md6WeLj2iu/
TPC+fvT2zfYbUuX6wZPLbebLX9DWxvjtNvS5uXEwHGr7tbbmzYPF8OjHzTX8ob3zx08cWiYtH3h/
nT7WyaZD8ruf8PZt1ftnWlsrHa2Oo288DPP2VW+9pOZ73qM/+txpcBcu/XAD36lgn2/P59hQ9l6K
7aSx06/IkBguR/Z7e9SvuFBCXIzrrKnVr+Cw3bgc3ElLrV+xoXa6HNtJQ69fsaFwuxTbWTuxX7Gh
arwY23kzs1fRNS3Ri9GdtFL7FRpK5ouhHTVy+xVYR0GCRu9xG7lfsXUUJOdN7H4F11GTfG6h9yu8
jtLktIHfr9A6ChPQvD7gA/2KrKMsOQEv9CuyjqLkHDrRr+A6qpIz4EavYmvAH5cW7nPYSL+C66hK
zkAr/YqtozD5BJnpV3QdpckpYKdfoXUUJsdwoX4F1lGSnIOV+hVcR1FyCpXqV2gdVckpUKtfoXWU
JecwsX4F11GWfAKp9Sq6BuR2qTBpg8j1K8CO4uQUoNev0DpqkzZ4YL8C7ChPzsCJ/Yqtoz75BI3s
V3QdRconYGa/ouuoUo5hof0KrKNGOQKl9iuujgLlGBLbr8A6ipNjQG6vAmtQvZfqkjM4cL9i6yhJ
zsDI/Yqtoya5s06g0P2KraMcOQVi9yu0jmrkFAber9A6SpFTEHq/QuuoQ04h8P0KraMSOQfg9yu4
jnLkM/y/X+F1FCWn5INehdYwGC6VJWfUh37F1lGWfCZe9Cu8jsrkhPbRr8g66pJz0km/guuoTI4p
L/0KrKMuOSXc9Cu0jrrkM92nX+F11CbnZKN+BddRm5xTnfoVXEdl8pj+45Rp1avojI7ipInuhOjV
r+g6ypPHE5pZv0LrKE3OSW79Cq6jOjml2PUrtI7a5ITg16/IOoqTM3phv2LrqE7OyI39iq2jNHmx
jqmV/QqtozB5sc6JnX0J7zdP8hfJsYWPOfEpIzvrAi/46FjiiGZ5TMcUG8U6nF38TWRMyDM3agyX
DkvWlKXOl38Fe0a2Z7FtKSiwIaiwRyP8IS5o0b83i/6uyN5v5B+fFtJ+ut99eUwh+pKcPrMtFCgh
zrvZ22/U79935w+xfdzEvym2j5v5x+hOA4qgz7X/9ZS6L7HrE5CZbT6y9fcW++e/AQAA//8=</cx:binary>
              </cx:geoCache>
            </cx:geography>
          </cx:layoutPr>
        </cx:series>
      </cx:plotAreaRegion>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entityId">
        <cx:lvl ptCount="67">
          <cx:pt idx="0">10035132</cx:pt>
          <cx:pt idx="1">10035133</cx:pt>
          <cx:pt idx="2">10035134</cx:pt>
          <cx:pt idx="3">10035135</cx:pt>
          <cx:pt idx="4">10035136</cx:pt>
          <cx:pt idx="5">10035137</cx:pt>
          <cx:pt idx="6">10035138</cx:pt>
          <cx:pt idx="7">10035139</cx:pt>
          <cx:pt idx="8">10035140</cx:pt>
          <cx:pt idx="9">10035141</cx:pt>
          <cx:pt idx="10">10035142</cx:pt>
          <cx:pt idx="11">10035143</cx:pt>
          <cx:pt idx="12">10035145</cx:pt>
          <cx:pt idx="13">10035146</cx:pt>
          <cx:pt idx="14">10035147</cx:pt>
          <cx:pt idx="15">10035148</cx:pt>
          <cx:pt idx="16">10035149</cx:pt>
          <cx:pt idx="17">10035150</cx:pt>
          <cx:pt idx="18">10035151</cx:pt>
          <cx:pt idx="19">10035152</cx:pt>
          <cx:pt idx="20">10035153</cx:pt>
          <cx:pt idx="21">10035154</cx:pt>
          <cx:pt idx="22">10035155</cx:pt>
          <cx:pt idx="23">10035156</cx:pt>
          <cx:pt idx="24">10035157</cx:pt>
          <cx:pt idx="25">10035158</cx:pt>
          <cx:pt idx="26">10035159</cx:pt>
          <cx:pt idx="27">10035160</cx:pt>
          <cx:pt idx="28">10035161</cx:pt>
          <cx:pt idx="29">10035162</cx:pt>
          <cx:pt idx="30">10035163</cx:pt>
          <cx:pt idx="31">10035164</cx:pt>
          <cx:pt idx="32">10035165</cx:pt>
          <cx:pt idx="33">10035166</cx:pt>
          <cx:pt idx="34">10035167</cx:pt>
          <cx:pt idx="35">10035168</cx:pt>
          <cx:pt idx="36">10035169</cx:pt>
          <cx:pt idx="37">10035170</cx:pt>
          <cx:pt idx="38">10035171</cx:pt>
          <cx:pt idx="39">10035172</cx:pt>
          <cx:pt idx="40">10035173</cx:pt>
          <cx:pt idx="41">10035174</cx:pt>
          <cx:pt idx="42">10035144</cx:pt>
          <cx:pt idx="43">10035175</cx:pt>
          <cx:pt idx="44">10035176</cx:pt>
          <cx:pt idx="45">10035177</cx:pt>
          <cx:pt idx="46">10035178</cx:pt>
          <cx:pt idx="47">10035179</cx:pt>
          <cx:pt idx="48">10035180</cx:pt>
          <cx:pt idx="49">10035181</cx:pt>
          <cx:pt idx="50">10035182</cx:pt>
          <cx:pt idx="51">10035183</cx:pt>
          <cx:pt idx="52">10035184</cx:pt>
          <cx:pt idx="53">10035185</cx:pt>
          <cx:pt idx="54">10035186</cx:pt>
          <cx:pt idx="55">10035187</cx:pt>
          <cx:pt idx="56">10035188</cx:pt>
          <cx:pt idx="57">10035189</cx:pt>
          <cx:pt idx="58">10035190</cx:pt>
          <cx:pt idx="59">10035191</cx:pt>
          <cx:pt idx="60">10035192</cx:pt>
          <cx:pt idx="61">10035193</cx:pt>
          <cx:pt idx="62">10035194</cx:pt>
          <cx:pt idx="63">10035195</cx:pt>
          <cx:pt idx="64">10035196</cx:pt>
          <cx:pt idx="65">10035197</cx:pt>
          <cx:pt idx="66">10035198</cx:pt>
        </cx:lvl>
      </cx:strDim>
      <cx:strDim type="cat">
        <cx:f>'Compiled by County'!$A$2:$A$69</cx:f>
        <cx:nf>'Compiled by County'!$A$1</cx:nf>
        <cx:lvl ptCount="67" name="County">
          <cx:pt idx="0">Alachua County, Florida</cx:pt>
          <cx:pt idx="1">Baker County, Florida</cx:pt>
          <cx:pt idx="2">Bay County, Florida</cx:pt>
          <cx:pt idx="3">Bradford County, Florida</cx:pt>
          <cx:pt idx="4">Brevard County, Florida</cx:pt>
          <cx:pt idx="5">Broward County, Florida</cx:pt>
          <cx:pt idx="6">Calhoun County, Florida</cx:pt>
          <cx:pt idx="7">Charlotte County, Florida</cx:pt>
          <cx:pt idx="8">Citrus County, Florida</cx:pt>
          <cx:pt idx="9">Clay County, Florida</cx:pt>
          <cx:pt idx="10">Collier County, Florida</cx:pt>
          <cx:pt idx="11">Columbia County, Florida</cx:pt>
          <cx:pt idx="12">DeSoto County, Florida</cx:pt>
          <cx:pt idx="13">Dixie County, Florida</cx:pt>
          <cx:pt idx="14">Duval County, Florida</cx:pt>
          <cx:pt idx="15">Escambia County, Florida</cx:pt>
          <cx:pt idx="16">Flagler County, Florida</cx:pt>
          <cx:pt idx="17">Franklin County, Florida</cx:pt>
          <cx:pt idx="18">Gadsden County, Florida</cx:pt>
          <cx:pt idx="19">Gilchrist County, Florida</cx:pt>
          <cx:pt idx="20">Glades County, Florida</cx:pt>
          <cx:pt idx="21">Gulf County, Florida</cx:pt>
          <cx:pt idx="22">Hamilton County, Florida</cx:pt>
          <cx:pt idx="23">Hardee County, Florida</cx:pt>
          <cx:pt idx="24">Hendry County, Florida</cx:pt>
          <cx:pt idx="25">Hernando County, Florida</cx:pt>
          <cx:pt idx="26">Highlands County, Florida</cx:pt>
          <cx:pt idx="27">Hillsborough County, Florida</cx:pt>
          <cx:pt idx="28">Holmes County, Florida</cx:pt>
          <cx:pt idx="29">Indian River County, Florida</cx:pt>
          <cx:pt idx="30">Jackson County, Florida</cx:pt>
          <cx:pt idx="31">Jefferson County, Florida</cx:pt>
          <cx:pt idx="32">Lafayette County, Florida</cx:pt>
          <cx:pt idx="33">Lake County, Florida</cx:pt>
          <cx:pt idx="34">Lee County, Florida</cx:pt>
          <cx:pt idx="35">Leon County, Florida</cx:pt>
          <cx:pt idx="36">Levy County, Florida</cx:pt>
          <cx:pt idx="37">Liberty County, Florida</cx:pt>
          <cx:pt idx="38">Madison County, Florida</cx:pt>
          <cx:pt idx="39">Manatee County, Florida</cx:pt>
          <cx:pt idx="40">Marion County, Florida</cx:pt>
          <cx:pt idx="41">Martin County, Florida</cx:pt>
          <cx:pt idx="42">Miami-Dade County, Florida</cx:pt>
          <cx:pt idx="43">Monroe County, Florida</cx:pt>
          <cx:pt idx="44">Nassau County, Florida</cx:pt>
          <cx:pt idx="45">Okaloosa County, Florida</cx:pt>
          <cx:pt idx="46">Okeechobee County, Florida</cx:pt>
          <cx:pt idx="47">Orange County, Florida</cx:pt>
          <cx:pt idx="48">Osceola County, Florida</cx:pt>
          <cx:pt idx="49">Palm Beach County, Florida</cx:pt>
          <cx:pt idx="50">Pasco County, Florida</cx:pt>
          <cx:pt idx="51">Pinellas County, Florida</cx:pt>
          <cx:pt idx="52">Polk County, Florida</cx:pt>
          <cx:pt idx="53">Putnam County, Florida</cx:pt>
          <cx:pt idx="54">Santa Rosa County, Florida</cx:pt>
          <cx:pt idx="55">Sarasota County, Florida</cx:pt>
          <cx:pt idx="56">Seminole County, Florida</cx:pt>
          <cx:pt idx="57">St. Johns County, Florida</cx:pt>
          <cx:pt idx="58">St. Lucie County, Florida</cx:pt>
          <cx:pt idx="59">Sumter County, Florida</cx:pt>
          <cx:pt idx="60">Suwannee County, Florida</cx:pt>
          <cx:pt idx="61">Taylor County, Florida</cx:pt>
          <cx:pt idx="62">Union County, Florida</cx:pt>
          <cx:pt idx="63">Volusia County, Florida</cx:pt>
          <cx:pt idx="64">Wakulla County, Florida</cx:pt>
          <cx:pt idx="65">Walton County, Florida</cx:pt>
          <cx:pt idx="66">Washington County, Florida</cx:pt>
        </cx:lvl>
      </cx:strDim>
      <cx:numDim type="colorVal">
        <cx:f>'Compiled by County'!$B$2:$B$69</cx:f>
        <cx:nf>'Compiled by County'!$B$1</cx:nf>
        <cx:lvl ptCount="67" formatCode="#,##0" name="Waste Amount (in Tons)">
          <cx:pt idx="0">209138.14000000001</cx:pt>
          <cx:pt idx="1">22771.130000000001</cx:pt>
          <cx:pt idx="2">268736.36000000004</cx:pt>
          <cx:pt idx="3">22707.300000000003</cx:pt>
          <cx:pt idx="4">736397.43000000005</cx:pt>
          <cx:pt idx="5">2317935.23</cx:pt>
          <cx:pt idx="6">8120.5300000000007</cx:pt>
          <cx:pt idx="7">620531.27000000014</cx:pt>
          <cx:pt idx="8">145383.87</cx:pt>
          <cx:pt idx="9">73.239999999999995</cx:pt>
          <cx:pt idx="10">365913.47999999998</cx:pt>
          <cx:pt idx="11">60901.490000000013</cx:pt>
          <cx:pt idx="12">59918.82</cx:pt>
          <cx:pt idx="13">11725.549999999999</cx:pt>
          <cx:pt idx="14">1045270.8599999999</cx:pt>
          <cx:pt idx="15">432765.40000000002</cx:pt>
          <cx:pt idx="16">92872.849999999991</cx:pt>
          <cx:pt idx="17">11093.659999999998</cx:pt>
          <cx:pt idx="18">1007.9</cx:pt>
          <cx:pt idx="19">5240.8999999999996</cx:pt>
          <cx:pt idx="20">13714.58</cx:pt>
          <cx:pt idx="21">28386.489999999998</cx:pt>
          <cx:pt idx="22">597.76999999999998</cx:pt>
          <cx:pt idx="23">21668.32</cx:pt>
          <cx:pt idx="24">47229.230000000003</cx:pt>
          <cx:pt idx="25">173328.64000000001</cx:pt>
          <cx:pt idx="26">100715.15000000001</cx:pt>
          <cx:pt idx="27">1054015.5999999999</cx:pt>
          <cx:pt idx="28">3782.6899999999996</cx:pt>
          <cx:pt idx="29">273242.16999999998</cx:pt>
          <cx:pt idx="30">41336.630000000005</cx:pt>
          <cx:pt idx="31">10563</cx:pt>
          <cx:pt idx="32">1254</cx:pt>
          <cx:pt idx="33">252102.67000000001</cx:pt>
          <cx:pt idx="34">1089882.3199999998</cx:pt>
          <cx:pt idx="35">269013.03999999998</cx:pt>
          <cx:pt idx="36">32080.139999999999</cx:pt>
          <cx:pt idx="37">699.31000000000006</cx:pt>
          <cx:pt idx="38">16855.029999999999</cx:pt>
          <cx:pt idx="39">420051.95000000001</cx:pt>
          <cx:pt idx="40">423415.67999999999</cx:pt>
          <cx:pt idx="41">276218.72999999998</cx:pt>
          <cx:pt idx="42">2618570.6800000002</cx:pt>
          <cx:pt idx="43">94678.470000000001</cx:pt>
          <cx:pt idx="44">147.28999999999999</cx:pt>
          <cx:pt idx="45">200643.57000000001</cx:pt>
          <cx:pt idx="46">228094.13</cx:pt>
          <cx:pt idx="47">1605289.29</cx:pt>
          <cx:pt idx="48">175315.66</cx:pt>
          <cx:pt idx="49">892273.85000000009</cx:pt>
          <cx:pt idx="50">203471.28</cx:pt>
          <cx:pt idx="51">502961.48000000004</cx:pt>
          <cx:pt idx="52">1013967.52</cx:pt>
          <cx:pt idx="53">117705.7</cx:pt>
          <cx:pt idx="54">273324.70000000001</cx:pt>
          <cx:pt idx="55">578986.91999999993</cx:pt>
          <cx:pt idx="56">558042.55999999994</cx:pt>
          <cx:pt idx="57">72.859999999999999</cx:pt>
          <cx:pt idx="58">348528.33999999997</cx:pt>
          <cx:pt idx="59">176297.76000000001</cx:pt>
          <cx:pt idx="60">3077</cx:pt>
          <cx:pt idx="61">18257.459999999999</cx:pt>
          <cx:pt idx="62">9776.6599999999999</cx:pt>
          <cx:pt idx="63">470107.32999999996</cx:pt>
          <cx:pt idx="64">1463.5200000000002</cx:pt>
          <cx:pt idx="65">95580.290000000008</cx:pt>
          <cx:pt idx="66">14943.879999999999</cx:pt>
        </cx:lvl>
      </cx:numDim>
    </cx:data>
  </cx:chartData>
  <cx:chart>
    <cx:plotArea>
      <cx:plotAreaRegion>
        <cx:series layoutId="regionMap" uniqueId="{C551826A-CEC3-A34A-A058-BE37016D9514}">
          <cx:tx>
            <cx:txData>
              <cx:f>'Compiled by County'!$B$1</cx:f>
              <cx:v>Waste Amount (in Tons)</cx:v>
            </cx:txData>
          </cx:tx>
          <cx:dataId val="0"/>
          <cx:layoutPr>
            <cx:geography cultureLanguage="en-US" cultureRegion="US" attribution="Powered by Bing">
              <cx:geoCache provider="{E9337A44-BEBE-4D9F-B70C-5C5E7DAFC167}">
                <cx:binary>7HvJktzGsuWvyLhulGIerj29RQDIzMqai8XisIGVyCIQAAKBKTB9fXuSokRSlO5Tr7qtrxkXlUQC
ASDc/bifc/K/3i//el8/P/U/La5uhn+9X355UYxj+6+ffx7eF8/uaThz9n3vB/9xPHvv3c/+40f7
/vnnD/3TbJv8Z4Iw+/l98dSPz8uL//4vuFr+7JOn8SltRjuud+G5X++fh1CPw98e/YuDPz1/uszD
2j7/8uLpg7NNYoext+9H8uK3Y+cffnmBEaIcM/bip5+/vtBv37h+cnD2lX1yNkqePjz/+Mznp2H8
5UWk0BnGUhKNlUTwF9YvfpqfvxxSkjKCJOaUEkTxi58a34/FLy8IP9NSM6IJY1pzOO/FT4MPvx3C
VDKppSIYwWHy+3u69fWa++b3N/Pb55+a4G69bcbhlxfixU/t52+dnpNzRDDFTElFhaSUMVinff90
D1sBX8b/iwlGytGKbt93V8hvl3PpX9kif1swe/7V2/nBSkTB6/tqLcUUJ5LCekhRxZhA8Ca+Xqtf
+znMuBhgrXY0yGc6DqOeTDbSc0HnyQzd6tKeOGt6mV14u9T7wMoqKXP7OLT01eSVcbiZUlw0lRk1
etmuXZNWmb6ptvYCR2SOZdHf2lK9kh7dyLz4GOwcDC2VM6KJbLwtuk2Ql5VZhdv5itsd08sNHztu
IileZkNdm4qXg5mc0Hcjza8i1d4gTgtT62KXuWIz1Ja7aOCvNjGlvhoms5T9HheqNtssb3TRtXHR
ZotZS5eZGa6zq2bxsq+GawJ3YrAfLlFVVEYSdxhRZ7ZqjptpesvnER7d9ZdbTyqTif6i3qr6IMYN
GZflr8uc7Kmu8v3gZm0YL69EHxrjIhHiPvMvB6KkaXh+Mav5KMbG7ubKc0MdfAmrNlW4PfZVtmsU
euC4/rUc/RERd06bbDePkzWKVR8EKdZ4XchubMchHVpxl8/RceTtIdDiMqDq16lr1H6cOUonPW2x
6/N01vpDzSU3oVeNKbG/91N4HrpuM9XSH92Er2nBrglhu9Hb+2lzt0LxAx55l4pxPrZoSu3IUNzZ
iaS2DWNKNHpVVXVplkjcDRNWhui3GeHNjk7ty6bLtRFld+z6cjLriN6gcn4eC5XWzj/1jH6oNn3E
3fXQG7n2aZDVW+SHq7WRbxQmR5TRl7Idy7jNxnTlyMZSLfupxQax9paFcB8GF+JN2ldFNu9Uxt/0
OURtNCBv3NrVSTbZ+yrbXnZR+WvO8mCKsnwkvTjvlJ8TJdmx3bLCqFUd5p686l3+yArv9rRcRiPW
dd2NQtDUyqI4MMnQncxKto9GXZmFRJdzxytTlouqr4J2tRkV/7jKyCWumq8GxGU8eOkhSFz3K3ZR
Eau16nfT6PnVNDRPmgZqfJWZppLLx62lRVxUrjUNyw88svqCcQmRI6LLIYTXnWw+VC1jF77ZYjtm
uWk3dJyDECjp+IaUCU0REjJIm6g6Q2kWBWHWWbg3g+D3UT9oEwr/XGB6kw+B7HOsiWGhbo9F7Scj
o/xmI6Q05RI1HzfLyjgvhuwt0zVtYovQoZ6rWLZ+vu+aPvblEiMnut4IzuWHkWpXXjk/kSQqmyCS
TpTRfEFw35P7snf1saw8ax/klC+JFVmNL3Et5WuoRMG4Rg/oosp6Vsc5I0683Qo/vvPVNsTLtlWb
KUVBVVzTKdUS3vPUjyie5rrboUIVsWDreh6wKy+Hvnq95eGWiMmZceBvs2V9U4/8OprJzo9LtnOz
ux5nPO0LO5CEubDERcbfbkPfxNRbGa/WZTHFWXTerdHLcQhRHDlnPhXanz9j4W+V9nONf+/btbd5
8RsY/v7xvx+8g3//dTrnj/88oekfn/bP/gRkw/df+uYcWOa3dU8Y/M2HPwHy10j5Pz34j/CY/y0e
70P98c9IfDrnCxLzM4SlEohhwrUUHLDwCxLzM4alFkry3yGYorNTM3ICK0EoYgLg6gsE6zM4W2E4
pJUmXKp/AsGY0W+AkTMtKCFSKCThT8D70/GvQBhFbTtl0zofkMriShfJxLGPkQrbUYm5SSo+lxcU
R93Hjtf9Te582BeNb+NSuAfq9HWUcfZ62aqK3vKwvRlKWu2Gshh2opalKQqpd8HN7+hY3yxy0geW
N0dSKWpsv627gYQxzua2NKpxa5zJYkx8g27bwHxaz1OUoLBWu6gSbby01Rajun5FRenjNq/QNUB0
aaraP/ugHlqeIyNZ/pJzvqQE6wuxFLd4K2YzrlVrhpk+IN5pQ5jvAJeXx8XPv8qiaXd+akIc9a0+
bH2E4y7fOhNqgC7mOYvr/hjVWWsqRIo0bP2Vd93LUq5NzBtZxoLkKRrEErNufhdaexX1YWeb7Fhw
9C4fxKtK9s/Utu2j7errLuTJOEE9yrviDpfi/VDrKc4W0ply6p7lFF12WTnFjWzneBk3uZ/mbTGZ
rK99Wx9aDaDhN5dugdlYFLU1fC7SgUfczDm5WZ1PeY1kSnz7QNyYp31H3iOr3naY7kg4wcIkVsOi
zsfMRjd6W1Km1oe5sx/4EnmTz/oq6uxRjeUzI9GaCLuFtNJLFy9SlfEUyu5umKe5fK4yqbmxOevs
9UjX/IC7qDBN0+9zsrHVrJGupOm7Rt+6mraNIS0uUqgpTaKjWh3WCeAUhcCtyawtnSmaUQWj7Di/
AeRJi1q3T/+pUJ8mBgrt819PDKb381P/4c9F6nTalyKFzqAKUC6Q1BhhLmAu+VKk0JmC1oRwrrim
X1UqIs4opBPV0FwrrRmGmvelUsEcwYXkCqoKZtDu/6NKxdC3heo0LSAhoYDB+EG0ON3c14Uql3lX
aYfH/Ta6SSTNCZKXAfvyavWt+qBZOV3z4MOujlRUp4trjhUrn7tN7/GCRW2Qs1t7GDta3fEwnjNa
lRygPvNJ7VwVV9C8GUoUdNfZbcQd1cZDBzyYhecLOq97TM4VLDo9TRnObGm2DUGDPHJZHzPRzmNS
ZS3iMRv7lj00Oc/jtW3f4caW5+JTd/CpUWi4ro74U/vQfmol/hPen8JbAQT+dXi/HH86+qIZ/hzf
p/O+xDc+I5hoKhjCMHJipf6Ib3wmNKIac4ZOk+Jp/P5tHD5hMScQ21hoDUF+Cv4vEQ5YDGMDUUoz
BAMzwPSXRuSbVglohB8Mqaflv5pRAYoVIwDCAgMUa8U5jORfRzhft7bWiOQHXY/58rYQ03TbOuwM
nsm6n3y45p2YElw2dQLYtJfDnBuhlDBZF9IwuZttDbt2C1fKkbd1Rw9rSy5qu23GMZZQNzyW3KVz
gElPbO7oNH1Fme8PRdTLOMvGIpUCcW86659X5i71moUdQpF1cYOzpjBjkGu82VPRr7Gv7llVUjOj
DJu2ttZg1yR+7ROW0RDTqtZmg+H3rWvbGmDDTuUJVccKnijK2uHShTnThg7FvMcwbYm0DH2UmyFA
V5xoMeI3q510ivuyv+I9tMcwrMk2VEeEC2EoKtY01GK5snU+va/mYbgXVb3s6kWRi6XM12s58frG
iU3G3q0o9m0+H+bZ5bcbRwyZCdqDx7CgYd+5Ouxg2hevMNb013VqpBmtH6npmnziMNeifeGivSq9
f0VXoRKJnL/hUAbC5T9P4KsvLNX3/fE3TfSP++z/e1voU8X+6ww+bz7Yp+anezs993/O4tO5X7IY
nQHWEI4gWb+k6jcoBd2xRkoA5iDosr+QWvIMum9BNZcEMAQg648slmcwySENHbU6VQVI8H+QxfS7
hppDny8VFkIzuAuONSz0dRZrB0Ncrsm2R9Q/q6rOqSmhfDyGoWgvKzyy/AILn3Oje989z0TU9c61
1ZqgUeh3Ot/eRyO6nVhWx2Nt5wvI+3uHVja08dwgZpjIy2TLrT0fMxfuGuKbj7j279BCSb6bUey0
R0nhPI+SArW4NJ3POmiwAN1DKhY7xSUvNbqvIl4sD/88en8cl9+E7v97899pm/86eM1T9aOoPZ30
JWrJGQK6lAARCewutFYQFl+ilpwxrjnDQMMqhCB4fo9awB5onwjQUYA9TAAK/R61cAhADChYhYHR
JFLSfxK1QN5+Dz4SEA5B8FINaSDwd+CTZbYocbe5QzkyWe+nXgN7VshuR5uOpXXe+vxQdkjWO9Y0
TZR26+g+RGs+iRRR1sYdid5GKANgys/LbkqatpXxUmc0biexY7jBMWmJhWEBHcosirtiiLvW7acx
vAWepDBhIZAow/kykpu82+7qVb7T2RCXc/1YWnIcYTatWws0anAX45jHQK5eOKgCMdNlmkvcpUNP
jxHvLut1PWwuIqZYmzGmurvidrkm8/AWFUCztDw86jZ/OROUIGs/qCg/0MZdA4udDLqZkpU/RMN8
URdZPNNprya5s7R/F0J+W5Ty1iPgNXlzESSwrvPIgGPqgZFS5XO9oas60Nm4LatMbZvHBbVXfYmi
eO0RDIgeCWB4h2sU1HC1DVMsF1Ttszmju056Zrq8zZOlrxuTFYiaZWMfgbuBaQ2xbJ+HooilrONq
5vDdAO1CsxtaEi0Hauuxv8LDc8ZXuKmlhb74LqdbhNMhHyPznyz/PEMBYPxNlvfP049nKDjtS56j
M5AXNBA9kO2fm8UvaY7ONGALAJME7PpMAX0BJ3UGExehIIXAcAN38keaE8AtQhBHCPL/HysuWMKd
fd1jntAJChA0shoKCtzpd5qL1UXZ18WE930/3/Ouny/6DNq7PKDbheD3SPjsnUPtmuA28tFdAbx7
b4oWI3WI+izz8eSmak4psd7uclVB11fQQt9wN44VDKEjukAFrdKG6NGwJopZDtpJN4oDKkl77AY6
vuwQBl2ly2bDVvGq77G4ztexs2kO4+mvVuLtRvtCn5c1NLexzPFCE51Hkp27eijKpM+qXsUTMCaZ
GYZWV4ctKuvxIYjGXhS8PjI/XkQEOrwKFW/qvEslUblpZpSbCVpws7Hlaqr781DUN7h/t0IGq36P
nGEkHflgqD4uIs7HKe5lcbPS+3qRZhuOwuKX2s17lne7PBMvdUGTxrlkneZDw5tk6Ig0uIJ2uByH
mG1dEwsNRFTYrZXfCU8Ty6JdsQ6vslYdcNgu8zr0QLjIKzb7GyTwwxDyZy3snWq3e+/qw0zDo5/y
x6WBq1K1Ao80A0kv6D6TcjSbL/ZRw+OVsXtWNOkYLNBk+Bj1CpqG8MhO+N9w9RRKTYHRGmOsutpk
pX2lh+iRZPC0HHU3xRY6M0f4tY2yzmjeWxOdxCbZbrHYlueuzNNy5jeOLakcoN2X4jIvspcKyw9e
rXFZUhiwlQpxrrq7jMr3hZrv1KZhDMDvemXPy2GNZ1Q/r0BtFTk6n/vsda39ENe829vG3Urqn4aO
3Xd1eTVG6RiVr0WvU9kW7zReZ5NvVZ8Ewc5ltF0jNsTe1+nE1jsX8dqwrYUWB0990jSFiptirKKL
hi0LTps+hI/Cd2+hZ/Ig+axh7zVa+pd5zpipP7dW/ymQn6dwmFn/ukC+fAZR29fPf+7fT7PuHxVS
QxEEJZZJLID4hmL3pUTiUycErTj8P1Ofae8/SqSC0gi9CTRRMIR9zTOpMwH9jIJDWHymrf5J/36S
t78ukdBRARWgJIzhlPFTj/VtA+827f3SSLnX8xruprFZC6Ojij123fqwVcKbsRM5TvlaxJbMUYAY
bUHqc1N93tUj4LtPBemTDJFE+eWVdUXcQojmtDM25O+desKVOHaleDWQMuYt3yMQj9mAYj1VS1wr
ECBHkdDQJVPnYh2OvMxeLzI7J5OL12a4KyQqYqKaQ6deoxyUJub8rfYY6G9p4xmSIZ69jmvUJQ7q
XbfoO1f5veP+HrqBiwLZ61nA1QuZjHOVRDBTeydTGy0Xyq4mL7qD5G1KsU9oPacrKZOyledkhZ6N
BlDIZeIcgS4HmbatPqxamXbs04Xz5rzNh8gU4ye6nJcJ6xq+XzvSJVuAYQbyt64dWDCY3QVQaFm3
3EXFEpPNXlaqhHFGpjpqgXNuHzB1MH9PUDag3PLoyvcuxvMCkxOy75CdTB5te+9CUs+baUCH5uRX
Z9ld6z3MPzrpQp0EFl3acojV6A50ru+6XO5mQW9cyS8RtFlad0m0ADqA6p0uE2iruo8eLQCdtSDb
61clXm5YRu58AReLghHDet54ZzI0mM75XTmAUq1Y2Ds27LVefwXB9JZsINd21QSlt4uL8q0j+t3S
lyaaQloImQ4EQ7gwQ4CTNFNRv+/qLuVjlQRdvnG8hNuiO9aChCfDs0VjzHsCKrrb2zy7BqUPZErZ
37XLdiFrfphLG9NOmmJzifdbWmu2azh9RZb8ts7rtAUhYV33DezoFrDpVwVVOUoYGZKuFeeSv4tw
k4D3wXBxlePSFsnA2Hqe1XzXzWin9UiThc5XvADBsJ+mpNTZdVnnh9mqu6EckqnKL8ptSrL+1gWb
BBztJfEJ1tHNKt4uliU1AYZ1FJdj9pZOc5sMOCQAIIdG6KME2TmTr0kxCGOF3AVBk433F22J03UE
bwSFSSLzpurIbiMHMjVmJh86VZiuvdNDaSxklzh1MZu7bsqD2x7RogHSIUrFIwddq4ywsXR5buuL
aqPHwA9j+zJsr9n8NoOmYNWHiPC4rd73ku5XCtrvRpO+fpQ27Lq1iuG96NmZmWnTTtRU+mGbynPs
6yvcFfuh5YeMlodVXVEdzudqusvIcuU53JKY+T6L3EXB5NH3IRHYfSwZ2g1qjAvfXlIPo0q/1gYP
a0LKV+OIpZFofbsuLTFTnj+tfNu189QmbRjO+XS1kWPdbmmH0ZHD3WppaSyHD2sDZWahQwpbOxma
kQdpH1Q7pA2bjsKT0bSQsfi0hXGeFyQuyYVnQ226QSRRlXd9LGnrrzr8GntlHxWZyN1/UPEzKsKw
/NeoePtUu5/M89P74ge4CGf+gYvgwvpEH8EYrvnJkfUFF0/qC2AckoBMn3nm33ktAWYtQCsgtzB0
xyBq/s4QnKQZ8HcpTSmYvBR4vP4JQ/CJff7OrQU3pwBgORZAkZ/0ma+E4igaalngbNyjrmwBDlSz
j0Cffl0NFX3TdkPZna9rcJPR6hlGo5O9RaHQJlSV6I3vlwYAc3ML0MXFu24W6TpUkJ7rB8T6/NJG
EHypc6gs9/UKom9NlzcNJVUbSxLphIQIkhmMc68bupKgoIPVtjiqtuqWj/Mqm+tKT1F0m8/tNCel
UzVKQ0aX7WO+Evs+67A7etnF/jTTO1DEj+sn9WYDFhkUZPlJ12nBEnc+f1J7SIbA91I06Jh9UoIy
0IQIaEOoa6EOneSi/x9T45v4xoj+LeG7q31vPzz94JyvEwJGX5gtwQkIRoevEkKegW1BwByLQRX8
RpCk+OyUPkxTuAF0knL+SAh2xgkV0EOCkCiIAGr2HzSKf1JrBOUgRkI6UPBQIAwP+3U+5POCNtX6
cCAk5GNcgzjpYkYKfckC1YORvG8uKxHABqqLSSVflZAfiEUnFvnbbISMJ6AZgRwKzjrQVr9Zfagr
0fQeD/s2bz5qqzJD8VQatmw6/fuVvntO0F1PK0HbDXyBkFCCvl2py/LQSpgT92ufP1SYghWw3rIa
jGhMGL5W4FlEIlKggeLiM88EVPCPFbHvOvHPSwP9eXKHQiCw7x5yzG1HshL0GZCd3majul1kdw9M
2Mdajr/C+xX/5qV+2rM/vVVOgFMlsLuCf7enUEKGxdow7GHPm/tA+2uyZjRZm2KK6bQ9owysT7Ze
knxtVRqYsvE05H2C5PZvHv1PPM3prXMBziAChltEvqu2NowTL6Z12M/KjwmCeduwArwbkfV5zIvy
499v8mmm+dODQ0rBCKU4kid70tfBLHRZ5WAZg01e+2WftzgDmlUVn7Wtv9zPH75fDGkDkQSvl31y
6X6FIeWAc49ZO+wpV32spgXsRk2pY5Gp6HweaB/nEwtJBB7HdM5yF5cTBil/ii62DQxAf//MgIx/
emaY8YAHghwCWv67zYbhjm/FUMHNTCNKCzAY7IZ+u1qnNY9zh6O4HVyzL+RIwMwY0L9JK/yjDFYE
vBacgv2KfR9rYz5lhDao36+YFb+2sj8ZePp8vBks5tBrCi9E7ANcwESrjmBOEF3NE1S2FUxenSyq
eI7W+WoqaJ4ZMo4Bxzznw4e/f0s/uE0NVjSYvSUUYiW+y0Fb4qHtetntxy1zHxld5d3WFK43kUD/
R2tBeCCwVlJY8LsobJt2G1vFuj0ntr8Da7rY+RXc2GU/Ao783oH9z8qnAqUdTHdISjDGf7dSEcGY
yxuwnosl63eBbVPKhk6nY8btv9noHxQxcBYo0GhArZQQ+t+mFtmyvPQBHspSlCfZ2LQvXd6RlKBh
M2hxoOj5Yv035eOHuwY8BhNYgPdGf/d8eY4a0EuAWVsJnmLHl9mAvYokPSLDv1kKOtM/J5LGAMPw
qwHw8kPF+vYJVcV8yDcML5P1MKqDv3jsY1uweUu4y5o6Fj1YUsVcjTXQB9Mc7bqxD0u6LZK6O6c4
JJel+abPs2GtH0k71UXSN5UKSVvXwpox64onPwMFUFHFh11e1HlphgZbMJvBI8EAJLxSiZ74jHcz
RXS94FGh93bt5ZZ61hdgt6sK/CAC2XBSs4WTXYndIlKq24K80TO27lmUYPYA/zFBorhYip5mSW+r
vng11B6v53UDbTv4a7FjaQTK6tFtyxLth1BNwzV3TVBXbAxrdicGDMoMfI5m8OX2Q7WYwHTVJE01
sfxKyYbLJHDqy13gXf1yirTIjn0T+QPuqyYza96T3ujCPrpBUGYWcEOW5zKf8zZWwfsKCGW75qlr
16a/LCcmBXgBdTvX+2GYdZUsE1+XxE9rhi4cGJrQDbAHLUlax4vGTFYp8iSHrF+NzMYl3hTYQF62
HNrwvR+Hcr2dMzm9bCzrwaEedVreI+9UnoZ1ysM5VcWy69Si4QcMTS5aw9p82+JhKPW+6QGi0jpr
BviZRURgtO8Grl6VRVeDHOg8jQcG+oMpW5ianQp3uAcmaOLt66wl9Rswb6H7sRGzyVy5HKK1rFPa
6ZtQr7umG3YgSTb34DoEIr/I02pr7J6wak4qXbldHqYjBS8rKI3DE7g5mOGBZEkoF7pzlH5gNJrT
qQEWa2C93IthRqlmVuyZ3rypgTczZaPziwGol1/l2M0JCyvw53J62jrBDxMMFGZaVsNt/YiQSEUk
uluuXZ9i1Njbis5bHJDFF8rVxRWdYT86WVoz2Oxx2Sjf8wjfWVu0oEwu2XmmWRUvZRWgqRgkEH+M
J8MgtzuwsZx3IxuN3VbwV27VTYXBfTmz/lgtC0lgdunSZQRPTFlkU1zJyl3MtEgs7Oxtptg9mPKX
FM+q2G1bv8VrNIYkIyvZb+D+u8/yun3XqAFdNoVUCWgvIlnQ2H8UEUgW0QhkgwpVvZfe8/O+1puR
TbacU2TJ+bBKlfbLdCR42Vne4l3F1zegNXRvGpsBbche2rC+4UvWpDPSs+lD9ga8/jnoHJVT51OQ
zW6Kugwonuih0io7Dhm1ici9SlHJItiHEy9Y6i0pirG9t3003XY5CBpDWAAX6XA5rpk09bJZMJg2
8EuPuT0oOtqDHZw7NE5NH9kwBrPaeZuqpJrsuK1x8F2zUQ8aD+rzLPVWjw+VV6ByEAie1w7m5yWR
naQVgCkUiTIP89sW3v11N0OUlWvWGFXhcxTyNY38CIIO3tQF/OHTBRIizTjh63Cp1jkHpXktejl0
ZiUZA4Z1G0j/NgIDLipzIBsjAve8lxHx7xe5Ve0BzFIkJA4oK/hBiQcn+WUUiRGszVL1uanXiUfH
zFvgHDPf2UPfw5syYwVGsE256aHA5XJL6pI8ZK6p7Plcij7l/5u9L2vOE9fa/UXqYtAAlwfe2fOc
+IaykxiQAAFiEPz685DsfHFeJ3b1d3nOvuiurk5sISQtrbWegTBvzkEdCzY6B4U4so22B6gDnGfu
JMgn0dar12J2ipMa9/mXzgQpXy8iL0DuLPdPrTX8hg4qeQnTAIQu3JfoVtbJ4KzmKbB3KGrKl7Zu
eRVNpXEfKytaFOo1uwgrr/6ch9W4MpmZth0ylttgovLzYPB7JlLYte685jBrUsS5rejeo755AEHF
J5E02bzpBjRugSyGzacMiNKXpqZqoyxpPonGy3eyTbpi79tObfLJMQ9MQ72FKn4cVxwFe7fqoXso
osIjLFYOVauUcxZLJFz7HtqWlQDZYE2yLmw3CnVTuStrvRDM8nS4By6ZzuuA5VD9hOmY5LF2aBPG
JerQfV1lxbIHyXhIQ5ndOGVWROjF9t7G4HWS+yqkmKKowaQ/AQcaj8rVcD94th/P0iRJL/KgCVba
qecz3QXBKc0ofqtf51vq5Pxm6Dw2R0h6mgOvs+xCjgYUUlTB63HQ7CJtcVTXaD/Pm7m3ajNqS8ut
ECK9KIp6EMAZMnaBQ9TgUGF1OfObgypDegGlT/3cDml7RecWMGOO951LNW3nqZq2QYaXSlo6nRBs
zauatfUzWyrMuOJzPaxUI/Mt3my+Y7bEryW9vXRb2hwAL4an82Dq526q209Dhvc6C9F80W7aQlzW
Z3itTVUmhzTV07YPO/M1HA27ADhKxmjQYXphc5bXyHfLcvo6S58GFjfw6NMi8kc3mU5dXMv1agxl
GpMsaJoorTJZIUL1CVrw2nFva3diFznTyV3Ns/Scgwb8yFOuVl2fzVnkkRng6RAgX2W9763TLmgO
4GMkq5T0w0lbYvI0FPYuIBJxMU3ynV/jp2sH0qE+bPgcZQGES1EFTOuC+k2xh5IN8rouHJVc5WoE
1b/s8BeSAUhImo5Ft5IzegPRjHN+roLKPEwTm14CMZivIqUMbMup2LuAQbDL+6zuo1p67AZQ0XAP
9LoXwG/wkAVz1HXQtfWTLzN+Q8IZ4G1djQCleVm5kaFV+6loZnsZcNPfO7VV1/my3F6bBKdMusl1
QwFLuYpMm1AIx4uQZGQXwJrc20Bm06WTkunFmXW+JZayKvLbILn2Skn3jZNVp5BG4jeCB32N6sDe
oTtpvs7jQMlhbnOTrUmZTS+iTvsqTvoMPXrCXEBhFScjsG+iofOiElScOCc8AUKNkitCH7uZ9uUw
8Axzx06aSdMi9HKKnYaYlV0USmo3Lt1ZXxJfOm00TAXW2jFBNkCtqYMqDk33ogOCmmlwShk35di8
EC3de5rW42oYjfuND7LvYxw9ANJdMb9oT9YtxBoVGvqtZP03DyIXhjUT2Pt1jdfCcZObrTMqFwgA
Ut7b2SvIddg5iGaCD99sDXC7S6p63Tdefd4NU/3ZyqS5crsgvUh4k2+7sA8g+w18AN5Z2K6nAOe7
Imn30OR55Vy1JDCI8VqVbK8njZcX+OIMNXGyqfukRRBD73VbpR1gtibxg8cZSMF5UtbpdiiKYUd5
iaXBtXnqt1T1ERNpfslBDtzUFTV3LcQ8UTtnL12q8b9MXdcQC9b+MwtTBkSpmOOaTnrl+RbilcHn
WxfvK3IYoysFrXIddX45Xbtlay+RhIzQ7Mnk3itSiGCIvulCejYIhETrODlqmbZdjYCszhv0f5w+
Gw6yrFsMq/iFM5bueSZKxA1/zrfWycmZ5aS+qCaW3PDE0/vQAg5F0C3nyK1AF2nQHd+zvDsM01Ss
cpzNMycd29MqFdUhzaopQqqPFDD0xmis06eQZc1eicpeKz34X4eCHprccRHSAvzLN8264i5kQx09
sVbSB+TbTjQ5Vj+HY3ehQ91tMkm8fZNoYUFIQ0I6SD09BHZMr50qGzfC1juui2YVjiRPo7zRu2Cc
nyDQKj+rUsyAajRekkegbJQcFU4spolmsVTK7BUBg2tIiHOhSlpvoHVkJ2XS2xUtvPIK/yHWiEHk
tm8I2MxjmF73BoP0LBGXvRNWIGb4kNCIhD6FecjvuemKXZ6LeyudctsPaYY8EKlcVOaTjnQ+Zmd5
gMaNhlAh8Wf3OXOgHh0C4mw7z51XQd77q3HAYTR11kUjRKrrdJr4CZIL+iApA0Jo9QbHCQFYS1Sn
KW/CbViE4cugeu/B1tQ9D8tw5qu0pLd1ZiVwOYCNDLELUzPFvcuEuJoGrBIbjG02Anlh1HZQ6abW
1t/mihQelFtdft5IbIO8KlIwTWxVI6zVwNlpCazW1rKNCZpd4dx5cS84Enqayic5WXVIx2rXKZBE
IgZoV0/SXs2O99DlpNzgKIKoN0skagwKsET05yVlyV2hAOdaOmwUQqCM6qDLrwOnnVeq9IMTM+WI
Xk62BnVIRcpvQXOpmdZxNoZuNFfFDGBDD2ecQQGKHI0oHDheHerUyotC+hkI83IucO7aCmVpQSSO
UarH4QxSLcC5HuVb8IQrXDlW48aaa3RPemDtl2HiN6eTZRJVnRhyFfWtVIdwzJ1rBg1vK4XdJUMX
D4FRZwVW+cRUo0DU10U00bEDpcl0p+j7ToCl5c61JPwEVWuEOuep1VC0lRmbwbLkoPwK0GKiYQCp
3k603WtPPLsz/5aAhPyIjLV4LEypEbQMuQOmTDb+0KfrTvTl1cSRsRRT66qIht0cpzbJaqRDdjd4
5ZAfiK9HuhqEY8ROKNfFHUO5viBjqkC6moS+QKdIO5EXyFSDg1QgCGmXyceylNWV1wTlFc/RR47y
CQFUZmP3tTCe81xBRfi1SRyQGTyCX9jUzD+wVuqbCZKM8VOLjAfrlqPIKTNe4JYg3N8XdYAbJbT1
Z9yW6J3NheuBlYSG5F4nuXeL/BiVqSozekiVNV/Bi+i+mt6giWAAX70oWqGrYOYueXSMdJ9V1uKm
13Syl6axyaOnoMWOaZKTMIbI2nwlrCZl5M1DKNazYtVN0VgEBpPZUW8ESGR6Q8MRHY3eZtgeGdAr
G+mq0DcZ7xXIDCkod6AM42fC2hbtSshQsRWtHGwjoF1gBQwGT7mWzIHwAKAYZkU9i0FlTitzks+s
Q93oVIObxWM95ukGySt+80wCq/d0RPtxldFwIlsyLSlAB0A6Ad+2DE9l5tBqxdsSSWuRcKwSgbyD
x4Xtk8ehHbIsSvs8hPwwZeWL1/cYtW/8yV2N1A8ff7xMNhBI0H0gmiDnGgcwCCh8VkeoJzQ8AyCE
8htuVIxeEF49LCGqG+bmXrUtcol2D5+ROYlKWbWrXXSBLryGWXfTsZmdTG2nb6BABQ6Y0tnl8Qgq
e4pzzNAPaWtHyRMDQuKwLSegk2fh0A0vA0dvNOo9VmdnnLjZrZoGb1v1VfVQuqG4UiJskrgGOnk7
ZrWZdhZt+OQCinELMGdw8IzIyvHUkHBi8fhkK7LpR82KGGuCs4vefwZVpE/xFgfS4e/PlWe+5qhe
FjEmMuLJDOYbaCey2IZ92wDACMtcbh2Ve+D3ODg/0YjlnHcV+n+HMTcEXEXdIaNjGa3l3uEtmigt
sBW5qHFYi6MO7Bc/S3B/xWXvgF5cBX1Vgjhj5+IiG3z4FywpZCEqYP0FgKg7Vzreuim0c+Cmandj
2ftXZRrY0yRT+f0MXezd6NHhg7b629YjDTyQ0kFmB44AUPT3bmAD7SycGWy3HXtvWIup5GssdrGa
RF7u/m0XF0NBKQVgnIIvdtybbn3AA27Jui1FE2lbeO64qInAWwrc5gNo6E+zAsgH8RgUIpz6Rw3V
2bWqBsmy2xbWIpvx52bVgvEad1b0+/dn9RaXoIGPOQGXAFzJvsvEXoEkFox4VTC8wDCHPGqYvCsw
GPmLhegxrRIZC40quUkSFdcO1R+s3lsgaBkcgMiCr6KdeTTPzmZJ4tddtyUa8B7aCtm6cmnzARD0
9m0y6Ns9ga4490B7PhrFoJ9ghibpty062C1Q0yUwMNuIYS3rErv6/Tf6tgXPwMUOkB26HrbJcQue
NYPnZ27Xb9OJd1Gm2m+AhV6CFDQutyhPeCLrD5rib18j8zzQBYBZuhS61SP4DgdMjoEPqbxEah1X
SVhgsUK9fn9ey2v6HbXDKOCDgFcOejh43b8fNdonbqUa1W/9fJgin5DTlJiLCTpeJOgl+2BOf3qL
r0c7WjSoKtMmZUUPPcToog+VR+lQglaE4BxpNJOiVqnn9yfoAeJ/M8MA5BYGI4QQG/IIWpgyxYNx
xLGD4g+lt6bFPeiOyZ7rOdj1OgVjrrkWAxhtTYHSlHdOcECasOvTVm+HPhzW6PSgBzmK+ou1PtlP
HBwuL+maG7CuItwZaeyqZv4gMC1s1OPn9h0qHJezQHhvdlxgUu7pDscIIhWKvImM0MFby4Y1Ib4T
5Qbt3HrxavHx9tZeYemjMwt72btBfS662Y/TOg3RtPfTD87CYkLx9tEQn5cTzvDP8uevwosMC65m
VnRbC72nl2RslbcgYDYB79amSc2dzX0ZOyMPi5Uu5upgK9memgTX7Kq03YCCu4oUBe2umSoH13md
rBK4+kSVl04nae8BNMeVvoexkF41Q9etRnBJY0A+4X0/5uS+G8DIC/28iVtKxAbuVMA20XdY9+hP
dqo1IKIXfQwoLoxswUCdU3f9GJhzRSc/mvxZbVofLMORLEWcmHdNDvh9okh8bVIkp9CFOg+kbYat
rBSJoYh5UeDwdwEECqFI1a7jWXeB31xt3t+tbw8IygqwXnDqIeMVxziYNSnrYaOERTfZOVE96MGB
s3dze9vPCXoGfen+6yOJERmCNYPpzhJvfl/LEH34IJxVt4U0Y+8a6LTc9EtY0dPWryjcPPin92f4
Nm4HTCDaoOMYhiDlHIU1k4YDKri+Qze8qCNvoOMehY6/Drx2Wr0/1NttGoCzxgG1hYBP37Cw054N
Ej1P3ILBwE40ady9HnvxwQv84yiUQ2IT+L6Pd/j7CyxRf5dgQOO64y36TI0Iya5v0uDy/cm4b+MY
ZhO4bgAeEwDSY7Bf5QTJax2aLQQJegXejtxwW6YrJGZAJBIjkFJg4zvCTw9t8NB66VZTlX8Ulvw3
Z3+xb+BgA8L1zYVA9vfpNo2mcz4Is6W2EOuxCYtNMspug1oyBymYznTvVjZEX0J/K/QorlUnx23K
nOGsnEGcZUonH6zAW72sh2cKIXyEbteDYOkoHgUTdtHEwLmRaMjXqA8D9owL9VJQU8H2zPmqi8E+
QNWbfTFt3KHvEUvtZSvlL0hmajYA0vWq5VREY+6CpSuAQcQZBtyispYxlan7bapcSJ4ScQN4Z80c
qVechA91INudOzDnFG3LYjdr/SQG54ZPGCilbh/XY2jYBwH47aUNZg8YFRR3A0ibx7QTWA0IBfYi
ROeyeKiSrRhksSKzk8FugvkfZAjeH1cc4lCYBS3uBsf5XEoJQSfFN2gp9tXeadk6dPoRBUvXnCem
7heGef25YAiURUOmC9jXTDHPIV0Ig0qvRFV8K1w7oIdtV/MMexs0zGCUBvr0VPVAg7qc7ViajYdq
Ks6J032Uuv15Aui1gsQKOcZ3n8LX11XitmE5BSO2bDZdp62oUYrR9C7DHRHXAFdXiXGheRa8Qz7Q
locpm5+CXNyalof7vk6S2AbtsM4cHV7pWejbgM7fZpZUB6DY4QZ9xGmFLj7BTdwVmzaHf94HZ385
VL9nacsG/zWDoxgzdgCWAX6AW0VkekhmdII6ZquVJM6qy1tcoT38eKR09iCDD2jO0f+NK9ffJNe/
6bL/3zQeCHBR/w85aPES+81L8+apfTJ6IRD98Of85cG5/NxPLirk2wsfkLsBXLl+2GX+JGd7/+Am
xPliEHELbFCs70/RkvgHBw/tFRx4NJjgLvCLiwreNjhf1AG1TywuAf+KnE3f3C+oMjwHlQBuZVjj
HPOZqmnO0VAO6ZZ2yUaoDgKBiiWF/ZSHzHyZgoTM61wNFU4+2gDDpzAZWHrro0m+8kMA/VPqqdte
BytANjpbt8Ym7tqhMz8jaI9uKuMP0GiAECkiNbjYrRVJTlJ4cW24kvNOK1pHcpbF49iWZF076Sc2
e3bXB0lPoxQSzeeM2XoGwc3hJxUAQYSX8nNOMp9FVoBzIwgsJbeEWQr2hxMoqJ7astqlyv32fXH/
4xR3+ePg/f/oUMdx0fx9l5/CoeDtDl9+5ucOd//xAXKCLoZqy/OpH/ySH7gwcsLFHMKK7scW/7XD
w39gHreo8kD8YihFX+3wAL8QRrbYkzgE38me/4JtDSXf72EUsjwfj4Y4iqIH98Bi4PHbRTAqwCFJ
DVIXcwwksG02JdHiELLOS02cmMl+Xs9Jp/2TsnCK9KTjgOo2KjRIJeYu7jlR2H8023hpxQtoZkwu
dlljbqc0fJl97zIjwqycmraxG5oNkHinWmdhB3yrG0486HP8zkWXOvNd1D/ORkDKU/CmWiW4CtfA
M+qV8vhOoFW0SsP8tOlYFQ+gbkLhBR1zMBS3UGidN654cSFhCoQ+lzN0zAbut416oEV2mALAw5n9
4kzJBh1TwAgSafwk0MmX6YYGFVynfLstLbtG0xeMGjOcywEMc+DCqxnWItBZuV8kgd8o9x8yOZ91
bADUOgFmmyn4orDBmuYmj+Fq8zWz2V6jqaRNcKVJCsZ6wR7QGLnsRh884+TgeA2uowEI6BROKNZq
9IJKfvD7gK/aEZCt7LtP7TDvbFVe0OwFbaoJrgReBcZE8ag7dSkpvyNT9TA2jG7gH9hEzJ3b2PLi
LO2wEjW3d5Vb8Js6BFiewQYi9nP+teXmwvdhj9nKEHQHmYHZFE5zxHBlrosmzbfj1D6qiQPiRMAB
tqPkoUwAxARuOp5lIMJFXjvsHNDw4KPnPiloAWLYN8BNQlRffAsakqM5JNRrr5egTw0ZrMSKYWsq
DJostrhVbnjsjXmzpqK7Nx6gXKdu/Ae/B4ah4c65cyoGaoglftSNBV8IGnngn0DcmO+Nmed5XfeZ
l8EaNqxkHJS5etEATeEaIWGeQco1A6/2cvIHb/rEC1eNByr7Rq+GbhzXXAV58SPR/m/gWyLV3wNf
/FRkuq/exr7lx37GPvoP/OsYxE0OyNhgsqIG+Xm7s+UKD1DRo15a4iL+6D+3OxxYOAxb0FjEBe7h
Gv+fy33xZkFJA97093bxvzMUQnw7jnwcjFWUjgLpO+TRAgO9jnydnTIH/FG7M5UHCRMU+QT2BPOY
bQY799jp47lXI4+c+mkzZmUQc5NdD21yCXL7fvLsXTuSK2XFZ6+EYCFIxc6fq8dS1teDzXnUZZD8
di1sQ1gwM3Cjphp+1eClE9mAOuwUEGqyLJ5Z5UeGZMVe1e4WAu8GDYBmh9oC7POKneRug2pClhnw
aL5VIW3Wo0r3cOiEubaLhjwg3JOac7DfQLECsx9mYOBpVOu2Ga9TGmBmcr5xXdAvVdNsZnCdIsMn
HVcNA1ltGsEfDSXdwOs6npz5aztUxWYGM1V0LV3BF7cCHjfLFdBNOP65qf+1A+vSh49LGhYGOmgw
n92RAjIe4RKdu2BY9vIGFN3PVdgDTQZPDnbFD6PKURhpubZA506g48brhLNlNHpw847gDNYcqJvv
kr6EFniGZaUJ3Be8bLV2ww6Wx3N1XgAPA4erviz1iDZV+2UMoD8FC5iAB+z3s92MXpmFa0MFPK2d
uwqg3+SyU2H1FlaDE+IjfIsDcE28invQEWdPcDxVPcTNxElvqJyq/ArONiEWdnHh7BdDznGx5vxv
qvRdr7lowv4eMaKn6Q/RAj/yM1osIQEWgvDIp+gZIbt5HS3gmA8NDXRnaP4fWznBDBPuLwBWOAp/
pF5G/3DVD/+B1z5cX/BbkUuhx/5vdGlH8BE6jygDHNQiCEEQbH1n67/q705BCz6FsdOuCW+kRNtx
AsEQJf/kJzeZ1LD/27H67tUL+k9O/drJH6q7P8QovjSVPciWHBYsfYhXo45Q/RgYo9ld9t34FZTA
rbd4wfaLK2wjrMnPUyMEi7o0I3capyO/8ghY/zeeKhcAoc5gzKtgdtSfpG7rN2iSazWUYAmHLWzY
ywBMow5AvgEPGta3qGbAfwgyApt4bW4dAnaQnYHJi0Wc2SX+5x4Z4h7c0bsS4GssS7S3dasQj0S5
AYkDnt50g0ypiJnfqtXIRC4PnBkY3fgVbAo2tiC93iUt4/U6y6Y9MMV1kdGnsnHKl6Fs6DmHf3sZ
l40kEVrf+Ukw9V3USTHvC545156B7b0sF2PvOpX5uijSdk28bowILfS2rWDeX7jmpWD00nEJ6P7N
HZ375zDQ+8HtgzVJFUSzC4cuXHpdNggugqZEHtLXD5XO+13LqnEHrug3h6X+dgBp3k+RORo/3RHp
JaeBO9Rw8hr1CaP8nCLjaQxSOgaG3NQGdxzEq9bpNFjYk7upO6dcJcJHE2RwoKUASzpqk9AFl6hq
Hkw6bEETvIJuB6ySAMbLvoiGFhNmFL27sW3Jl1wEeTQWmq/Q+fKf6748F4jahocxoic4db7TwVLZ
93okkbnR4GYA8Zb4NgIo7p06BOFlXVXmjPauSP+b/UAPDiu5pX/491j2fwrIzvs/9DaWH/sZz75b
08Gdzl/kST9cE39mP+htwPE3gIIIMlOsGn7qZ28DQQuQI7S5kM4d6WzDxdEcEc1FXwQwKKrMf1H5
we3uOLYs7XlY3IEE4y1m5UvEexVbpMyHApbQ+Q42GthOM4Xp6fwIDObChUkvQ360BrUILqgVbtY2
FFHppxANjg9CyF2dNM9+mp6rInuAq+8mULicJwn+g0nB9ur8HSglZ26QPCCbeUyCEIZWpDgQT61a
QWNpnEeP4PMDY36KNsap15rTvpoP1LF93BjylJDgnlfgJ6YCDegiu27hnxGVC88szafyzsxgFcPe
e9BO7JpqD3MOJ4waOGcYUNP5uYVxuaX4UETG850Bt3U9+nC780XyRflOAuabP8C7Iu1XFYB5aBpC
g4otjMmYX4DCBwqtCkGz4qhMM1dA9EAxcmPAosvHfRHYmIGoxV2LyhCVY1BX96DOpJHbo08kvBsQ
6SxaQNXGQ/Talm0VRNh2KkqpsgeBHkykE5Gs506Up00b7qEIOXMYiYBuT1EWDvmuaMm1IAO+fgLm
9AqqDIAcY8Yi6oZfhUBZZ1xkSXUHilCBL2ysRG1Poep96NCEjYDYD1HnZC6uJ91Gbd2QFawCDkkT
xC7K5z77ghI5AM6IqAiOEdCSrhmKuIVnu18056oZ1269GGCF+TcOWcekdRMpEoLMl5QgbBdrkast
2JURaKOH1svibpwJct76Xlb0s5gHd92i9vUVBAQaH4SwhaNRhA542qr/DBwfZedEb6RLbgsJPotp
Du0Ic5sRUR+6kI229jZowC/izUZOLp5vyD9x0V/2pb0IE5AMwXcOQBgbLvu58aJCW9wHRQ4fFl5s
6zn7xKfiGQfwGvTXvVvIZlUPMnaFTSNJsZ10eGLcnoPi3F4EeK5t1k0nSY01TKY0B8U9v1AdVEIo
53cGgoWI1vymTeqHUhfLRyvGnSwcMJ6dkcSzO4JG7DzBo3rXz+I0dObTzqZwjM/CZ5DLX/CYaWTB
/o2VFiwOqwbuY6CT90rfEqft3duu7uG7VfUiewG7t4cjjxc+zamLGgKNCnD18FWKF4uanuFkksK5
cY0Ly5TazKd9i7q8pCqLxp7spHXWnrJn4OutuVYPvrBbqK338NfftKk4hTAhbuD71Xos2+aYga7y
VUj7NfOHzezI0zJILgfcUrHjQglXpjvFxL3ooZyYxEVbFNeidZE/qAk9Tw2KcVhcT0VQrE0F5ZaY
zb1ByhLDfgBIJnRhpXKf0h5+w/Apxvc9ptvUhz1jSV9qtELD3FymLLtlCgzAPDhxFHtIDdz4J7mZ
W2cPuQCIs6H8763149ZakMe/31r4zEvbm7dJ+PJTvy4t+HFTMPMArIBu9rufqoBPNaKXQCqKHPy3
S8uBCgtya8jPYRNM0UT8mYTDRWxJS4BuCx88LzC8/sWldQTyoVnpgeoM5S34TeCuLE/3+sqyNYc/
SqjkDgzDPXK+czN1e9W2cTGNm1ev5o+599vrcQF0kXpjtMWn4fexeA65ZK6l3FF9iYQ0coDTwmhp
vkaQiGp61vanOXtAqrghQfhjg/5d0b/k9a/ArR8T/TX4sSuMML6hxs3lznpZlNsa7NXzpvkWZLAh
A1Wy4RwfdjqH0G1NiqcmuFb8P2fkr4+AQuzdJ1gqk1fZgcLAA5i9sF+as2vSFLdjl+7ef8VLg+W9
SWJDvR7Ch87E6Ukqd1DwrciIiY5NxP3LrvTxvZHL9wdbtsZ7gx1VUr3xeTlBsLxDknOOO+4EOs37
JlUX7w/z59cWgKVKcQxwIn6fU9q7LuSdmBMV+oojpOo+PH9/iO/srLdT+TXG0SnAJxQKyDohp0px
AyRMgvb9KMJbkl55+aUDT3gH7dYy4VHv7NDE+2BvfjTD5Yy+2hieyGAGZEi+qyCjIVOyoyz49sEM
/7z9f83wqDVnfV8PtcBbdDoo0ILidIbwLwKhcO1rcsNJ94QO1grV/xXvyKqAxV89JkCZ+yJ+/0n+
FHBAjwPUiD4lPEyPdg3Ylqi0LQR61J+RAiTVOUnRtWqMfgYt+fH9wY7pbd9PPfhGfPkWIFhAx1gM
jMZhd0qRkft+hwQRagCCz+XNDuTFcu2C+FS52VlJdKz9IgbzZgXRauwh77XBy/uP8ofaAKXGryc5
WuSxgpK7F32+m0OoQWaxfG0L7bUpVhk+ihPO2yJzPjigbxosC03l1ZBHa16NKoDfHYbMGyQhFTyk
UQoY1FVRzYmMIHlf2Tk7wcdH1u/P9U9r/Hrg5V282tBEqrb3Ewzc1C99CP0WSHC5/uqp5oOTc0xX
Ol7fY/oqvvM4pJNFcu8VuzSjMUCu0nuA+dcOAlgoKcMIiXXIHhS6zu/P8U+h9tUc+VE0B1u4tq3A
zqLNUw+YL2xuICmJtfqcdR+N9adI+3qso7Ae5l2mswaz5OOz03+ekgtL/Q/O5UdjHIVZlftM4Wzm
YN9DPzbg/DtPjXA/2BkfjXJ0CtLUoi05YBRI07vhkswA8By5en9pXGRbb26m1+/raOPje5WtRFc8
34k22IHivGnD+d6G+qrCJ/hK1kOcNsa+qCBw687eH/uDM7d4xr7e+g5MWX9M0A9gQA/zjsF34x7d
/sbA3UCQZ78297Dw+fz+sN95E8c32Kspi+WVvDpyuZMLSGOwHfvM7M2A/pZX+bEnEdEUrPFTf+XA
+z4f4L5pjPsEpSJMsGUPIBKRoPL8ywTuHQp/9YPnetNu/T0GiaNj4guvnDOJpVDplWkejbsvlBd3
/MvIG5gD5RHy2x3J2pUPsPr9sT+IuMeUSXxwkJE6XWIDf2jMl7C4mgCFtOxhaF78pPng/HwQ8/CV
g98WAA7dk8FHMLEAClJZHrXu09D76+TDmPenbOHVSgdHKy2C2RrWYqAMDYwOvYyoC+xHEeejwLpY
2r3eT40dhS2WVlaenQWLcZgHFhuaOMoDElWgBfySkUtnOvOqT++v2gcHKDiKdciLYRZlMTBaVNHY
3JHkQqdTNEID21T9drD4jo+3e3/M71Kfd07PMSigdY0joDEoT5zLBkzKBLyKEWJ+xp+5AmEPtsfo
sqOpjNH7/rZG3gQ/nzNTOluf2n0V+LEi3RnNYQLLhkMAOJ9WChao/MIjyd4PIL1K0ZDmyRnkMZGE
BPl/s9tRFC5m0D7MhY5iXgYJnHSXmNfk45nV4qaFaYMqvSnCp5zWxOQxqbqv77+3D+7A49QcFgba
g+AUqvTSbt2Jb8qyjufUv8AXImD9oU/eH+4vmxIVM2oBuG47R3fURPzK9RvM0ZP4Hgfh8GvCxx+7
Yo2/Drp/McZQ06qIzfguJACPWpkPwuyfD/mvBzh6yXyYHBiWYJ/U4hnettuG4hW7MZf/l73zaI4b
ydboL0IHvNkChfJk0UqUNgiSouC9x69/B+rpZqnIqYp+s+2IWUxMD/tWJtLcvOZ8F47Nz69JC/kF
muXI2p8cJopfKgFxVwLJxpNg0F+7lvKX85P5+bd7N3Eyl4bEYzQfGUpev4wpcsfB5FbpTUsrbFk2
Fw7HS+OZ//nR7RSprd6wB8K1WNNBWQOH0e/aMl2cH9IlK/PXO7JSSmFuxSVWhMICkAPqckJqxbqw
Bj59LCJV/vfHOVkE/gAS0FMqBpPd9IlsTyTGxRtN9JejcCM0xNS73URYoUlv/PH1/BDnr/LxoHq3
feJZazpuhJwwRDnXtp2Q3LThdOG9/V+8p3cb8wl9NI25ArBFpq9zLelvFk34Y3LjoTGjbUTzRS6H
hUdcoRzuzg/swrc7deQB9DZGAlZgrTQlhQQ0huo7Tb5wt/yXA+TvoZ067X4pW36hYgUc13agFYSq
8wdZMw9GrPP1wm1UazuabimWkBA+5US9sBE+P0Def8DJ7daOfR0m80UjjUv4iFxnoev131OAkufn
85Ih5fePqCWKEpGLwQX2ipXu03Gk3/slTQaX8JCfniMKNcOUEKENNQs/Ha8WFJXkKOqYUiv3dlbm
L4LKuiYp9OIP1Zc4Kdzz4/p0nbybO20kUsZSz9J5j2uB6GQpzdv8gI1G0/SF+/Tzcb3fpyc7raLA
VMlrDLWeuPTEdleYo22K1t6CjoHc04X1f8ncyTQmOdHeen5O5kJLJ/xe0Ck81Ba4YfZYfz0/hxds
ne61EMFd3Z9P4zF/86Mby38xzbfOkqA6XLD0+Vny7pV82HA8MYxqJp5N6g8thxA33kQZ+sHtiAbx
SDdETeA3WEvR2/khfr5M/v56czr4eFVSlTBBa2L5D+hYVckDrSxOgATQeSufXwUqFXm8TvDJT/t1
rTSGr1RyVOr+wWqot4xXJoVubdTbrbELA4DHt/Kw6LRsXacP541/ehUc2Z6n4OiYFuBFiKKJbSXo
74Yyuav6cnXexKcL5cjEyYUK3UlQagMTo5Rci2N9T7hoE4Talpr3e6uqLrydPz+ej+zNv+doSH47
UTwXcpbkWr8wm+46G+9LaddXL2JnkizfS1q997w7E+zs+ZF+elweWT7Z7UMSJaqgzMC6btf2SPuQ
kLREO6IQ7ryhTxfmkaGTfa7DoosmH0MAqZ1s8tyWyFQVXfhw87/lg5vwbuVUoFUWytFoPCaSCqyr
OhI5mEntG1Ag6JXvKgtKMSriZnDJdZi31Tm78z8/+oDkXYfO0LFriD8US3UlyaJlL98Mk76qCmWb
eeOL5A1LEQxdSXdf3ECy/J8m+NR1HlNAf2rABCsDpQTeNZxEAr+XXiKfRpiOJnjenEcD1aQyNinY
CNcdAgGZhVZe1jyO4bRP6W0H8UPFpU5DX4b7WVz4tp+fqUe2T3Yl3KBBH1p2JTAnrvVtpgKXHSny
pLwCdKoNispttSXzvD4/tZ9vkjkdKaPASD3h74MWOrREMwAW6zQFF8Z1IbxV4yEvp+V5O78YFR+X
0buhk9ml/rSn8p5lVLvxNSrDy2RZXwn2y93rXra/EX1wckewfXs/LiyHaKUt2f7WcigZtmEYbMU1
tb0+8vG+bV2Ygs+37/svOzl0fUtg0ucTMamj22IMr5XU3/u1+Xh+Bj49eFHR41qB4SHO3S/Hyyuu
9LLsfSbAzG789HUMv3v9A9wsR5Q35y1J80f7MNdHpk7O3MnvQB9S5LgOq2WavFLeC8HFzf17Q+gd
UY/tCEpLX0qO0BXLYAKha/mL87/h0mhPDt+kMhufhhI2U/jYD6tQ31XN9cjibi6di/O/6dxgT07f
bDLRlo7YtnLX0CUGkSy+MaM99eP2ILZORpXI+aF9ul7eZ/c0LJt1dNcPMQazEVJf1JFozqoHCYGP
/83OSbgOxe/eCLp5YG26mWRkpWt/2fnypRv6wgSexlTHpPaEoWb9BzGwJA/h3qjdWSKXS+5DmfYO
ZTAsBOUxMqwF07ILpJwbDo5pqKA71sQ7tUdcNPXJdhkXpuDT0+loqk8Ojaq06swXWcgyAH6lfQgB
ZUW6SDvTJZD4pUk4OQRyDEDSZhIMK0SX9QAD0pY8dQHA3VYQ3wqbS9fNpWV0ch6oqSJo8ohFP39N
qlWpP6m9htBD4E7So5L/qCn9Hbt7i0JBcaLB51polzHUyvOL7NK4T46KVpooFo9x5hsE33z9QR6R
l1hLxStihT1NHuetXfiep3FuwJ/e2BWMuUie0xmpmN01PexphOvOG7owrNNQd1DKSVX9WtNidm2M
FXw2z3QqOta8qFr6KoFEmcbP80Y/9dDmTttZCpAs+HwsHzkQ3gRQSUgZnSg9EJ+tCAWY25pCa8Ha
K9Eu/Hre3OdOw5G9091RyXVfWhlOg7+vyy+Z9A3JMwlxPzpcrP7ehFySX7D5+by+D/Fk0dIXk7QC
9J21ou5bs6LqLgFaWC8Gudp1HuzU1/NjvGTvZHkaVVz0+XwGZgiu6WINUVVbZgVCcPJco7n0hksV
PZ8/WN5n9Ve389FXhJ+H0mCLSepKF3UUu0bUbgZZW0zhdNdZCJR29DFII6I7GTKI0s35EUvzkD7e
Z39PMf0Yv60i3bcCMWuZYt3qF5Rl3gmeRh2td5sqv9QfhwN+6UOD6I5aNodw5tf1ZrzKtfGQApdH
mPQKsuVGp4Powvr+fGoMyquR/JmlfE+uWs2MFaU3Eg4L7c0KfmjC90Lf6vLBGr960ZeGXSXQB6QO
X85Pyacz8m72FBzS4qFNAU2M62Z8E/IbuC+iXtthuEQG/MIQPz2Uj0yd3LkS1FnN75n8zoMTGZpu
qElXZpzenh/R5zUsR3ZOjwqfOueyZ0hWSGExYrXDrgLEOQBO7PVbUTyEyVOpf6WB3VX9azWkAzi7
cLdeGurJVg6LDHi6wsdUEmUr0y3CFVf0D+cHOh9BHxbz0ThP929DiMWKMGLm/mNJX0ohJRe83Uvj
mI+Qo/0K/cLwu4JT0ByKO68UKZk1XKRiLpi5NJKTtZ9Csi6A+JP07rtdEzVXpRpvz0/Wp4fd+2Rp
J1ngqmgGBRHQ2URqd3ECK4YWHkIleJjx91pdnzd3aTufcoECi3r5LGMRSvQq+p62L9nBaSV/DYZ0
yQFDGXaza/qcpATijd10qUJv3kxnFscvWNjRl/MCn6WnYV+D52TIeysG9fsAB74UV5Q+m8qz1zyb
pfs/DnteUEdmMyvxB8VnjxvmOgXspd1nCsViyA+Ys8berdVktlR+CUvvwhK6NOH6ya4fG7HLgLRy
kJVPLRKeyZNkoRn6jKKHbUjNIhGSRdwu2/jb+SFfOEBPKUc5jbZNI7KwIoUm0RTdAmQ5rDy9sZRx
NYrN//hh9ZMZLuQGZrfKDKcW7eZR/Q3SlgNFbVWMmmsqA9env6SM1Rljk5aI/O78cD9//75vpNOn
dpYkgpc1EKyAWFIvc1OHizEmZFQ/6dJ3EWXcSlhpE9pXS15ti1F/Pm9/PgrOrOsZvHK8wCjQUUHB
sq5lfddoyyR5GCokkIIvpTkC0Mzd2liet3jhcDplkUJtNVUPyuu66b7SK0IR+oV78WMb+FzzczSl
J8efQbVElHRMaTzehsXPTHjwiy9h8aRI25H0stehE6Rvk/R+9O8ztENE9eAHjy0oOlgJl54Rnx6U
JrLbFtQZerNO9lGuGGI5TfwYlDOdoSy/mGJEK1C30rtyCeTbHQfz/3NbHpmcv8DRoeHXot5o6byF
/GEZ0Hk4KbtJuJRK/NylPzJzsnOEWROm9TFTCtUVa9YFdQEvetwKerhr2bWa0K2tERGbMVmdX0Pz
ff9h1R6ZPvEHkPozWq9lUvs4XQXdTvefU+iVuTpcOIA/MUTnhDU37CK2TuHH71OJ56v5OUUDa6Hc
pPrXnqu02cjmhTNPlj+OB+7LTNZDVZCeixMzYSGMKZoquHLL/Fl6CvbtttgkB2up7ZtNs7O+q/fF
elpNP8v78mAuq8fxwgsfKvrHn0BTo47KPNp1lEaf/oRII3Iu5D4FV0NTrpMuWnZS81MY6RxEUjBw
867vOR/kp7A3rpPC30kWTWKzhhkq69WLlTFFpp48TGO37wdAL5IP6hRw/LfQnxKIkw16jH771FWz
ttDU3wp5Sz9r2HU7xQBVjqDOkupF8IwJcuP6gFxAlo1U97cjQUCRpgjI2q5ZFclKykReFEKMlIPy
M/CUnVVw64s0ST0XU5xtQwTfm17T7DEIUQczYhBmWr7sJnQ30k5vbWkU7wLEUFCAkAsI162wEHyk
zEt5gnczhHgTMvDBokILACqEljp1ZfaLPp8JN2h6WFV6RfXDMmtoPgb3Hhc6l2JEtUcnbmgBm4Uo
tWvLF1Cp6K6QBcxssbVuzTK+piSQx2B9G8vVJpX6r7WWreokrReZDl2vCXbJxGPIGodVLI43uSyu
et4pWVY9F0N+RS/9ugzahdFLz3Ph0ZjHyClFmmuAY6BFa1pPWkhRJfeYADansqybsBluYe8+ZnWy
bGjGc6o0uIJv+DMKEqjvNKS7TW+usy47QH1DXkr/os0K2Sbt5GDDeTNFawooV2aN0IDayhtVnJZm
irBCkG59aVZ4U5+N0hp3JFNco7V4X0nhApxQSfFzKHGx1fVySsODqVV7rzdiNyvr+8CyUrdGhcvX
TDdVxZWQojXjFw+6ErI0kg4ezUy5aM2NVwyPeRa8WpIh2PGQSLYqew9e4f+Iy/SxjZJZc6gTVmXX
fxtFbVpYA8omYtFuhC51gE1cB3oHOaN0LLn9nmndwg87+i57I+Xrobw8RdbBGsgFU8EDz1BehOK4
MhIaZZFVUBrf9UqVTTBe5SEz3WjPyMi+UmT5lufGIg7aTTYlV2bdX+lKe9OM0i5TqrdJGi3bMNPn
VgLSY+oIQeJhxDn1Wo2iOMMYoqpuraus3FdBe4uLs9NKGmyRYoHLuuwK3y1Vc9m1HdD7rr1W5Y5O
cKqWws3U0Iki6ihA9GbCIIJU+Kn3hJQ1wqMa/58crfa4mL7RcXyXxEFo57q5HQd6gktlFv87aMgT
1H76FGveN3jxyUauxGFjZfpeok9nlIHUivq9FOqHJifWZtIRX2XNeqjyfhOr7avXFst+zAO7GvUD
tPqdVUlfgtg7FJJ+LQ4DMNLqpmWnILhyFU/NTiPhp7T5sy5GiFaqCzlTryPd2ESev6Ol+nssq2sz
DpdTlyzgRth1ZTktzZpt8WDNajsRDY557N3S90qBmOGVtkGDjJj0B1Bz6wZidCXIjwgKb5GBt3vl
pRJDZIDiJ2i9Bzxo6CiTdC2o01VgGgP73nodNGmZDerSKukF1SppJcHwjgN/64dQSQxhgQ72tjO1
LRWNzkQzbsygg9q6VcR6XzSqq/mlY0rZl5ZMbdPNmoHRCr7XTQKVbSo80C6UNlfNhi4CN679bWaU
0BiMtYeGgI9OgaKzo0K9usvj5KqXhSc0sVAqMb6gp+gmeuL6ssFayR+rwXtrs2aRprPqYOXQTLIa
FdEdgHyVgb5Fhu1qMEbgBdabFForTqCb3EfTcjQ2SSM55uAhsISSgYb8FIp0ShxvrDr4bnTpUuja
Ze5Vqzzk32np2wH5m6li8IoB6ik7qBbHYkCAQch2nM5bIdV3SEE+JKHq0GW70Go0BBCoXGhqtfDJ
mOh6sc5941ZNu30mpQ9RqziTrF0BSHWRA9uVVbfR0FlUkuw6nKqrCFKyPGvZlt6eWlaKAJt1k1o7
GBT4RvF1QXSjbooKArl1WxTlbSwZi0BOV3mi2bJEo7hYXSFHdN+3lCEn0XhFY8SyHMQrqeoOUxk+
TfX0VRYJyhf1zg+l+6LMVjlR+UIIryVjfM49pjvTF/zt1qvllaEIey/Xn6PG/2n0ynpSxGXa1o5I
BiocoKqGyaJq09VUjMuqnXZJrP7wK28jsIVoczJsLROvwY8tRTNf17qJDMdwnybZa9nrdMRZow1D
yZVAZQga3br6sCgazdbVwG2ScIGW8UIvohuiiUtr8jeGMnEv1AVyUDnkTuA+YNOaXj3Uqb8NI1jt
KqIibbQKaP1N5NyR5eGOBid3yk3H0JslXDEXoO9BEt8ysdi0SFJmlb/zzOox9CFdRMqyFov7wK8X
tZkuamNg1/ZuIMR78uRQiFJ0XjppbSTlc5AxIpJxpd7rZOes+0EsXU/sEdTO232iJI+lFnyTo3LZ
o+Ttjarbtfld1qAZIg57nG231xG20/VlotI4PjaOXwVOnIlLy4cBF5lMbhGg7OeRxWndNBBfhEGh
Sr8YtlSDb7Wy2plS/wXNtoWYR3dBGC0gYTwJkbGeUIitR/N7E9Gxn3Le6cFBwK9DaEY61Eib2ZoX
vEKXq64jGcp4QQd36PENKcnbg59Dw7Tzr7O8R/7DClLHSyZxZ4i5uJBS7wpf9ybrrH41RJBHepEs
Et/JVORNoMfpJtO9RV1JTiga0S4NZWBsWWzrAVfTOD5lSLatEg1cAXCtfO8lrchNJtEN/jQqcnUb
gGP7TwT0X4zZTO//7y3RdvX842de/fjYFD3/3XtTNJxRERFvVMNBu885l3eSh0rJM1oZFloIKG/j
KL9zzCR2Jv8brA4wonPM5K+maOuPWe4C59kC4EOr3z8iE/3p8P/+wBEVFo+hQ8SXFWiTv787/F6q
JE7xaB3H5tdMN8OHDpU86Au+udbxztReN5YtvQheKR0CL4b00JjwrF0/bR/J1tl60XibzFeb5czF
AaxPZQZ9d0lkPAR6Py5TI+fZFEhwZUTxfmr7n+qQXSNM4IoIv5TBXTwrRwl5tyEPhrxmBMZxylFK
PSRQxv3AczLLdKZBfmyM8glezaomV98nRmfH4aq2EtvM8y1FRtyAFfEU1A6HgykiTmTt4qZeVWhv
GleDqC7E6p7ILpunXgSo6ASj4fhjvPJSeL/jt47jtC7uKUfnipVQmxztoqjZ58Fy7H4OXu8intMt
Iq+TwPGoiJ71BMamwhU77SHMCidK7oVmWIBlRlHowOm74M63gVYd8MCcWCMJ70/BIkPaqsHds7Om
5bD/ik6VowrPdR8tkQNdi8KzpQ6HUEbPwXopwRB3ebI0UT+lQd6OkmJZSsW96SW25HvrCj+VNlM7
84St1HwpOOmz8WkwCJp3/bLoykOVXUvmPkAlN6RlQfYVFHOS66b6kvv+yu+XedNuDUueZVGJT4CG
sxH0SyvFtEv9Te2lhZCqK16mrlzB6jBtSLZr3wwcpJPcOg0fG+QS60p2uYRXrW6QbRG31HjyDDHC
h3Hq9vEAz87TF+V86xDNN7zNQFDdQ/hNtspF6ZlriWVi9IM7qvVKEhFYgw2aBsZOKeWtVpg3FGMs
6No/dMUPI8WBTLY59wBnO18ocOqohY2ib1NddSTeTkqhsILSfdVVS0lQkM1ikYbZSzEU4FPU2o54
HjhZLaOhOyXrqoCaOaChJVg/2yH6yuK7qvTQreE7hYJ/3w0G5SI/O+Et1UwUPe4rxBEMq2BDLAtE
eis0vATf0fNNy3tPE24A/juTbmIzXrUmEXHE5+ApFfH3ycSZpNojEgnKNBtTOcBKQLoTQcDyodWu
QN84HbXaWQnIqnFKvDmEsJV2TYk4LUG3pUUzX7A165+hBkcAaVNpm2cPQX3I0r3SaDNYHV/2JrOM
RWRcozrNBF3VvD795DEuX8Qeysx0U6Ff1ZiHFGXqjoKq4oc+/ogJbPfmti1+eDwb5LBcmNI2wM3x
yet13beIxs8oQ4zZutbmVG7i+DqCmtnjoLptsUdWjStdJF792rMVvHqXppZTgo0BCGGLZeVoarJV
+d/6ARXmkJUor8vaVfBLM+gjgp6tOmXblOJCCNHbDQaAQJIbtZ3d6smiS9tNMgg3BXcnBQjRVwls
SdJYLrGMm0BrF50abipBW1ggZ2lIm+k2Y0kOCeBNqOeEOtNrv/jSzK9jKFhGt2hSwy3SrVg/j8FO
Lr1DXW17egjN7GpKC1sxwm3jP+uGttVawPaisQ7UZpfmX0HVrFS1t8tEcjXvNYpfpULZqemLINR4
pxa80+AqaXnuNW7oUSQuSvu+RpTRjG+CZNrDNbcziD0F5B50J8sd2zYTGgev/NGAhhr0yas+Q34Q
bv02mdEtHJhNUDZv08wA6oPe8bIytSkloqTeL10ZUNDY5RCDZPFek4QlsuSwm4EKDe1cYiRSOZb3
ayEfnR78UAGGKFWmFcUtewk9R4A2JKtVni658TRz0boZYNTL0qoscoccn2MEb2PKg14MnA6JVFA0
2bchBf+ofFU5fKeh+FJF6tfGl1Btzr7GUkjPxCtY6kOYqz9koEmW0VBgVcyRFP2W/odlkI67UEWm
d4weEKXfTqNoIwCwofDW1nzjTsmDFVp3i1+3879uypxx/u9uihM8VzRaNG+f+Cn84V9+ivQHKDHo
Acpc8Sj9woq9+ylABQhO4q2ov3Dqf/spsvEHwDNZg5aAUoSOj/Pup+h/QKFmg6FchUqXoZn/BN7y
i5hy5KZoM7gM4hmhS00ibniaFQtb0UQ5IpNXKJw02mMeWOFL4COv+LUS6/GLbvoUF3u1UKdOW4qU
QeRd6y2QwUsbJ/+FXe/0MocAHICa8thfGWFyEvq2iBDV3pi0lRXn00Lw0mkRmmjlrZMYppAp3whB
gXi16imrMs1fMr8CkKG3VBTLBNa4nguEduQ/yx3+Xapz3ciZpZp8xvmc/+ZolZrciajrzPVE1Ise
e9NkPmCkq/xDuDt/r9Ff5F8FkIgG/QdRgPlvfveliYP/B6Wn/ZM1+qvV4n2NmnNYHU8dGB5rdP4Z
J9mgJjJDtZQhDLEMDUQa0ftL/XrYiENw6+cx/NlJcvyp0Z/NJBZ2ctv0m9Y3PEfNvc7xA/Nb31n3
nSika01X+4VeVqNt1XWL06VPvi1aQbLUSvVn3xTNBtcwhcnYhnmj2FOXGYQoLOVF9Qf9sUqTdtkN
IhRIfQi+wGQChTHAO7gpCr9fFzhps4y44RCfSQ9WX47X6WDKO12rhmUkh8VjFcjFvd4i8kFsuXLg
uQm73FCXlP+8SbNbrxdsNQWJBSqy+2hyLWJzqhtMFAPYQ2Sk5bLM6WBd9KlZ9st0fh+gFthD+xSo
r3DDnhh9I6E/YKBA9YDMp/lnIv/fPTTXPp3ZQ3mShG/Vx8N+/rO/tpH4hwk70qTcmi10zOmS/uCI
t0hA8cT8Ha0t639oksEnMoHZovo8Xzp/bSPtD444ZB95jfJq5ab4J9vInPM/79sIuS6Z32VRKwir
ixepyFY+TipS3TvGteQPKyJeSfRI8VFYrb3IzOufU1YOX8eWt+RezsJoQ0jze+6jCwp5v1AfEq8Q
NdrTrdg3kJ3EVU5jBYB9WuRNtCkToXlgi1T7QcUjXfamFEf3RaqEN3msyAERV98O2mpIF6YwmSuo
+JqPjjSvPV/e5G2pfCnLVOh4eFGOtijMWa4e6IW5UMRQu+6NKgU3mQtp7+ieNL5qY5EfApCFDlS0
vnD9ZFKbtUK0ZivFYrVBh9C7Ldt4XNQlvmpZiMaqUMX+qptiaVmKSrFWswGVSRGONmHw7GESqVT3
4mk3daaygGLf7SpP6jO3GaNH3Re/WEZ91xTmnRbktJ2I8RJD9cYK9MEWejWBINt6jhElpTsqyooA
rbLpg+QqaKIHr0uetcCzR7N9qdWQ13mpvVXAcJdx57uiJ+4TwFXEwutrsFRh869z9h+sHsv77G5t
05fw+ZPtyt/9tV3lP9gJGsodM6T6z8vt3TeDkA8en0zqf5B77yGkGUw/y8KhijHfTe/71foDZ42Y
FCJINM4ZdLL+A64ert7vG5akAj9BUkxx1lc0EAf8fcOWQFkH3Y/TNVA2AJVyN/A4hHQ1NM1P4pIv
9YyzRDR638G3ZKeuI1V+HuFeljMAUylUNNq7AZRsSS9aUX/NO/O+mbGZIfzMZAZpthA1Wygd/GMe
N/Cjdmip1StTj26FjkD0qEo3mR7dNQrpqMLXbJ8koeoVyQJY+J3QVAiXqwYqxqnsmOoowMHM4UK3
4yybqCFZkeUO56Tte77gtLUGAL905k1p9kqySqzwrjWRWFTjZtug62MbYXs1Kin/Rdl3Vjzx3o9c
0yqbBSoe10MeyhQNEnFOQ9XOIlK5goGCcRf9EEr/4OUiSY5BWSWNR6YkMurHwotRWoaVb2uJIRGg
r6tbH+k11+sCfoSqhyvBiGun0Chw6CvZp5ijkHJGr42IBHTimxomTXWVKX52gziXRdiFlEALCodm
aEl5DnXvdgLLuGiM8CAPNWGuroTb21RuKatuAbmjz3j3QkIn9SqViFZP63YkBDhVtJDwVMvbcaX5
1j1JTdXxc31Z1vB+qMmtbTXInwcx+pGUZUxkjcKXNNYdqTTrlR9OsQ3H5bs6VC9kOFaK1V414laq
/KXRwV4LgjlMKD/4ofwma/Ja0FQ6uMWEPIk53U0JwQA11e97oVqpVhmtvCh5CHONynU5eSYC9toQ
AcC/X5RyeFdHke5WVbwr8NdtLU9XIqrb6HhN21EW9kZAaE4YzV0rsb08GreRoLNJVB7aJHz2Yl7D
cU3MZAoEf0F6n65dofuC3jFRkD5XXc8fvtZ4XolSZ+gvldqyVoZ7fySW2MtxvRwbWXVUqVibqRcv
aq151Pt2kYLzXfZhNjiWr6TUhjdOoOtPQ4RXBF55zkbtTDV4LccoIQQxQoMtCNm34ibp04Nc5IWN
pMJK9a110pdivjLFvvuhC2LRrUg1VHbdTPaQq+V1IYiAzsYhNL9UYgFHVayVxThm2iPqsN0qqYKn
CUbxovaq72i3bNByZIGp9JnGN7nHVoyTbFlMqmz3tXFbhI1uozZ6Qznia2zob4Jab8G33qOM8qWo
1UOTxrHdDdDfM4nih6QcD1LZ33ZT/aIhMdrUQrccxMa1yvzN1GeUDrTZxTDqteMDdrDR+lnGQULC
Bgczt9JZ0ipfTG0RrVshyPcmpNtfZ+u/LuEMTf3vl8zi7T5v8k+uGP7qryvm1/Mf2jgNjzoYlt+e
VZoB7QBZYwu5KQm37y/cOFJqKs2RvKgQaeEuIX/xl0c4xwXwFlFboRBthtj8kxtmtvG7R0joAdmW
Wc5NRjTSmivfjsrMIikwkskiDp1HuFwECXnfl38+9ks0qOxg6rwn0+uoMSnFW13Lw2I9qtQK7QKk
IlCiNeVpU7LydDiQGQ4PMlB5vhs7I531Q0xvcnUdcJb6K1zw75qjDB8VMdyAM2suHMK3T5Ycf/TX
kpP/QEWWgjfJ5Mnw+zNEgVaP6g9JM5j1+i/xn78W3ey70GNhgVrA4TB+z4zxvDcUUTTQ3ZuTZ/9o
0X1ofMYvmtU6dAkNNhhMJ6/5rNBKdCQG9CaM+rZt20ONKNfQkHuSh8FV5fLKNFJckHFbiurmaK5u
/nzsHIt3sN+OF/xsEHge+UJ2jqay8H9f8FKQSOQ/6hysJHkOBeTOlW8u/x82eO2RkMdT5T+/2wiR
XZXFrM/X+G7cptaqk1IH9e0/Hfv/ygL+dChHZk7yi8BmgzytMaNO3l0e1o+xCn01ii+MhnX0ccaO
zJz4oHQ4oDdadvm6kQQQ4aITCgMdbZYTRYFzfuI+1I3PH+fIFI718WmkeAXGZlOjqjmiX9sJFR5j
f1OWDx31POeNcYaeHdf8z4+OvjKWhWmgnImy/Oa7WtPrnfqZe97Gpbk7WW2G2qA5lzAglfq/vPKc
InU95VGSv56386FA+WTiTirAk7rvBUvBTi4Z12EcPKph7qoSCd3MWutNj5zl6F8oN5U/HRyhwjlo
geznacFr7ZeBBFU+nwtefzbL2jVX0lJ1tDWL3g6vLEdf+PZL4LwNTnKdPJNW2xa34+7Sz/h4mvDU
Qg1cVglcmuhO//4d2xDpdJnM+rrfeivZ7V78R/lmuMstu36qXNJS9k9rPRQ2DMJrsnT97fmpP7lB
OVAwrxuEVlDwFrnkfzePInzLNszztWXZSuqobraj0mrcF9+zx/OWPlYY/27qFD8+VkatNBWmVCQB
bXFrXsm3tWvYqCa65Sp1/Ktspxd250R3wir/1t2iSHRh03zcob+NVjmZbBMVsU5u+Alj+rNuW0Rt
yIjV3+XguSwudCd9XF6/mzo5d3S1yuVqNiX1VBVQmlc3utOQIoi9C8fOx5Pgd0snx06nKX5QFPMn
HPGd26fWeDj/5T52M8xfzkBbj4cWErmnDSqKnBh+X6fsT7d1ohsBhY9r5SulxcNd+DBcN4/mXbUM
NtZBdy+2GH48G363Pc/z0TmHRl2sJB62K3/R6oMjC+hjUDLilbdtaC3Jtl5YI/Kn8wlnXaT4RSal
cDKfwC3SvBnDfL2r9pNsK7Id1rbsSvZgv+VP7bJxzdd2X9nh62h7jun+pLbNubB6Pl6OjProN5yc
7pE8lVI9JPk6oyxB7zSnCB+EqV+c/7DyPJSjiOqfu//IzMkBPzaDWBlJxH64LRnMqr3uXUKP9sH2
9/CP22W9kLb9QnJlex0vs1Wy0i78hM8GSlpxjhHJxBx+dXgcfV7VrMpcH4VsbY6la1TTHQWkmyhM
L8znZ7vx2MzJxs9zVfPNwmcVBcGuySu3St/KUnDlS823l8Zzsu1rTaibWA5w0Gax5MAW6ydRv8AY
+ijgxn48Hs3J6hDAdvRjyqQ9HaIFB6dbO9byalik9oyEeU1Xq3H5PH0vKPv452cN2r6m9X/snUeT
4zi2hX8RJ0jQb+kkymZKaWvDSFMFWoDe/fp3WNOvS8nUiNGznln1dHQVBMJdXJz7nenhVkYgOvuO
fTFWkdSmbE1kptjAi8GORsvlhSX47SMaIl4TJi0biqf/fQG4XPM8kQTUU+psregHUD3spC68Uvun
XZk1MttYIhQ68Lgz2VrWj1q971qy0AtpqRuzsKZrG2QlVbRQjgx0iMLtsfcH4ksyDusS7kNt+Ux6
ycmHAFZzrwpEzMnwGdPRG1NjYZlNM+LLQp91dnZRzrNKgU0TfgqrXyTs0QB9LfT2amenGwPuYMgg
z8lIXKkzKWIYs7Q/4xYDWzmI05uFMft2fk/dgLXqdOtXdIgJvx4GspBkyDRrbD1A9a01HkteCH8t
UwH68KVz4Epx2dQYLo7IXAMmPA+NyiAORr0gbF1kP2OUvFbDIwTShzrpDxF0vjmkW306+MP4cXtX
vv4l/253Hie1uBa3cYh2h6K2zNjr1M6GGPl2I1e4CV96920ljwZlRi8zuKPKLtLcTiORQ1cTlE7o
GxWVzXgEcorykEu9XUKuyDWy0SLEoRCmdbQ9EQU6qYr+W9/wHy+FV+cp4gxklZA7+haUd5kYtb2G
vssJtzQBjtAI/m/3/HfPvq0Fk2CuEhnOn/NnxMYw+pYWA1sj53qIwOo5g5LWWj8efg6ypR50O1jD
oNHWjrH1iYc/wMy8z0fisMoyPp4P527h95BrkxqSXRk6cEgD4Cj3dVLnA/RYSteAj1haw+aFbHqH
uOo22aTHZB88FC/qqnPgnGWhVsxCJYVlrvINqjY8cqgWjskrnx9gVkwMQ8ObDab9158SyEPKkYdm
6wa0GRp9ZPrp9se/Nu0uW1BmyQUTmFRTL9ECvI9szY4dyGyd3jIjL3DuOiewUG3NffgAL8z3bwEA
uKSQhiCcMwFoVec4QAqJhCgHEdpFzxgJrHCy6kMIW9IlJMqV8fzSFPn6EdVOb1DTFDJwZ6P7hCqO
CR5mWOJ5qvRG0Fpvf9GljslfW8tzFRqlMGFrQXQ6ltoaXpkrHrp4NF5oiXy7qs6+4TR7LmI1AcYx
g9zEOER2mZue0wfNjqgNeo7gVh7kt8Qy/WLL7HQd/ij39cc/t0HCGJqoglUNHbHiJP+5bF9KVbGL
UrSvyzGsBUNb7RfSa98DYnQRYQdKIKDYQRZxNj1z0tM+LvoMfgzQZNtAx0NuY6yYEziBl+xcPOgB
gdtYkY9qy1XwAWSydR/YS+fcPLE9vZx++R2zURWzvkjaZsigtHfhlpn7lXVM7mvBhsZ6pViN07tx
BUm8FTzHVvv4j8O8WfOzkU6lAkpUBZ8hTXZlgEWC7MDtabvYw1lwlILVT/UaPazceofyH9tH8Yvh
Kc7uLXQDt1qb/rDmnuAvfdvfW8xs///ybWebHC4iRicYaDnCY4FbbaTYMmxE657a2LUP8/Ttu/kx
thZ0/bgKUcvXnNrt3XANzTG9wyyHqtgOc1daMWvw6tQSvdJCNtYy3KVA+AqaAfMAmWYCI2oDbvdT
rHCx5CDnautw7DAQZPeDb6bUlKite7t3mQvXZUdzbw/Ltb3rsr1ZUBxCRafp4KmsUauG13K8Uitg
AuL6+89ps187NhsEvS47DD8aUvDWWJrwQi2PXISvfPd0u0fTX/RttC++4Ox0DaFACPqqztZD6qMo
ytIkqLrvWbvRzA3M4hem9cL3m19nh1Fp5WZoszUv0kOXo5y6KnZRX27GqYa9+ksc8x/DpYXO/eYm
XUyPImAC3mnRXB9oHhuYo5sMSqNtB9YYB4I1yZZuTUsdnE1IebozRXKTrYO8glnnoK9FnmxZmRxw
KzyH6dKOfC0iwU0Q6jEJ9ApkKL8ugCDOoVAsq2wtobAh0Q9S3C3cKa6E23jZ/LuFb0MmhCaHn0wG
7rH2rArsQyS9y5FOuz0Pr4CyMeMhrdH06VVLnTsjd6XGCU3ybP3En0aHeaFTup0D4YUdWv9FsAPw
N8TXCCcnnMPXj8bg3YvCGjQVo5QHNYQ/u5buO4bSLOWf2y2KePP409RsfAahD0OZlhCmducYlbaR
D72cmMI1eGFlXRumi4bmV78M5rEpQP6YePyn3KEcoP6QlQUSz7XJdtnG7NTNa8TFrCvQmeA9Tvby
Imfxanxx2cLsYC16g1FQALJ1ZzeuiaxicY/Km9qqHlFLYusragMi4Uj2c+Pk1mPMbRQFGf/FHn/5
G2ZLuFDBuigqfEm18GN+P6J6zKjWQnSX0R+35/y12PSypdlpMtIxY4nMsrWehV6QZG7cy049yHuu
6guR29V44rKtWTwxUAFkgAi9EtZhY49ehSnyDP5Dv1VXsHXZcF/z4A28Uj4GB4ZAC1TY7yk5REyX
zc+WXMPoyKQcA1t66rHRneppcLVNsNG3sRft2TraQfHMrfjU+ardHsqNsLDml+bubCGKUcFoJaH/
sNeYtEbwIecLTVy7OV92cp4Zl7QqT4UObWzTh+wwwNQQ1d6OaZnW8Cs6aPfBij8qbrUKj9on6CXu
vXqnbYfdcFa8CPwSv/0FJON/cWW9+PC/oTIXR2DdaCVve/wmTnKrUu5itVro9tLYTiKYyyCsFcUg
BFM9W5M9xXAqPjvGxx5CfuAK/Pj+ft86ygq5XkKt8a7ZhpvIu72Ofr9FzoMYiDJlKB5Q20B+v2Ve
dJJnsaTWChbScB/vug0qUaWPzhXdH6PF7VVtPSNRZIdIBZ9+7g54qbR2EDFa+RbIFEvzopdwYQu5
ehW8/EGz1RYldBC0lCMu3UkoWIXfw16GGI7a9Ge5ZWsXTAXbOA3PiQeVWv/YQ4m59HA6bca3vsls
xbUGyihRcoZtzOJvULuRTe3IDy8A94zvuboSO/sjtQ7JK7HqPW6j3IYHIgz/VreHZhr7G79inqxL
hQlymGJuJPlnzF7gMtoZC7vo95fq33vL36M/T9XRGmW7CO6ydeMmW+GYbXqfnsKPyDq5NLD0X41H
V9JK29HNya0CC3q5ffLcylb6cruv8vX9/M8PIV8XgkYh5syFLFvXzt7rt+Yh2oTHco1T6mn02Tp/
Rr33eXhMVq/MypzmrnyLEltZdzt1H3iapzEHSkrgYH6OsfVkLizT6xvgnx83O7yDCKIdXcdX0uhD
VG10aBBvd/8/HN5/Wph+wcUqVMQolMXf44DDu3WC1Q/iohTy1f9oHHTxbYNKWUu0Wje2qu3Sqb04
C2ZLLsY+V9Me/Ws9VAOnqCa25C3dVHg9p1bp1u5j9xzvY7fwFO+grxq8Be9e3xrr6fZXuJrBu1j6
8xxhRItGKCl+B38jqRUf6X1k95veFdelo79C5r0Kn1M3sfTd7YavTz7k71BpAuHT/IHBkEFERIEr
Dnise6upCqfPFK8ZWWnBwXgJ9L3U2mys9WKArHFEL4GW2gtS6QwCXTdAi2bqwgF2fQf506/Z6UKj
rEspTadgXfRSldhanrva0uq4gtCdApQ/zUwdvpi8WtIQsyFopvTM6SAL7a2+7gHudRQngLL8Y3xS
F5L5V3sGZQsSKpqEwp3ZjO3TigW1GSMkkR5kegc5pW1GC21MYc23/feijdkpMIjlkIC/inEyYZGZ
E/m+blXgXOCgUFTE7w3FDuF0H1fywsY//fhbDc/irXJQNFgb4HvWZunirgWn5YNRr7koOXEuLcyR
q3vbn17O05Imyk6jLMCX1CX2DFPXwiJd+nh7fUlXp/xFI7P0Kq05iBMteqSNALIZsoKnISW18i5e
R+AbpR3zhRjYMAOo3VzoT5WhH7u8h+lk8BIVkY+599SDwXv7Zy39qtmZI0WSEDdT16NU407Pxq1q
Tni5TnTTkL3ebuxqvs28+AazQ6TLQ3GU+XTCeY3bFRbfY2fJ30E3cqHlY3aVu7J/u83vYwuJJbQe
qA+V8fLye1guFmY20EztDXQwVITcSsd826nCgmLg+0f82sZsJWrVIPAQsLx1wn4qKK3skMUEyIum
S6/AS52ZLcc4htOZQaJsjUJCm7avuWksnMLf193XrszWXYrSapOH+FxlNdhMGfyWCNsow+UOPLlC
XbjXLfTndxx8MThUEniQNKhgqhj4J0G5C4fm4fb4T5/k60bypUO/bx8XTZhNUms5wBQTsmWfEvOg
FJ2bJKguYgFK0TkgUsFCr642iZJnZXpHQTpq/g0lvTN5gunQBpteh+KRqivdjIHWedSrzKJLjoXf
BWQApYp/GpzvX4Ugq2Wgo0HaPXapVfqpY3RW8IrqIV9Zp6fgQ/TEXdFa/abxw4Xeonb12ie+aH62
s6lhyE2Q9TD9qWK4OkHxWAHIn6RFxarV5B8gE6kHLTMj0CaL2JKNkqNwGoxJpsZuG/HCGpkRr1JB
pStzgDEbj+RDiv9ZzAz2I02PZdQCFMPTtc7xAdWu2bcFgKW1yBERYuEfc1q9l7qOB9yBH9M+Hi2J
61sWVw880L0ImBO8tyqrJCkFOJT1AHpnodOCNL6K5PRlgFWGH5QoMTXoWFm8Th+axtCtskx/dmZ4
UkXcr1MSMCuXUNGWJM0WWgkfr1xg5qh5YZWRfAxMOXLgXnUwO/amtaHicByPngi+gg2n9IeM5SUy
ugbf1UGsWiatVkok+6jxezA6dE8jya5FnQXK1WEz3On6cywBSq0UnFkCRXFXHmYeqiVcUaIRHDWA
Zh0qSdr0TaGh3qd4VfVwpyVD5HUpXtEGGfTRQtOtoimobUoQTJXgQFuZ1mX2aCjIYMBWua3hREok
HgCEyUKrApfSAkfnM6RR4aLSBCy09IOS4EmNQrfFyJ3jAHvOxEyUOvGlSnofgBnRQbkZIJtdVrk8
MSFxi0lrVcl7pu2yEbROHtpE67dgxk4meyC94REQRa6k+IhR/JYLKHBtAz3FfpmDlNu6gZGFWCjk
XEuRbItm5Yu5VroQbvxEwVexhq74taQh/ORVckdK9C2X04eaxRJwP9K9kRDuGIX2DsAJezFCvEkH
NQhLfa6+R3XDnKqFg3RdNdN028KG7x6EnjVXxMlsba+ARolqf7tXmxIVh4qtR6WbpBhv1pwUMd9J
3egJ6ugbQeANivGUqpIrj5mbN92mHXRXitsNTp17Ja1dPTKtfohxylHc45rkwAHk03n+SHjmJFzd
wfPsoeWxw6vEluO+tXNTtUZlrC1eGk4JKBIr8tdc1w5lwx1xTHaCgKpokp9UwXSCKrbrevC6IF8n
AFZqnK4S0KxUtfEHTQL1Etz4opQcBcwDsdFe2jr3mlL3y6relIlx1rrYlRHsxEZz7rvG6uLoXoob
L++TXZLXniQLttADk5O1J2aKVpBGZ8YbVO5poBCAJY59bazSQwSTK1SGeLRmXiZD86tDiCxuU0Vb
MzVxIw78tlytGjo4uc6ORaE/N7r8qCvDgyFWP3oT6vfCWMVxdOAFYJp55+um6Yl1uxvhDVx2MbP0
tvUS4Gh7IH1QnO0mKoCUqTai4hRVbnIHNhVpijs8BPhhJdidEJ9ynr3DSe+UwwUwNPUHNea7VgvX
eiUcwSI5d6z0mwroRcxKEHzaj6FRXxhARpZQx1uJm+dOEiZiq88IAU9SC980gNJY1ABTlCMZD6JC
W+xRTg+WGAdVNthJYrtuWxScj9UJT+BYQbqlA7wT6uE+Z/FjWXXvDYUAJppgrwFAWJ25KjWYW8ny
nhlAXVVYiZCAncScbFOxYXYOnaxQiZNX62cft6suSLaJkO56jrt4r/lGHm97SUGIE750Y/ZTCpM7
IFIc/BlbSY01SXMQqVLk0eT8JAAt2ihFYTEhB2k4XQct3r2F8mcpdX5NYYEZ05dCkDamiaoEpj7X
sKYPMuRXqwYV/Zh/8DKTKtnXc0CkukB7DXXZ0SAgTHNttJNW2DTGz8Ls/c4cvTKO3qhBVmWNihoA
8fAvxJ1pJsRCvSRgb6DEKHiZxp4ki2STmvlRTCBPMRpPosopjMuD2uPBjQ4nQW/sRnuEYdyjqRO7
GIojgzdBzKMV4Ivnjoh2EQnumPio5M1z2wzNFd7AbRrTQ0/wcEIfg8gaRCcvR1RDq8RK6sAG+XOb
E6QWZU1bF7x8Ja0YWn2Rm1Zbx+BZNrkFh7WNFg6eYO7DoLBF7JFmn9lJ9ppBq6AO2AVK5VXHgs5b
stWj+K0iOmwqal8w9U2fFTaZwJZ99VTw8EXixjtMhLY1GLIqAQrYDB0R0DuewkC2wf/HU2YLpYkk
9LgqNA6LRzuuREtCuTM1qK2UsdvANFuQpa3cYffE0cBU7JIB1CkUKxVkMLzKWiRoD6qggHovHuuh
/Kknxqoe6KEBATRIUF1cYVeKsTXkmfHRRsOric+jBKMIahpKu/sRhXqkfe0TY6/WsvQQSDCaTGHq
/hLXveJUkmF1A6A+XMA/gRK/4yPSJUPo8CzweQK+GiTHGSAJWMMA0KVn3mNQchkqfZhZKqXflcKT
GgRPAYNKjid+hgt6a1T3JUnBbKmluzaPACcbZZD22KaUsWQ041Po4DpWMNNSlOgp1eVPXYJ7eIHT
GpMb1c9YUY6shGDGRrZQAxxuCkCXxuUGZkmOmCdbiQ5eL8TOmPX3rWzugHBxzUyGkye7B23ooEWm
XY61M2ohHFrNo4hCGb3XDl0iPI9B4TRV+Z6NyQYW0VYDTByO0J2Yie9hBm8tRpo9o/05RyNFXa9Q
7n0UhQTuTTiDM2nbgH8qM9HWSbpqOdu2MnOJOp5DARneyNjxMo5Bdsy3XGHbnuuHgSi7Woh2RGCA
/hZ+Uio/SUPXKljNSaiBepj4HSltQF/uCYDnINOCjoiDyMgER4+7J97GGxEccZCedxkjXp/UD5lE
PDHpX5miAtktPdQlDrikWNWBDj5c4VdGfQf2qt1DRWKNZWoLGRywYQSXtbCGi1JPM4WDkFaeKHti
2Dpigor3JF9F4Jh1mc4Q+QAlnIyfIUsexJBvFAhdzIAf2rj0AWeEsGnUt7xVEVKYWE+BZebvRJJ9
0gOCV+GoovgPR1NYSzXKhDBfcpIfxthwcxhucWQEqoFgI8VBbtSOqdQHGGT6gK3aYg3MuJ6vGzKA
YKv80gmKepieYWTC2mpk3csDeqYhu++H5DSa0TrAocUYfTbG8BM129uGhhs69r2HdbKHSHpHzeLB
GIyX39eS/5VEK7hR3ihPbdq39Ep5Kv7Q/5enSv9CtQJUkroJeJSOcuYvNdHTkzskRNCooRQQF5EL
6oahoVRaBglHAR7s75LoCUMF0qqJQhOI2qYS63/A3JBmrClURxgKDm2k+nRJJSKCc9yFLq6TwMzE
RdkMQDHWAjaIpClBKye4T2quUoXdipBMwP4tpOloEYMBYlxoWgUkc9OuZWOEn5CJMMIg5TnrwOum
GQ7iCiZf8AAQE+BMo5+1UB9xmAdugADQrhmiOfAsQlsAkBwUthxxbNDzygtMIJzLfAxXQT3C1wWc
cr9oohGISQUHYJnIPrDNlYsCkCfcswnu1zoWRS49kkjS7SZUuUXlgCGZpyubXks6XyPNWSjbfscb
/SOl9U7tZXiLV5XsjVHxYSTwfgM6SnVCFWerEXRgoyYMVxkjtOD01wLrkQ9DBmZo8JQOYoIFJz03
Kt5LtMrDfzoBRx/CsJJxaNUHrjEbsbbbmsRp5OA+1cr7YUxd7PQ/WJvdGZnyQqXuroa6IsrEp1rD
Jt3E+0bpaxBTg1+ZEm10Kj4oPQGhsRJ9tZNeUngdjqaJCBK+IbUaWdRgv6I89qosWI16fNAaAGHz
wIicWk63BXRLPEuPKkvvIBJ2wq55TnLJp6P6JIX9ahiDO2j7T2UbOb2qvYSydpL1Fi9DyWfLzS3D
lQjA/ru8ZWuzwO0a4Q1eq7dNn7sgOVBQs3UDcUsIkK+RtzaqZEDcDAX1LBgKzsUSUPg8iMkHC0TQ
awNVL9XMQuFVHqSfZa/HJULyieolJToIX7lRIMqPjSHBo3sXQFA94cD6TgYYDIQwJdQ8hGwCokGt
tKMir1YsyPNzNKHFxFypThFv24861fo9EcMBDF14IExmoxvsugi/UvyF4Jn0UWu6hlZL/9v1kHlB
Ub6OlOB/3vUOb1X11nzf9qY/9WfbQyLAAJEKMEhomAwklf6whrAfYgsjAEVORUHY3P5sexP+C+VK
kiqDTTfxKP5CQWDfQ+IDGnPc0idpIygR/2DjAz1inuTRIQ0GAsL8jSBAj79ufLg+m4ySFteFRmgw
RUc+xOSYxiP5ULOEvuIcxctcUWpnsWRsZU6TvZ6mPeJv067NFtskAsIWa0NSpV2AtVJrKBjD2tFp
c26wlkC5/tRV2MpoxqnDWmvL2FGx9oaR3otYi6i3e0qxNk29e26xVtOM3QHwcsyxhvuCbfm0qLWu
x10wjA5gHK1irPtOKn7RaSOownTFQgFWJKYLwPJLix1DGVQw3LGHpNhLkjyEI/S0u/QkhN0CcYaO
PIVKsKOkudOxHWXYlhgffqAQ3c2wXbXYthpsX4rGXYbtzAyaQwqNotXL4kOADa8Sag/Qiz0BqTWZ
dsSuos+1KGdOiQoMUdsY095pTLsonNB6h2JjzXE5cfRprx2w6QKVLHvKtA/npNnBIONjFJR+h5vD
WRqMFsV82L0F5KaQZDK4FeiqDrsb6ZFOu7047fs5DgAykMqVCG5tSIZLVjmdEyENmG9OZ0cxnSLm
dJ6Y08ki/fuQmc4bPVMbpE2Uk9znMDrWxuFBRyLvGfEYXgsIAkkXV0nxJKvDhsJ7xu36Clc7rgV+
peKhDSbydJs2Q/5IOau8ootPYCQONuH0k3P1VIGnYw+teMxqCBw0vfjsYsXJeHcegmYtGnVvFVVZ
rQhjsR3BiSOA8Y0VsfZAcumZEfPTkPu3IGCbBCRyG9JJuH9l+cZIQFhWKm1XxcITWAiQo2ICDllz
iDQE0LrqZBVQxvBqAc3cDJ4UJXkglBLkwox3ygVuVeBj4/RxCFxfLCGqfpWtCTsHU9sFsbzJcFll
EnweQlN4VRX6nJToWQzOMTxaQWsWqzOey/28iQ6hESFBmEBmLuUAQeWKDCSeah5R6IWdPDB+sqEp
AUClGdw44LCQU8UWMbApLjcW1aqzWHMgnyuofggvMRjkzEVmbtWMv6ZCs4VJl7RqYoTgfR58wrMG
x67ZUzdpsx81jLPxd8jUhlkY/Gnp+KbUPfxXRPjPwdYp1kaYLiT3sLXFmEgN0K6Fn5t0JSQU1eq0
Ow61sZfaEsYzE4AOPLE26l0qdq8Ub6muBh2z1khwYKp6mKuMuPxGqzKTzoUmebIWn6UgAL18DG1c
ACdMlvSEtAlwl+lTkEJsoQdI4ZXdkyrhLzIA3rKQ4B1A+abUqvpscMJUkRwGj54RqUa7kPFGFhaH
gUKqAfJXrXVWyLR9IlIn0eX7sBs25dicirr6abLUdGoYBzUp4LVF5JWVDKE1F9yel35LR4Cb7402
tgXdRpjHkFDQT7Cp37VZaZEKHkMykiMWyUdYVSHCcJSqdYcwA/e9TNZEST/MMS7sTAt3rTD6QaNi
qihwHUeeoIAqp+zA5EelnZXCdg7sQS+SlT1yHW6mx/Ywqs+SirIvFAE8KnoOJuFoWEOdlk6N6qyS
kqcW5FBoAeweCxeT972IA9z1p38hABXWNcgGZG03EeMnDv8D0rpnmDw5KcjvWSntYSqNEiPoUyMO
QxZm+shlOwauoraQBuAckHpwO/BT4M0Xgt9gmWL/mmvES0gPdml87DTUnXD5neq6IypIyjWdIwrj
BoJoWGeZsjWw0c8Q9JR19yOME7+HcD7oqFMDhU+EwBmwudW0OtC6XVGSgxLc6J07mB2+TH4njvj5
svogj2SXxvF5MPlWz4XE0SI47YTJo4EMRVXq71WKHFIePtRRirS1Nu5yeBAHwOMnSv6aFHXjqigS
bBk/YD0oNrJe+MijJ9P8NIbyaFXgf0V8/IWsyUFpm5UCSwAeljkeCgwv6YGhGPmxjIePpBefInDw
MxzlOULppAELP+9XaqmtecdszWCbFN+QhtFTkUmfEk01X4/7OzMfnrNYuAs67iKSXCVZVsBcKLVT
SV4lMB6JzGZTUA5eSQLuzb/fb/93j5xezf5zRLX72Q7f46npz/x/PAV2I2rsJkUfnn0hZ7mIp+R/
SRreZsDUU7S/wMR/KEewnkKpPO54uCUh5Pk7niLGv1B1C4W8IUOm/DtA+wfx1Ldo6q8XO+BgTSKD
ufQ1miqzmPVw3oF2IxgcbAC2FB30qkX6vHrr2nLhURdR4Pc3UMnUgToBwQk34a+taUYYSIEgpOtc
Uw9yW28y2ECZdDxfDMHdvx9Vb9KTfnfqTzPTO+HF3dgwGxWejWhGq9N7VqpIsBpHjeGp6XY71z6e
pInAnkoavt9cqy6RnOp9icx5DlC/p5t2+5RVWyTBbjdz7atdNoOw+7I7mTTRIWFLvJZ6pOCTB6oC
min4txu59nZ62chsaKQxHbNaMFDTF+rvXCpw7hXJwrhcfR+eqiJ00NwBDJ2XWldQWyGnoafrFy+0
EecaLqLeZN94hEM9Krw2dvBDO1WTwvPzdveuf8O/W57rN0E3pA0qnjElhA783h03wOBeUF9cb0NX
RSDNlMnd8us4FbxuAcfEOLWKYsdlbEnFG4sXahcmvtm3NYTp9lcr+jzxA+9KI+cDWnmKmeetqI8g
8INDC7qkNL8mJgGWAU6yU6GwOKfB1NmglhhMvHXLpyJDj8aTpEyIvffbQ3NFbwnIxUVD0w+5WK5Z
pAddnKEhVApvILI2VuCzev0D3vE30vMqdO5giWjHmtU8lBvtvdyjLPT2T7g6che/YLYLRnjvRB4F
v2AEgZlzBy5hFgK+hVauD91FM7MJkmWSEmYpmqFPzUFaJ6tyrbsoBXHErbCgl7u6nC+awoF0+U3V
AJrGsUJT8Iz0Jn+zql0yP74+PxQcUEB3aMpvMfvFsA1q2MVGPjWR/WxH5BpzlPWh3FJtF7am6bfO
lTOAIYBiDBoK8OKzvpglQ7IJvpcopuGb8ije8ZfBF5/bpe386jf7085cvdJJfZslg5SCuv1LDH71
5dvtWXYFFIKJftHAXJ/C88ispomu7IfQFpF/XXcenKGg6WYdik9xRUJ20mqXpve1jsHcGoEEctLg
vk/T/2KkkkiKelkbcE4l1XFQ1L1ehw+3+3ZtMgDlQGCGjSgHJ+LXJkqlNY0+a9K1YZyJ0ttVh4cv
vJTDY+l2Q1cErhJSU39amnVGVZOYlG2XAlIlnLVV7wxu7MA3dS1+mCsAlOzAvd3iFUX21xZn+1OX
jUoC78p0LR9Lvzyqz8U9t3U3WdHdHRhqTuxqz5mDfIlV28x+2iPqtwRP/y9W9GW/Z6sg7nRAlxP0
e0ieVdzJCFsQn/4+fefr7KKFKYd3OU0Es5JGYxrD1ivemjdjsKQPxq10BzMjK3YMR7GkDXDSxFJe
1E3jwXjNBzQEcklmcw8Pv9slNfPCrPoNHr+YuIpY1yjg7tO1qQP9Ar1vo6+iCPvZwqT6zqxDxHjZ
9dkBUMog6zMdHxdevTZzRl/b0IN0FCG5V11jJ68CyxU23U62gSB3hvXtGXZFkvu1+dnBAOGDCTtN
fHnICewMe1zstNZKh96+tFD/bYApUVhLxf//YSUBoYrkLMFr1mw7ajjNezmocRzlo932gtUxPIib
uj0E+UbrkXwJm0M9IrWhwjJEJJA8aEeJQt1i8Hohxr0+0jriJqSPYZQ4m92UFy2KzkqcwMIRGwm8
9KD9V/fgnN/+1AvtfNvjuyExQ+jq1kbEPLHUVqHE7zk8w8Tx/XZLCrlybBFc0P7qEiD7X5bTKMUm
rSN0abC1VezHtkOdX4Pd+j+49WK4pSN7fFOsjNyiP+pta72G29h6XOs+2SbOGSZw1odgQ9+Af0DC
xe6samHaLXwLc/aEKEtQcUBSgkx6HPgNqXzaqF5cJy7AswvaTGW6PnzfW/7+GOZsrrW5HiZ5he8O
zeuPBJ7vlogyQlO3kp3iDF71Gh8iG4Zz8B9/79eJne2LvfpubmvwGVYnS8WDo6UXVgKFxzNEUcVa
XA2nai2fUXro0iPUJuLCnvC7IPzWT57G92LzaQm0jNBapUDYlMdkhedO6wCkvwfLy9szZWkcZlev
vgvUXp/WYd68tAVW2kkHQT1dOD+uVM5Om8yfIZgd0SmpK7Gbpv4W2p5XeWdskkPtQK14hxyu27rh
NrmDeyCx4LCQ39/u4mQpc3P8Z2cLspNZXCVonOx7T/BS4D6Mk4F0g1OBDOS5bnxv3rH72h5t2OgV
O7ojAIWkh8Xyqmmi3RrVaTAuRhWoL9nkOSY9fyrvzCPozrZi2C1MXdbWKj1AHXPfbvQDfSjoKraa
LbT6tz/FFUDA13GYnTXqCO5GDKki+Kj7h/YdWkaKp3en3ZPKHp4XeQRXV56h4LJNiKqAdvO1w4NR
BV2vTztrpfqtWMHhPOne0i4HE0u2wafzYBa+5qrqJFFjC3i/wTxZ9f0Sbvpq9IvM898/ZDbNAeJt
B8VEv80MtyscsAOKBKG2Jr+grRnHM2qILJ7vUuX/SLuu5caVZPlFiIA3r/AgQU/ZF4SkGcF7j6+/
Ce3dIwrDQUecfR3FsNDdVdXVZTIHvDFtvjxOZaOmg0gYKL2riTefsXDLYcf5VBbjMypMJwL1Z6w3
XkN6G80X9h9a9i1kOU8gCWOPHBTUXYzLgyDSDyDreJiqykKVDQgNleFPzNO6Xn29t9ZkLlxs6ivo
hOqxsNJgzHEeHdJKK7QTFBwxxcgd0eSwFyt1d8VlswG39XXacPsSxiecaFPQ+kZlGxUp+eIUAOpo
/ePuxxo3G7JwpoUPRhCJw8d1OrvBuP50TjfhrsQM4WQkr+EFfdKkQcLZjv7cDwlscAxGff4A4kjS
ehDYpMRVT9tZBtDTFMhZIEuRhlDjSPgY97XqH2HywsqoohDzWoawiDfknNpm4MKoJ8JoJEnI4oSZ
QKBY1LMTG0Tleuz/BtEGmujWT+pLNVe2TV5cExSHgiZXYyXeScnVHA3xtmAnB3kDhh033ojXaM/s
wg+oS67Xjmz/Wpf/F0353snFTVGHAT1ELBYZy1r4prAaYyJC+w2Q0FaL3dShDzR6aQipu7u6ojAs
+hfQngWk3J9OUo7KJOdyCG2VJwbDy0NqcSKGG0AgDJYXwgrvHuONsMUVxJRDRZXzMQ7sR0xVKj8J
vzO63/Rj8+B3laHI5X6Spd9xRaMDx6tfxgJk035/8UAvE/ef659zf+ng6UNkMPN1Ltwy6MoKyudi
KNW2Agnha39EI0+SExzAXYeIqtJ/pSy0yuMikAY2SWI3mZJpXTOZCYMBGYYxQqXCoBotX5s8ISzt
zgwz+lEAHKSgYiLNwOs/jxWWjiLBJMY2+kSvolcc4g6628qW13mHkJJ3eV/u2s63OADa1LWoDVxt
SlWPTog2ewLOyBH4+zNbjUSIh+8HATf7sVA4D6WQYswz3Mp5p/GF27dnAZzKAOIED64qMFtZ3nHd
NZZR/fRC63878lklbmKgQQQ0WBRgiklpNMwRVbXWYJT2Ga3L63Lu+5KbVS7etXWE0jRMa76SgCW4
T1+Ll86RJFV2S2QOxCOg9fb1tj6iF3sXYtiFEPLezSyDtea/Wre8hmVg0oAGNoVXdkQonZr/rg4c
sP7D195qd6rKbQA2FYDyTqWvkXFprH7LkHILs2Yv/Sk6Pmf0bWTg+K/Uw81mY6gkhD9F/JWVMgYo
Ery0X9a3+a4y3YpYKBNYmcH7NLvsUiktiTU81J95p54sEHIWkSXHrTFVPNqLHriBoMjsPcO+kb0s
ICJxXkcjg+UJ6utkJyaSJ7jhmWfRajdg99KoPXeWD7076uJztVc2PpJFqTpqnKroJIjVu0+c249Z
6Fvs8R1wVfAx7QZkZcCreS81sIFgIENv9Up9CNTHVtUVXXDWT+Bu6uxW8MLRxGlcjhyLE0C7vj44
vOHbiRPuZQtUaQamWgxkWCbAgE0aMJkNZFgQcMXIB4DOXS23kkPaibs5y5sPWuKvYk6ii1gGH5Sr
jKpTKg2oJN6ikDR9ZgAuKOqhFe5iK1EHjdrQeqVReoGTIX0HT1APfhGyoBMZU8I+ToQxgRd0SQ10
jJn0pjEBKA7WDb1RkbrdMDqLDEnhxNirj2nPpMBezIGYphwpbJJoUrvpEVNHRqsH+96kTeRZrUuj
d2arcUfSoDZ3736+3btFrMr1mCeTe3yzpKbn8Jxco+v4KVzwgS5/qnSMzamvmek5k8UflEJTvYuw
YU3/GL3FLhp1TFaPTcAqHogJuzkwWHElX0mWG1eS893/byYo9azeeJ+pCs6/MZ2KBJGvVTi/07pe
37tAZ1LH/zqvudH9x01RVL3YTFCjSt8dgEaENHCN/CjIEnXJYpD7DTbRb5JQks4s3FlboHCFpnQ8
njaFMwEDwBpcyUx3FZIUyql1gMLS6rIJOgaCI71/8qyABxnm1tGTsZA8oIrBJCJuZSTwVbNWU6M7
DNvYSI4lrzYb8cidU3cCftucqmNVMFWokn6KLF8PzRz/qbUBcLktdplmEw5itpM/jn6eKQBkNhpD
vsYBbo4eDDaYJiwRpXm7QAMeDKhyzKlS0a69Y4456eK+e2fdSFvEhAMyCXLChrg3aUHP++s0hvr6
gr4K7msLWmx1VXdyLkQQ8fiaGqH6PhMcHJHj23u/OrVRVVE1LmhdgkeqoNmf2FtsNXrutYAQDN0x
qjnwRd0Kz0SE/wsPJcQSApQ8guvOAU8NOk69EDEaT1jvHZ/yQ8piR+OyzEuug5QeI86giVHBE6Dn
/L84uB9iFvbq0QPV+HPA5Xu92sa1URHhke5Y5w8R837eaOLEU/7og4jcpjkcVFigWgAQMnSkJLXa
YoKNu65ryleAtNCUW4FfdNE3AtGlV1W0j60brTpR0w2GUuPf4NXMT9QTr9MuuhCDHWUqx9FBdvgF
w68y/oEESn0vlv3xGYutbXixjtsCFviaAzreiTf5rn4FLJJbutXeN+Uz9YvZ4U4/JCf/QjD/L3CI
tT1YWMugpE3VirCW7SHTBYPZ9vv4DcOR8jFRDXt8Uj7RdWvlhwIBNek+JB7A4sSFOAExYw7h/Qlj
eN6R0StXxgS1hoqgWR7yI//MbHyndEdXOwmHehM9rKvAvdTWj71fPFgwW1IKmY+9R0xp1aibv0xP
+am02lNitvsYM5RW6gh73Ap4aXAfgu6bzak6A2OB3jJGsGmBMC2D0Kd59M31T7tXJWBARQHoZnwh
BiAWm1MWI1/4tI++qaO0BSUgYJZGc3ob7YZUxZ8X+YcO3EhabEKTyI1IgRnQRoV/G7dgBhiMrgRF
awjwGorQZjR/9oqwZda4YqSy72UIYydb5i9RjlFjntaqIDQIGzjbzZqkRbTlCVMSgz8Wdy4HEA0h
Ce2+BQNCGF+rntM4LthJfXhMSlnPFdkdpsJIpt4YGt8NAMGx/jH3Vf17j78eGDe+psdcLviXcZoj
bwofoa0cZui38IE32S2rcxugge+5U/GE8W5rDoHCw0DCKb5XKrnVqOWjlRkBMAoe58TeRcfhOsc/
j817dSxckP4YyWOXqDwC4NCsN8GroGV7ZlPsE8M39f9tL5aANa0fxxjRmA/mgoDdFdTyEdMIn4A9
uYQ2d2avwOAyklLze208oorAq9yRJqghNz+cVrTj68BuDmQqFXlqZ3AAiP8E2usGDQn1o//WfbRG
hUdEtKNfW5TGxyd5z3/6j7lduIOTWoMa92qJQXQXULDXcCe9yr7Oe5veHLTNhhSxEkzzKw9x85WC
kldczOPIGnd4l8z80bOoQ2wL52GTnKU32hyswvpFilzuWg4SW+A2YcCXIC5iCoqLRo7ncEBU5Aeq
EDDIHQHFZF0N7h7AjZCFf5O5TkgGGUtL6+ahkoGG4tHRDALQ6JKHmRm5ZQ2FaZ0QbbDrku8tT6Al
zJMhLOOACQ7VuNnUBOOWVSxiZp2Pfnn5C+X9Wv/9eyu7/f1F4BdGSpnKCVYmoNMlrI98FxvyJOsK
rTi+kuph/1lh1GFd6L0eQKQkv1e1cHf9wIUcUstzNEN/YopFLzcpmCe3mMEdLyEhrU3YwnmE+XYL
ub7LY26+uakk/Oyr8B18YiFhRX8O5MlzkvWfFXGLFaFhTp4EHyZKnyq3tXx1sIvDcJnUyc1MsTOy
p99oUdX793o77ACK/MiiYyozwkCliG2PhDP9euDd6AyT8lTID1gwL6jj3n91uNePeZaUVLK/e+3f
LnphFhLtp0hoQxDQj2K7+SU7DVp1KmN6JTIj3quI/NjgOSK/WRTd+j5NdzAEDj4FFTxMBAGBFZNQ
gWYk+1zPdqSW3Hu12luRy/SRkvoSNQBgwd5NMHM13BeHbjNpnok4H4PAB0D0BQ/6umkQlHXZ7CWU
PpxNC5ly2GgCeghFUhXy7vV+c2ozRMDtTrZp34LVDCYPCkut/g1Wm0DPeEcG9UdlDFawC17zbWpq
/pHfZlb6hIz4QMpJz+awvNFuv2FW4ZvTTBBD4iGPb0DvIubNreAX5gg3xVY+hC5/KOzUEhldfk+s
cM9cRl+twLtJCulJXkhabIRXotmvAXSYLYXnDAQoAWguCzvp99z03gwOW5oe90tMSAjH996ON2uX
FpocFZgdD+bbPCyFLUY0trEMgDS2tytxwFQ76kBh6Qq0b4a4rVmvMDrgzhRAhcqpwilEDHOMyXPg
BZrcC+/+wG1GD1NUkWz6vaDKAGhp2r5S43ICpkek09K4aYKa4O9Ia1icXwrQzLARPGAI8KGasjvA
iXkhj7lIc+pRKqIIbx+S9S8ry4HPj2URwyyCK1Oo7cY7VU5wKWzhBLz5bVVq4YEUWBC8qLy4NqJO
btspwTFRzaaTNKq6FtxhKF1P+ZzRJIEFSrB8gunPqBm3NhHndJFPMtQRSWqj26JKpHcv3AU8zQZj
YzhRPXaf/k4KNGAZ2AA8ekWX+Xv+EO8kcPPkB+Yhe2C3F0DUz4m53fA8mJI7txlFgGgn2g5BAZb5
CLarJ5jPvDs2lC19BGtseQaD20UMVe9Q60CjtT23fW600ZZJs0Cko5l38sZ78GHVluWEnSqSVoU7
U0fPzegdA9hAvlYjvtCbkNAwczf5cGO18iL5UOQeoGfmCx6v79MI2rp4T+NVhHHVQ+pQOwrJYF7P
7AnpYDQCb0l9HPeysreXkby4a0fFz5psVsftc6nSCJkaHR2U4bkH80LmIEmvHpzj08fvST2+UJvS
MQqMiyRvHhg2WPXyuK6r93p1f3zNwnXS+SiJHY10FAMwtDYaASUlHnvA/GBgNQDAnKBJSWwxwCTh
FUrrhMkUGQBw0YXNAqavKiPSB83bv3KhzIANP1SiqgfFF3Gh1JsYJFVoMQ2fqgdgjcmqdwW04KBN
+9wlzYvdm+X6sQ8LP9i1XjOI88MgcnbX4NDOXZ0fKYBFVWA4qomvRbv8Qh3LA5ElgeAtln2rkkjl
E8pK6CV6ZvT3pNDHSAWE2xuzrQ7Sk2SXVuxkaNfmt6Itvcnq8A5mr01wRu4Kg0ygBigebMBovfsH
Uq7yXlb7dlOWba4yLXVZI+PTes08wEslzuu0Vc5sr4Y4h8C2L8HuF0qQKejz3kr09r5EBuUqOgnW
/A6E/4+gXFl4VLHghKFJ8SHAmKmc2hrsDPj9neOdUP02mkN0QY0SzJP5DiBY/T5/wBhKpyqbGP02
x+S11Wq7wyC5zsQqKNG2qV4/kdqP74Aw//zGxfsVwG5p1rHQoDxhjhMLvDExN4tIUaVe3EtovBwi
FAiZjRcC6McHADX7FEWDvm7PBG8OdJIf1lPRU5SlAjaq3qSf9CZ/ALgq/5xZ61Luleh/KMbCh3J9
7HXynFiiql2XFepIWVm3FaJU8/xSZ8p9mP/2WNrqp8pt2Od16bNLWvEQysKBsl7VMwGNNVLsI1//
inirzp7b8po15rogUrAyjy3f+iKQhYR1Mb+/uIP8KdnNdtqO+yBTZcxCqt0p/0VvSczipLfKcuzS
4yRxphaP7VbjN+E2jQ1aVIFmAF4Eecu/j664VdDJa68v9V7J/8eJLvwf508+X1dY6jOt1Wr9mluh
xWx5g36Lgdyqjf2WfR7d9snTKNDICKZyYThottbayQMSl9GWtQmfRNh9bjkaKomF4OOyngvXdKK+
tpNanlCpcD2VzzA8WagAyyfJnB3JH7oFVJ95EF1ghGVwAFr3Wh4r7L64qz/7/fiQ7oC88dm7mBJ5
ygjBsEwQtlCvpmp8NkshLH7kMx3Ar5KmjZecNCRyX6VuFjV/x02U1VEl2zXoqbG91/oz3Ao2t2We
clQ5UGXQxncANuik+tLdS+1G5EKdgnKIS+BZANGjkdS65tUh/r2usfeK+UA0+ueolvemnItcCXxC
pCtM4F6bjA6485P/WjzRl86oVM5ILyn0ZEsC5r6fLLkRvHhPSAWXJj6wYu3yEeCZgVltO4Nn1WqT
PZCeLvcd7Y2shT8fPTrxMZod251bXeOTb/DOcKoM1qW3cqpK1/U9vRuO30hbnNo0lB2fh5BGnwoX
wDChJWyA+IwhnnU5hLMDZ/ZPjQwAo8YXBdSj3UyoTOQqwpwH/jCauSNZL6FVOpTDHIkdJ/PJ/N26
RXpxbXkynQs1i5PzCi2ujv5G/AU4FNkeHvunHN0gBPuef25N3MK+E4CisMNsBH58USJO7xiH40nc
BfezQP8cGno9fu6lxLZAQ2EghQYPrIfScbiPUbxAGfkgu5PV6jUQug2Yw4H5FbyiVO/2W/G8fqB3
y8nfxih+2cyNi+GYALCiAz5iOlAH0DyZqZu8A7fW8o3UQVsoHlUN6uoG7yKGfmdI83YkhVq2/TId
xh1zHvL5QkM7AqqVOZrBjo0D9NVtexrO7IGujd4tQPDkiISyzv380/cRfN1kN6tPS76o2wp6pSSd
2fPogR58Jx8A8SOJ6LymP4ag3rWlgoRQroteRdh9gp59+f8b8WPAcWgzh9nKzVuQP0sRhp5Ga/2E
112D+PV+upHRUZQ3MLPTA0tgUhqt2eyB0g88byd9+t8kLfR5EMqxDgqsZrqkanHNDsmT/NxY/yr1
8H1mf9RjKAkwvCXEFKEKfGMVEbl87TbpIfh3Id23qCX3VOT3jMRLUM7K9E4DnviN2bm8cRZ7sG5R
G4CsB2diiE44sK9S5M2BtY1MAewYQtGSOarvjNsb6VP4Rn8KtmC0bnidK9CqDOwBVl8/QMIFCYCU
hUcC22IZMdAV0BbsKWDJA2jOwfg8I+v0tSEo5hztrzjZZUum7/di2n1ZfrmlOOQwh2ef/6zHj/VF
kTzc13zszX7KwAL1xHk/JbM5hCdeLy3OpTXBvGKmGqwAaBhpLEFPdv5z97Iu+/7T8luBlp2SASgU
JDh+mISiVi5rpVvGpUDZpslmnmrBY/VYEHaV5FD5ReBRpSMA6DqcofiK4lP+KItql6ucW5vZpBV7
kIIKm3maV9j0DinquZ93uFnv4p5uFLHAsCpsM39srdSSdfaYWgVo7LMtQDnAIG8PoA0ErRlaRjZt
rlboZlBsEHWhq8Ds7Vj3ztRxELT1Y/hCfVhTtcXDkxmogYo7HAOyEOJeuRROvxtsntMEo7G9Y2V7
evDe2WCG2IB8pTZFndsO9vDpnSuTfcJgr1mcC6vidcpmzwFpJkUiGML89xsFZTLM6HXzLQA8vLfu
4O+qt5EQHxIumq/26BsRVD7mCciAY2SK3YJzlRZHwZIuU4Lj4hf+34+VhGcn7HJnTiaYR7pLCkba
Ee/OyU5dpMjPzA6caZvyAPYIUv8/YYXCwnVR+dAHYY8Vcof0xGtypYK3Zpe63qE/5lqLwKY/CrtI
bX5jtJBTM7dAR3dnNbt/l5D8tgFh8cqg5ZxnKR4GKKHxPzIxxKTGmogp4nOpb4Clbp4QXux/rav4
/eT4jdRFoi2ZAF82zF4OUAKO/w7CSLd5nokFttNpNBmt7dTWlC/TiedUHvElZ3AZIevyVWFfMTNh
mUiLlCZNOax8+Jiew32CeK1/Ym3G18t9u8tdAFIjqFO07CIhby9sRe19QJ0AhWT5pdjT6Lo9AXVU
MHpScmA+/LUPW/hEJU6GsASzli11z1n6XBYnId3H7SeTPrOxw1fbNiMY3P3LjYd7Bx26oogLdWQT
zu85OB2QmbT22EqmH3iAzQxcVvSN9aOfP/7PxX2LWiyui2pQas/JiDY41cguxwS7vu+evn9/4Z7Y
DOPy3YTNU2oDZU6BVsdC7dJNPenrC/nL7fGPpCUoRpGINY2S/zyR3rnZS+Zw1+FDsR/fFeTRWCSQ
mk9F816oR4QjDn0EyzXy62g5UlzlV7RLLwrh+iYc4pLrOQRmKEYksbMMP6pUwDpVomzGuDqBjoVw
RZFEzX+/cdCV0tVD2GCTp0DHzPR0Akh6WROE3E9bfe/vwkH3DRs27PzaoQ6Cp0ZPyql2BQ09FOvn
eD8lyfwjZ1kqzrp26se5JAP8RQAFujFIL0Yjzi5x++z5v6WmVL3sLUwesu5ITU9sYigYdYxAqhk9
97xV5dvOP4cp8E0rOxCfJABR0d1j6x14wBR3Vjgw5voX389Y3nzxYvsBqjoq4DuDg8ALPBdCEMy8
gHMANBxOEe5CDMdG3LUf3FH4aPK3svrwvHfCJ9xPcXxv2iLXNyZJNbGzBngITzF7yf8WzgzgVT+y
U7L7l+nS/0hTALmzkJZIvZwCdR+9gV2pCiEQ+XkEhmDfqaNWlRl3BD9MkOhd/s7lx4EjzWP9JUr9
lr9QxSIQ8yj9SuiciqMCAFuVs2ernoA0xIEOYae4vE2baJcm2MBfngP/SF4+H/lmxjIV5lhQ454F
zG75+xwPLMB/P+cWANzPIlBefKv/aF0SvhJR9iI0CFKkPlkZZxyDjk+VTIbWg3SXO8GkKk79GDjR
bm5KK+1gU5z6Q+3mBI/2lxfe9+oXYUJDlVUYejj3shSOwPfeDqzoMkmzA5mV1XSFEWSeobCZSTXU
47qGf41g/u2igs4tu1NzWeIHJcTqC9TNGZP9ROMhGh7VqFBrWNwRmldtI4yRGf5lhD8AKJ1kRBfW
UXadhVKFrycbxaExQgmiHQc9bgYXqw8FQUFWb6H5Mxf36SSBvLGbHwuvYG0zKjxMzxFA0beFi3Zj
W3ZiPGgSFC6jR8UCDhcaOyoT/QY6zaJVUw3N5pxYhADm6y28tnWLd1WeB3w8JbPifPaYuuCv6S7e
JmhPYS4g8XDxkSz6jVRW0vu3Rg9eFDPXQKHnztokaPJzhWbtC3iQTJD27dor6AMvxb4DR9s7cXZt
7ZKZt2/hSlt4MVCy4FOpS/s4OJwJnGrGRfv4YNKv00d0ZfR5GLYBUl7qsEca7Uq6sBuvuRkewUOJ
TI53BVNlBrb5wQC+XPGgvPCEvNv9svT/+/v5IxcxDUCmRC8D1KaNpzFtiXsUBHy9fmycxAQ+ihNu
/FOnRXsPCFi+5h1YN0bVqn4W9VEAwrnG2L+R8TYB3BLqGS6zPVDfCVHX7ADXTnzhoFMx8doEDA12
y24o3uzpbeXt2uLqtbRaei+lT3TJHEHiwiX3dVMP8hzn5WpX277qqJbhgpfOe2Yxx7LuC+53r3wf
wJcR3sQ7viiLfDtnKRLut8/p2fQkSa7E4WkmTSqQHcGilqoxmuwV6hQmGL6LXNC3xf1TLPrq+rf8
5en0j09cdieHUlan9Zwh3R7oXb6bXGDDGLJjaaItzEpwgVfcgteuVTOLVFAhHPOyaXlqEzQKz29m
WRSeQQtrVlmrgdJvO8bdKQiqhyJrwEJdEt4MJLGzLtxs/yj2vSjkiNDGOtQn/tKXbi3swB2atiAQ
POOSsNY3+S+Z9u9NXnjVXOTTKp1fKeUgaSFoAkvqs043YvckDVYrfighUDh2afq8Lpd4uAvPSck5
SEPmkQhukvS22Y8VpmlYI/AuNfVRhaBzY3kVaFOAfIIrEI78hLyyw0TnvnwAJWjC77PuPcgooFWR
UMhXo054oS8vdXMKOdXmSQpQbcyK1GCD2ZRootxQRvbGWSBKwicBB41oefOCVxzLEiiho+ja8+f0
ROGiXfDk76i3NjarjWf0m9ZIBQyx0E8RIT2z9oacV7rwZorXyxRmR1DqKrGx4MV7QpJQnRDqDCRz
nu+XP9cHtHow/bAyuM9+qnY7BOBGBTqrHXKZHXeuGAoGl8d6nQsEx0GStIil6CHm4pKaU05TuYtY
dMaie7jN+e0YyISO5b+Yz/eqFgYr8mGPR6g01wqTa1yqCXLzF+CkBWDrfcTsF6HX8i/x+be8hbmy
Ys/H/lxkKdHnb0YHIKza9YO/4SnMn0+ajDSeEunNA6APnXWL/UvTw7fohcXWCnjp+Qqi2V3wC3aH
J7Ea7zH8vp0+BwucnJ0Vmz7hzUrc4EXYwkt8W3UBpPaAIwwYFaNbG/kgbDhDeVEI+Fl/aQ74XuLC
HEoqE5hIAB5QU8saI35SypOcODF3pgJArIZPPgNueeAPDtXr2JOE30+G/SN8mZ/M0zSPlAQrLQI9
OYKZbVdtxYMgqEmqlv8GvRLNHt/SFkbSi+gm85kZ+kgQzDFKtiyI5SoF4HpBAPonQZBAyEd/9GNn
MoNMuHXuX3PfwhdaLDXowABqN571dWZEgS+p1DRaDXIrTZm3YDvq93wGFAUgs6wr8X1/9y14/vuN
Zw+LQogzCuaKkrLX6lGgvQXo/iIs774r/5ayUCO+boOwVrC3dC3rkmxnIdwcRZjdIng5Yd7jm6W0
BceAOhVCQLI+DmrlGeDxyRnChv2lUvbPWpYJ04Hm+gwMUdDK59xATri45hvGHrYYMBi1CqPWu4CA
M01QDnHxGE9lNCIpcyuL0E6CmpX0LlQi2xfGvRJ7Ju0rllxVHwVNDLQJx/YHhgbni+D8glYGzmSi
z1UPDcoAtbkhIPlRAY8n0UgNNLOir1yKyxHNqUAd20uw1ix+5dIIDPPndYUn+U9xYWrgWOHYVsT5
BU4AYO5NYQ7vH8IpOFf7lKCRf2mc+daVxQ0hJIAUyiZsYG1sMflp8ZhRGp4VG4AIiayWKG2yOmXx
H7wDjiOzNLMTwLUI650v3LUdXdwXfhn6zTAH7mFqtwDx8nfI2fq70R2sOV3n/c5JU2PELV44Fa9U
vEEOscWpIqsJZzPVi0APKkjg0EkE7ml0qCQKEgG5KY4xYb0EhyYuXA14aYeR4uAF+lJTejMY1QHj
JngTkxwBwd0sofK6KZ/EtMEia0xf0bQ1FceskAyKJlyDhAUt4VaKTKGEZPbQ1JYJge0sO+PHQNo1
gqVLi8uvyDHFHwwQwon+CzdSz+0YYBSsNdeVkSRmERzGUpJSzRwcAttFrVjfnOgd1ZCucpKUhYWX
Usj43izFLzX+d9LreUy6BEgi5r/f3DWhknh1MncQ1YZsZVegfAh2qOZaDOA08dA99ociVmtCrEu4
B6SlJedK7vcV1oWBPzWPCz2inKYHHvAmic5Rpmgl7RGs6S+v0n882HLuUfIwZxaBqnyuxOjS4bVz
MPyZbBVAslV2olP78bm/Zhbn+Hq1897W1YWk+osbfeinBo0aWDDPODxtJlWt53SsMcxhyM7rogh7
u5xRG1Kpabq5Kl+j/SNWs23yBgA+07+Q0mWEC05eKGfEAjt0mHuK83IvdR5KGBNBOe+Cv9xEsssO
c3DVtWE8p6wktQQiF4b/jABgUZN9Zey5XbJRP1p91B8qTXxvHgIjBq7gqTVa7YSssP5J8i2krV2o
Ldt0QhNIOMXaSBG44wLiUZbdh6xBQhUkuGR5ce8oYTBMINXF3mKaiTUKQe0GQyKOsq/fqPwSwcbL
4jHsPIgJgOpDa+lWOaLF2AbhRwAgdvr5sq6afynG/NcGUan/6WyyoZvSNoLKsFbmsAYGgPfp73KX
ole7sDFKiIfmbwER2nTE4MaRFLsTxS9u1CYOhiacu356I+G1aYu053F6qmgVwMLAlEsPwuwaHE/j
jPrav1OEO4PggoBN+3P5QRFRBVitcapGdJQulNlu0H4qa4oeubUmgp7bDvaiXuqgxwVx8Dkj2NM9
SMablyH/R+cxnfVJz2MDolCNN5U9bY+hNtihBWQnWzEZTM4i7DfjBw6z6I1aHqZd8yDbzOOAtq3a
yh/ko3CeNqgZPoFNk0HXMBhCwEaKGRtGG17iQ6+BztetLDT8kE7vL/nrf5TnK1a7uam4KfMGcX6u
pI+D/kqdU00sVJ4FT4aszriLGIJFK3NttE/rWvuXAt634EVIIXUcZn04CGat5JqfMFRzBKio422F
X+uS1j0qv2zMroexTtm5ZUwBIm5QeuCOJZn8XxqGvhez8Noyo3hMF0AHe60zR0MwGTUwA7NRQemj
Mhqvppq/8YESij49Y95YFvU1T5uJ+RpdUNE2qAH7kKCYBEfPL7uyB8BpKOJcD0jcyRzMAyp+0qk1
PdP3tXm6yhHRpA4EXyBvbvIrvW2PMYwHbHEm5ruiHXcEhKnyiyKEKYSUHKgefxpsLUZM7M+RcQho
tdYOz+mkejp/LDFexmmpE2qdPZqsTWJuWA8XQAL6Uy6lRBUrd1AEpAL9ref4mLUuCU+6+2rNMiwI
1cHeIy5JahQmj3OqhCZIh4DXxjfFjHQFoD7W8KYc1xX7fvbtW9Zy/mjC6+g/I07P5SNlIswL1AaI
Cb+G3UP0ahOE3Q1pb4QtsgxMQg2xEGJhwmHq1EDzT+25h3PVi0vyyLscr442XFZECg/uJ1RuBC8c
ReylA0XPIeakg+BGdTwW+PWUr/qgBdP4ZNduCUu9G5DcCJzv9xuX2IxDnIrN1xG2+3SHdO2Gt8dt
SbADkpjFGyEPwqxQ5pyeF6vKR1+D8FrlOZ1KjdJMfEKO6P6b+2ZRC6NL2mZi4wlGB+hBc+TFx7YY
H/qIsgQpNZsKnVrgUVE5uXIwY+xkef57XX/ueuEb+Qvj65vazwUGqx3lPagUtQFge+sS7vuVGxGL
QMDzuxRD7Di3cYP+grOgt0/bHTrGt8PTuBt/lRjH1uXtQFjY/eIXy0uMAOJGgRYWK2MB6Tp5FIeU
lICeeAr8q6MlpRjwBt831Vhhv6uE0GZjdstLAJYtutIsmuQoN+3D+gbc32J5jkUE8BJ+4eDd6G2I
SrMvZigYodVPDYZdLl/XBdx1oOy3gIUO0aUQ80PCo40wv2IWNnpnxyP3BtypdTFzwPhHRupGzGJD
c1rJZWUmGZCe2ccpBUde/mvcknCDSLv1R9ga4WbysFv88BKIMD3F09fXcb8AdLOQhUIGsjx4Sob9
YnedKZigrz+JL8H7R6mnLwWI76JX6WVdJOGE/uhGwCDWf4oU5aR2k14CsWXv805MSsPePSJOQOuT
RAMsb5lyluvRjzIJ1gwGTlXiLLHcp6B8SpNryvpq4wX/aitvBC4ugXwM+Kz0YduNGLtMU8xgRq5U
prtiyEDlJsvb0a8sqVesWuntkAFFvRJdmCzgdD6pt0lcE9pa7u+AzAtIMGBIW1zYAsJMWBqKI+iJ
blyZDw5JWToiCMcYJtmNiaiic+h5/XDvx3Pct8yFYfh9z/NDAB8eNy0CyG64StUA0vv6Orb1MQ35
57KincTzjiwLmvo+Yc90Ca5JqtSSKTaHEaUxhtoqubDlOVoNWdaSef//2Pu25bh1JNtfmdjv3EOC
BEGemN0PvBTrXipdLb0wZFvmHbwAJEh+/Vnl7hlL5RrV6e7XE7HDse2SCgQIZCYyc621SfQaSg6V
Fg52/8U+yRG6Qx3MtftCOxrGufZVUbImNSjvTW54NHdTj7Nu8fnsLrrDd5M7Oyw1SbLebHBYBMtB
xcpHnzfTMh6KG6X4Ls7kQczjDyeur1ibi3bAoiZ0cIlJoaf10dtrorTtUTdwW88r4dlasjCouP98
bpe977tBznbLXCmZ0I7ANOtikSeBrkMXE7TKIIYCx/PksexZWHPA6d1w9XJy+u4zc+qeihaUERCx
Quf+4wSTRpeTnOGfTKm8kS5ttW446mvXTsTv4+C7dQdgUrQr/C5vbWmO0lod4yTyFmr0GXwDD6ry
+PlSXhvlbCWhgGL3WoNRrFxGTBs80uYBH/sgIdco1X83ph8ndHbcTJFVqXaaUJxDWctFS5fOwNo5
+KVl74th+qc34sfhzhwSDKdpORU2YpF1ASia/Nj8p5tXMALY+E/M7Mx1z8Hn2sx4OUw91g6UCN1c
LuS8MucumMw3cY0p83f7+HGss/dkKyYGV2AsXkFkYpo8Ih6qcWPQpx7soFpqX/EQF9JQGNA2zRO7
KeZ3jtlhqd5kMeiGl9Mxvd/JrXo0n4qXcTmDqKjwUcNzo37VPKgVbij0yk3s4mQh8nPi7LCw/c/u
RvXcDqDRqJFisIZHfag2lVlHTqGg8qvyV+m6Oy12v31+EC4UD08T/jXomUsUcZs1lYZB+zDbq9Jr
SEAXqT8byOTWu/LRgIbwA39RB7nPbizcldCJfCXD8LvtxCMg6EXoy06Utmc3JasbGyWcFKYlqzwL
epfzNXLAC7orpyFM9xTUYmHPC75QuTJ1MmWnnsb2bfgKcVfUsVkIiaX4uTsgz+m3u2bR3elh/Jzu
0zJEMad5sM2lNBbIlxlXs32/WdPT8zDTYTCnOv0JGXkXZNdTP9aD1PKlcAfwLNUHqhVXLoYXVtXQ
dQfdZahG6uy8sa2UCWdl6eToaRzWw5DuHe0adcmlZcUpsRxGsbCAfp+e4d00Sk6mfLQstKavteUj
347PGTjCt23U7rRQPzTYPFAwBI4BXFvoVM83+lf+RoAunpbXsLYXLvgQ0Xz3LPTjs8x5TTJb2fmy
+kFU0Idg39O9bpms3AitaLfiu3VlgS9c2T6OeGacCLBZVcYx+3JrOz67ayGZo3YNssU3seGVtwUI
797yqzwZF8zEh4meWXjb0uY4JWa+3Fhr6wGEm1Ed2asaqo0gT43aB/o0fm99cs/3M7CFEV2xZzBg
1qCdA5LClt7yigU5maWPkQGWwWEQpHFt9Bie61XX0+BkiaD5stcbJHSSdttkWjAW4wr/+qUhZhk4
mf5QzwxKee0ui8WmqHHSHWJ3wNiYN3aL9HZMVxrroZGF0E2wRTPmCLmrK5bmgi8GJlS3bNuF5Co9
r6brokQvYkbypTPVkVLJbaPV+6oChMGIPVXZV3bIacv9tjK/hjsH8PWkUaDRxgYZc+O+QuYQjSax
n47Nl89fwbVxzh1HyVnKc+yIqalW3Qigthw3Vqn+zemcuQpZQB+3E5iO2VGAN/dTb3jq6nX39348
bKd3i3bmDQy9cx3VnkbBGwmtGT3ASe/3EJd8HqJrEKQLceAJJAyldceBfziPZdrMGXqWzvnS1YTh
8ZpBdtD09dhazc24+lfe0q+xzsxFxxtDDMaYL2fQxiTFHih0tK0sPh/kskl+N6PzcLNjcd7mmFG5
dY7pQ/EDfdyk9eT9GOC20ATmQUJGcVWZvnakJ0Zlr2HorHa+mQhsuuM1PrbLJ+7XpM+MlRqNGQKe
U77kziotEl93vo7dshPfymt4qov+7t3Ezy4ogyHqwa6MfElVvsiYb6bXXMylEXC9swkxXcLIOYse
47go1ALHzIjXHYGul7SuBO8Xcj3IPJoOMUwHkkfmeSjkaAo6yCWWqw2BBKNbc9OiuXkzohHusVw3
Qbznax7VX/+FTfN+2DM/zuiQ57aFYYv9i7L9el+/NKFGPfNoB+oL3c8QBW4eu9vJKxbxGzLN5Yrs
3ZUJZqLsyrNc2jDvH+XMjeeG3iJqwilJE+gFAfEytahjUsDdstvMev184hdu1B/X++xMpnrv5naG
09J1z8gTcLvzR+jYmk2J/XPnErBVz3ezIz3zGgj/kuV5P8+zc5rMrVP2YLlcivlArQetfJuKQ1Lc
X5ngJdfwfpiz81dNpLBqHW82RZ6grLVlA7lBVNYBzePJ5tRynLPBlx1e6XS0zb0zv7Ey7Nzw8+e4
Ntuzw0kRPzaT0GFnTbVJ49EfBVBUDUTPY378fKhLp5RA1dOhzLYc4zx5SfIxFl2NDSQKtOS5ANeN
V0a4uKbvRjhzt5xyQ4B1KV9qhgz19AdJb2QxBJ9P49ogZ87WmFrDLDgGcdiwtuf1GNf7ll9xSRdD
2PeLdeZshS2yLnZ7xG4/9NCEFuTX/KDtgT79oR1xC1Ob/FqR+2Kc/n7IM1uDzqTeVP3pgGtruwun
EWT+1oDe/mhwAgfQn+6LBDFvCqp/Z+V0d58v6wUZH5z4dy/vtO7vriwDt3memSoHNWAfkp3yyi9U
hPNWrEu/CZrvcjmh33g/g53EuqHrsfONNciUw2Z3zQL8RM6eh4fvH+XMBOQsrqWWYCWGhbxnmcdv
tFszKl+t1Vs/evNei+Lea3x6rwV8HftdQPab5FDzK07nosW1HEqgsQ2Y4blby5EGnm1bIi6JXTBL
2Ohnzzg6WocC/UZGdZiq9Io1uKBOe3oJv4Y8s0oQMcxN2osc4H5tKZ9VyNDXBJj/Kl5rt25YrOa9
XEbAQhX39paAsr3z2bO2NFbFXXW4RtRz+aT9epgz20TqqhxHDQ8j5rWEzSiBBL+W1bzQIIMZU8ch
yLWg0nF+SVLCthBVtDnai2jq9aGK2kg9FMciAtIEpDwBmpwepa+mf8WM2MgAYEzmIM79uN2zwrWr
NMMBT1MaDfWq7JIwba8kri4lkQzybpSzJZztGnkMF1uI7KwIsD33pIdCV+Cu2J6YC+fEE71v7K0D
va3CVZTdS+azKw9x8TX+eoZzoFtrUyujE2banpoIikjKElJsV8LrC1LGeI/vRjkzy2Xdl61rYKbo
3lzVt+OCTJ4dWju6ZYiYdsaP4qYP2m2+B3777toUf87hN4vxbvQz45WTzGjackCOY8LlKCgcX9+r
dQ0pPQYNNPKlWAC9HTmQIg2yF2OPropQNV6G4+RA/Hj+uvWao/GgB8lNv/hW+AAGeNoNC67suZMF
/+wpz4KqXJaEgMAFe24sfBkf7Phakf6iybIhuIqimWEjgfZxV0s9LQQ5naa+TBZVE4FFwdebxiPQ
wUr/+abd0yv/NdjZdGJ3sGRrYzA531F+yxkolJMfss98UN57XQdaFP3L517q8gr+GvLMM7iFkRuo
9Jycv7rJUv6d8vpKFv9y6PtuWmeWQavJSPW4xs0M11Gji4qJ+RAQ9fre8sCe6xF307MdyR+S0b7i
cf4Xe/Frfmf2AprcE6o8mJ+2gdzOQa6qRw0KIfYDNu962tGl4uh2I9/kUj3PnTc8JqgmXrEXV9b4
vN+SJhKpywy71BXopucPnd5fmea1Ec7iRLDIxiLl2Dg0fenlt3y8pl57Mar+9Qp/dna9i2XklEml
CkxhyAefOEir7dM+8Sq3vGL2rg10FiZmvJ0goID3VRdzmE1gS5Sdn9uTZ5IrI1224v+zM34GrO+m
ZCmRV9NpZ0ixtoxlbe7FtZaNa0OcHa6O5EbOGqzaiMZFp0wXFsAo166xF3Q4PliNc0YhlQ5dqg9w
FF1Q79H2vp6W7TJJfeUVj9B4KDx7NbIFCrfDo7WMb/8t+3Gul9mllCWcNHhfaOYTxUahZ/XzES4V
yt5bxZ+fv3tRtHDGkUzY3LYdgM2KrL/Wu27ZAjw7H83IjeytZ76kt+1CRuWD+/3z0a+8wvNK2eDY
ZQvx2XzZkDfibFN4fD5e6XW74mPOeW+qwtGJdvIxfNok8lDWkT7saLLrCbuyltdmc/r83VI2pQlH
xzBSTe41YniiLBZO9/wvLBnIVXUX1SbT+kmp826QIp1Vm1jYErwGLoLcTKjwmeqKU7kc2L8bhXyc
SpHxIrULDqPKPcSBfNuWIHIAYjWwU1+P0KW8nYNytVgZiO230z10sqzv1ehl22xALRlQEYF70MPn
Uz95k9/ikXcPdWa9pDEW8WTioUpVv0CwPajcbM1Es5CWthd1vkgLZ6n0Mfp82Ivm/92wp8/frbgT
xwXhQJcuocPwglLzeqiu+bCLO+fdEGc7p+4di4jTckPuwWNp4zHklGU9+p/P5NowJ/fwbiYI7we9
JBjGACON0yYBTzpPG1X4+TAXT9y72ZxFBc3EuyavMUymzLCfcr9IC6/jkG9NLY/q1zQ/L/DywUT/
Gu+cI7WiUuaxhghoA7KB0Nw22+SWJECc1StysAK2r/vAfo4XkN956qGJmfgK0MgVxEIYRxG8jMRh
+fkKXNky51wEY8XdVKV4ojQRqELUaL0L/r0Rzs5CPGZ958xY45RVQQsRuam68havbBZ6+vzdZpEm
lUARwZrpJo70iDNNofD0r/S5fHh5Z3vSNl2QNyosVUMeGeqOaVNdMcuXM1Xv9sdZoMBTZyg7ibVS
/dccQN843vRWsRhM6rcW5LzkF1MGlvljGBIvdl/RU/fvnTt6FqKnEPCdM445Mp74TAQowAX5dMXP
XegH/HAMznsjqgbSjyLDKPm9JpGJOXF+fZtARRfZ3507M6xXMkyfstYbfXNtAOsAKNHSOFSvzX23
TVcQN2P3vQSmr0zwx+fb9YLI3MeHOzOifQPOzPh0Ik4c5SDCXFg+FAfDExHCEMbb+qE6qluwsXgT
OnM6P5g27HFaTivQCu8GAOeSr9kif9CvokAuV2p+bQ77bJvrPZrk8gkP1g63phuM89OQJkHeI23K
/Bg4K7HlamfXBzbdDrmG3QKaCDB3fb4+VwzGef/oyFmcyhFP0bffe+MRbY6ff//FwN+xAWf8mTK1
zmbJMmaTjsCH1fxHYiYAxcaLfuKeGH78MwM5FjJjjmWjGYYRCqai88q8ilnMtQZnjeRPSQkSlKkD
3X/uIaK4cqg+epnfRjovyuM2a83JXCJwTVBXrjXXy2RzEOAWM8028yadXymbuz+TbL8CkN+HPLsI
2nYr09zBkDMbgU0bVWAn2hw0g3rucxNpXvBu+MWEzZzk300S3ztlYwCzC1Ap5+k3txkfdKN3Vl1C
7uK6HPzMKo5jAva7qgUlF+TJHBfMjM5N4rpVWLXirm/Qw+QMcqtX0CE1JqiglhlwuaUCPV9mZ4Hd
u0/oFQ2HsZo3qGy+JhaadMkwaRtHdPoXSrJHo+D6tM6mWJoPc2eqYwW2oVoJ4Xi1JcUXSEzb1Etn
8qOc2Nz46BlH+w9yP68yH2TlM6NLf2Rd3oIgWEBQpFPNVyLiLjR6VS4EeLc82sySh4Pu/phQ0EH+
P4EmXpmg8pjN9bbkTeeRxLgvUhANWqZhLSaoEQcgan11uLF3XTML2sw8TGPVerZxEvKY8tWYMNBq
g+OiICAyc/sYTcxMO7Zd+UYmC9Vunt+DHlzgoswGL2sHukrN8gta0dEqZFVpMA/Auxed5imLRKmG
tn4eswVzmvtUpxsty74JSwYNqQ6Csc4zRPO1YMo8NCUO+KznaSgtgbMPks7aRcSt2tkfivxQufGO
VhB04Zm5T0GlEqTpnERoh84jKKq0oNqFBDeVYJgya9CvlTz32hr6pRRUePuuMV4akzURaYw5LEWG
5FMBVIBhbS073rc1Pfbt/NymA3ZxWryi+8uvk+ngVMXNUEAklJVrze1CNI0tGCDLiSt80RWRZhhR
r9lf5txYmnp5sFoI+ZrgFFUcVO2uDcKp9NHW420pcT64DfQJdFrgDoryWerqlmnlDl1By4k1y2ls
wqwHR0VL1rY5BVpT3TVWvIhda+3U+R3X1NauQHdJ9FU2srcC+9B3p/ElhpiuJ5Jx9jLAYJFXYCuo
666nOa2hP+guCzKEp9585ZqbmYIHl7OjqdebWRm+6q1wQuA25ehzqqx6V9PhrQV+X3XzG3WV8toE
qAnN6DzXlTdl2odlxqLYkttCgP8o6ZYNpSDa7VyvtNWLMcVrPXMXJRZsTHQPB+LOVPJVZ9W3lvNI
d2y/l02IJqNdPuqhpuqN4XZHMuY53vxo+26ioXjdVzfZ5K66CU2TVrEdeXXsFeQerPFNQRxZAmjj
ZToP6pLvipLeZsN0dOMy4oUVERyLebY2Vqt3nj623wbQnXkxdVdtKfeFG6/6lHxT9pj4Y9Kt7VG1
oeFmAVU9KthyWRnDUq/UrpIuQA7f01KFgD4ENJ4PXKJZ35LRJPojcAm3Rmpv7bF+FrF7OxtAHOVV
SFqQuOhzMHF7U+XtDBgSorjanMKGpt/NIntqWFwGtKve5EjCSrmNVzRA2dTAUWgZCGIrHWR6on/W
S+drTbRdIdM312kDd5TBJLNk4UjJPY10txoqgFNBRg/R740WTzdp1R9T5qa+oRcQDdCm/SS6B5lA
FFwTgaQiyupe+oKMi9EGIFuwNS/c0beo2Mh2WOtA57Zl7QO76fXtsHDjJLKU9qMBiZtXx+ARtzry
oo/ZS5YZfmqoMO7wFU4adY7u6xwNMoqDNLaUC3POo5kPh97t4C9Ai2zWaPtwwYfm1L5D4xQRLg3L
ApxsJauPveQLQsegnOTajWWkM+OY2hbw14n2TDUrzNErLUrpEwE6pVkDZI75aTpuh4w5WAyrDEYb
uC/VrHuDhpkGbpFmpkgWdckhL8STMqatJgtI/DD5Qx9Ak2j2k+1ZVuVrdbeqGaSVJ+SajGFb6eYX
Wvet5ygCUwgPURqVNwEu6AEIuTfHFnQ10t0LOq+6HIGVGIHEzKFZ5gxvlt1vzawOTaKiNAHnB1XP
aDw8Nia56fos7FK+pHOysKX2anKysMkcaqxLYf2GyIGEplJ0kzROWMjcB94kbFptnfa4P4H+4kfl
lA9plWwYqaPaUEvRyQX2E4rA1rSD17gDl2CUCPuFa9MxToiNpL5c1ejn1MtxC3ZybH4RKFaEg2L3
aBiJOoLrW5uFYLeMYsVXoHBexy6aR/R24ZTuNqlwl+rEfZfPR9qPN21chywHqUps3I1dnYTxQLwS
CbmcA4k0ycg1J5AnQXshziJ4r9eWqJ2WTHuu8q8jiQP8f1jocCZC09ZjXyW+0OZXdOM+EpGuwR69
5ibQWkX/tU/LKLeHoOdxNEBb3XaLp2nqw9pgWzR6r6B8v0MtNBCxs3bhpmRWpyAUsx54o2/7wQXd
C7KTBSEvNopockjCklkvA7SQhpwdsxncqLm5I8yK5irZQ+3mMM/EmxMSTFOKC6R+Z+oDOALcfpED
9pKXOVh7212dmI8ySdauXsNPjqDftuiCceNBS5sCmwn/omvkmbr1OgX1HlHcs4Eu7a3NLPv9BDWk
vN2O5g85dWE16x4ImQML1rSeQVZjV2+zmfuklkBZ9RBXaVjgobgQpO33Or3pC9PLjMKHNvadzOdI
ZAmUN2tw+uqQKjHVNssRmbn9QXPBPp4Cb25qT8g3RmCRC7KkgcJ2tlDo17HmboUo8YDaT+AUiBpV
6VekWY1GttRa6mnlDC16K6g3k8/1HmxmetSXaArOrWU2FqtCi9QQ2ujv4WX1AgexUqDGtDgOuu3c
9CZZc9AOe0kJmKJTHOCVfVObQzdJj7pR31mtEQljOFkEUPaqAHTex7rU7uyqeJQmOo9zugaY8mgk
bO1U9mLo+8hlsT9k2cpKh0PBTZ/ReM1q8sA5KT2EfYnnFm1I9HZnmIhLhA5J8TyyWmvvVvFNnLqe
2xWLJq6eCJFRy9gKeOqDZrQ3LWh0vMSYNhaClcnpQ1vRSMtmUM0YWeyrodoNTb+XphvSJJbeZIFY
3py2eTYthkJbDamxmAS47pm+RUvAYbDse9J1SBGo2m/b6gvl3C9rFSo9x0HTbrtBD7MxDimt/Kas
H9IYqCNbzU8qoYvKSlaznvlOzQ9AhKEhua22UzwHOPBbrtXbbG4WQykOfdxDerd70pL51bbLwJic
qLL0L1k5bE6S3ZDzACOhU3h6x/BG89QNSW+G3WhE8ZQEczVFPZkDu66XguvSsyd3wwoVaGnpd1mD
K3t5CtHEFuC1jZl0ypcN+yrjyvEcO8cNQ0J6is/pdkymFR/qRy7UXZt0D3FroGc61RdZAztbNVlo
iiJ0T/ta18OxK/eOU+meKfO9ybIDupmfq8ZcVzCP0GYMew3yyHYFGt/8qAm+lNpQeAj7B2+eWsQV
1RcLp9+ysrXZ2I+Oyf3WQJA7Z9FQdGHGSJSlxp2Zob5bdWGRJNGgleHQyqVWOm+ZkfUeo9Jr5vip
GtS9ruDX5GDvk7Hs/MEFjW8pSvxev7TrufRtyEhQ3Dxoa/wYOnejtC5MO5gllP2Kzg3MJF4yq7ux
53SFpjHuMaGvWYXMOihkEVwP43dnyvrAAqcILcrcb5I4FIgF0cCyQOsBAGj14E2IpUsLfsZ14k3r
gokHiW00ec0M7LZ16GSAwOdJBMuKq7Jt+SN4LuPCRSQvIhB53NQaLgVW2mt+zjnAp6WzMqx5rXXT
68xpVCu0T8OBtRY9ssY4INcdUgbZMq3cq5geBg4YsW2AjBwezjCK27E4LbEZqhn6hchBkVHfikwt
LJJDxq0c7zmXj03ntl6LtTDQfkFIGzZ5BUsltuiqjlinRSOfgqS071oF7zvB6cvS2qoSuVYGfEPH
bU/2fJHUbjgX2j4Ryoio1j01oPEmBgLcUjJIerhOqOeVAe5uqJ25RuT0CN5aeG23mXYlCM49uLvA
1hCFsmRG0FrE6zKp3ga9f+HVPIL2Mf/aaJAv1jogLLRM+pwOHIkh1JGMbi1MREg6LrLe0BjHpGwf
iTPeipJEzdw+57KNKjmmeK98a9UKkRDVt0kBHeZUfyoc+mg77XGkECPBHrOA/E72KaDorBn9ah58
18k2XdJvYyMOSe5YXpaCJKiVYenqN6U5LxN7BFp2Xnb1/CL0aSWS/l6W6B/N9MdRaqlnTe5RWdwf
Kxht7i564ewN04aBdnyLG75AEV/JIZwlPQLJ4bVS/uhH3Y/zae+0TuRQ3BzhJHtNLXiloqQSdwrN
jZ4qWdT21Za7ThWwvg1HKpZVSVYx5VeqKB/zLf+4yTPLsFzcaKATepYPaaUqoNiNfIvdmqFsvHye
Fj8TIf/5bfw/yVt98/e0gPjbf+Hv39D43GVJKs/++rf7usJ//3X6nf/5mY+/8bford6/Vm/i/Ic+
/A6+9x/jBq/y9cNfQi4zOR37t266fRN9KX9+P57w9JP/rx/+x9vPb7mfmre//nj9DrBLkAnZZd8k
6j5//2z1/a8/AEMygQ9COv8/34/yj584TeOvPw7dK0/eLv/W26uQf/2hOfqfjk1cnYGcCYA195Qj
Um9//8j40wZ82nUd4CmA6zh1/fG6k+lffxDnT2hOuY7LcP+nSC7htwSuB3//yLTAreICa4c0ImPm
H//9fB/e06/39h8cd7Y641JgVj+pX3+leagFAAFhpuWeMJHIcpyX4925HtuizxxEzFKIkCgr6QLQ
sA1Q8gBEyxhqv0ZS2deMoQvUeKp0gXTRO2VWUM8KHQ2+1jb2g21BAaXogtiYlKfRHABqFyYuf6Ll
oivznSPtW8esX3Ne3VQUx9qthT928VOW6CvbGXABLN+GafSFk63QZf7iAghUugilZfzNcsQR+MPe
L3ITiQhn8oXE/RAE8HJythwKE9yCyq5khyZPwlbo0CfqZ5/JyaMmUBi5Free1VlP2Yy7hRzFwYyp
8GKhPZKueCAOKn4DbjhD7powMc5rfUrjIfh67Gr7dmqM9QjnQVMeZo59CzYPXxuySGMMLEcFjfJT
ntRyprcJoTlYLpLH0ewfFUNFsZlvqZ0cZZ+8zbZxX8v2kCq2Qy8pkkT9vI2Ju0RvwkOrJRGrzaBt
moVp9Atih3RuuV+A1YYU+FbZooSbE4DTB7Vk2NQO8P0qd+9o0i7oMEagdrxLrV06UE9mm7gKBUsP
daV8olZFnQfwOhyd0+70QroXwMAOquxWmjbskC+y8KrRuIh0J2KGpA0F154AydU9WstNRss1gqIy
fRtVGbcrlwzkmCsu5GYaVc9BKpWDRC/lK1bS+xLNELXXOkIsJk1fCFsjd7nbxnzfWNbMw9HqFnNj
dUASExHg1d3MifvDyNt7W4iMLRvdSqXXaT3xh86ClDFFFKV1A67OcXszluCNWZQlhLk3fQltzP9v
x37asRNx2/9ux0Lx7bX6mr3+bslOv/fflsz+0zVctIIS20KPOqj5f1ky9qdtWhSZcPRrAqPm4KN/
WDJT//OnaQFVBEP37E/BoH9YMnwEqihXR9+M6RoG/vxnLNnfKb0+WDKg/GFJKYFldIF0wUO8r+HF
1DbYWEhnGVs1K3Zj24FQW28zXPEmnkc5026bpPItpGCQ0pjKEJqy9TOpBqaHttBAGzLRpoN/bDSJ
Rkg2on41JIbkB2R0VIr6qUi/DWhI9qy57baORsVOQVgYxRNO18haaBBk7of6zbJ66NLrAsEU8KwZ
pFAgiDvYghxrPdF+xJoOnkLO2AvHXQzZ5KmCdpLJ/Lwr4ptSTPopqlC+k2eBgnhMzJoXQe1o6LNb
sLCvHdaDkFyMfqk9jLX5xWqMDZSebl1hO2HVNDeZwWwEtbgmIIO3cRJzASu2GBz6TVfdS9FBHcrh
QE9JtC9Mhh4RVlReLF3E74YKBHODfoxnLyVdNKlh0wDK7puGu0zbZJcN2uNAuxtRF6GD+Lfu0CKQ
g1NcxtmypQZaduWyTQa/c56sVPiNgTKTgbS1HGEs84k8pLhWGdOwFrRCEiBDxs4NnYpvtIFGJgK2
IBcO8Skd1zPqyXUbI6U5L4SLBFclCVLjXXtMXWDZy2HbtiyIabXQSnbom2yD6PCeT9l9bcb3SonG
z515O+XsvjGaZ12LBWR0FXoNrBWydIdcDHs6V0B5xTvdBjPaON5BZRhEqs2qHZGpHlj5bIrT6wFV
tTey6j62BTpqhhfHGlckQfJ7HPR1L/uQl+2B5PnazPmDno/fOmNmqz5vkZVz09vGct76yd3OMfLi
ySi2mTboK61Pnx06bJmFq7qjYssDNzQKkvPeaMdX8Os/Y663iQA1h2u9VjVVHmiURhQP/KxKVnDR
ICg146N1otIYXbqLq3gF1VLXK2iBW3H5QpLpyEgRpaq8I5q4MWO5VmzYdS0/trS+z820jdyE7brG
/RIPA/ERbH8nEKGcm6kNYqfCPSu2Ss+Iq0eUoKDVyPGuM4cCRDk7wi90iCeRqt/Fg4EEYwanEY5Z
kXJQWqNeBVBCTy0fNTSFKpy2pppkkSK4EsopQU+CM4eF3SBTomernM7ZrTnCCyPjOnk9yR6QNECH
vUHnJUnAKKfhyzzRlXcFCebp3iwjDVK0iT9zgyz6PH76v+xdWXPcNrP9Q5cuEAS3V5IznE3SaLWk
F5Yk21zBFVx//T20v1gjihlWnNdUJa5KXFITQKPRy+nTMhpa6ixoVnFSo+7b9bLjw43clMUAsi9A
bSuE4MwZjFdeaVY4NMg+o06iyelOrsTLYHJbmIqHfAQ/xtx8IjHikpzXqyJPYkcE7TVmiqlWmZPL
OECY2CD8jExjk+cMUSzvnb5idyhAIdbzgSPrKSIpMCCa7e0QM0yGRyhnoM7kSU99QzG+EdlTrh6o
CmA0UmUbpMV2CssOAC6utcp0JBpcNXmBuYmoK9KhcPzOrC0ygHOuxzh7DqbojcLLCG5ABdSCWWPa
Ems3Q8fWREvECsHbIRDE1mL9Cq7QqtKCr21ELyOj26dMsxuh2n1co/ldR/q2i+55D0Ry0twInb3V
RrPFPFocYLmXUlTPhmpEZWdvSdkVK56ljtZEDvXNDafRKuZ0JUrfaf0AoCQLEYet5pbRxO5Ao52U
G4UFtoQND4ttrpuvoESz0lzdpaJ30eXvmIOyJrQDZxho9CoSPicp30aluVEq79FMy1WSBHes7Rxq
lKFjCvUqKtRvOQx0QIx9VnQAUVcD2Jh0sJ8iSuO974KUYqWrEB7KgAkDF2Coth6Lr2pH77OUvwya
ucWorHXs6W4p9BsvBTtGhqY9pDSEujab/kYYrW/VerSmnXbsmmwfBuxZx2APq0vFK1LHyRF5dxTa
Av850FMPGdDwKi4779LwKs9RBA9h9zRxZD62u5SKZtWl0StvyVVG+ZvC2lVZaLVdRAEG+urKHhlU
0+66SrLbKhyOKkcGufAw29YbohIFgH4sp0q10yQ6xsYg7rVKEt+lcGhtVehrXqDCRZM+Q5IyK9ac
YDJJVeWF0xsiCVZ5Iv2CYfwX941U8n/vL128fAurLP3sLo0/9pe7pHyRdcR8ugyWMBW5JPzVX4Gf
8gXNsvpI34EgD+0Ap96Spo4tN4jwNDhHADqdOEvAQaLfGw4WaLd04584S/JPaMIHZwl9NUTWGIO7
RvGFE2fJN73CEEVcbsyOjGVqtFgVqNtL6HrpeK/cs1RJrbIge5TBhNUVBqhG0EJimSHmI0kRa/ZF
RH8ofoM+TLXDG5KzFcmzyEqKsfwjwAesoeINDJW5T8OWOook5TZA3je9EIVtGE130EBNZkVjppNL
5KYs+pWpR48U82XiILA8vU+cmgX5tkZp3C599RgRZCN1ktwzSUejcZbrdk/iFajsVi03Wyce4gcy
VEdm5neJIK8h17a9WYJzR8UjTsNh1+TDPojRoSaHHduVSfyoqK0bqb7ptHFyyXHj7K4IH2ojV+xu
LEpLlXlIFJbYPiZDlIp2DQ7x5z4qH8GI+FZq/bAqUVOyacgu0ZL/LPQS+9aU8phivWuBb7AIJlRL
vbYbjGZV8FZzowHpXF9TnIrhpmNC0zU1Qeik5699r3ZWR7xVEJmhZdQ18pLkBR7NmqPpwW59oCRD
VnhvEs06qbBCBp6pDhGgVXVZBxsUHxMS5rbiSbtWxNm6000QfHg0WBOh8JXaIOJNvQRhGKovge7d
9azvV13bDVuViOoiF/hpNUS6Wkv878TETBpgTyrL8LCBKUMBk8csv8wq/VvpVZdc8hOUxdvGUpGy
W3UNqn4dZiTgj0cv4Ot4qJHrRkNEjFqDB8K2xGiKFUjYb6icZEBlZhhZxzIbVDD3Ja1vMIZbtqW4
Sx2iFzt9qJBroznGusXaSpY19HkIxHwU+HcXPIkos2LO1FokA1qdzWpXKHLuaNQ7Bm27LgPlqYmV
+ziR3jQFKbaeaKsKqa1mH0TwHXcGyZA51eW6S5Aoxr78F0r+CiXPpsTWyYuffC8/m0aGH/vLNMpf
RqNoyIjRkFKAvXs3jfIXpLtUGECYR2TLTiJJan5B0xT+D9JpskoQMv42jvgrqslEN3X8vpE96B8Z
x5+zez7YRkOT8WUGxcx3UJtOYV0ai2STJ6rndlWg+0+Z36BxpJVNQC8qFTeWZhUUjsq3BjPR6ENz
UHz5itAAWjINH0NSgwZVKpA68XQdRz5wlpj9ukp4isEQUVBuUlO5LyLANGrMSJLUdMV49cBVBdiq
ZrAKmew5PDud06diqC9Qdl3zIb4yQWcYhqoGZAe8kpxzF+UAVJ4CuXF0UV3SlvZuwVHG8LWmOQbo
i22furDANZQCSdyxobstkxpFzTI1fcfMkmIXZ/BrO93T1rqGFLrOQOWoZE6H0dJukqWgEyvlG2Hy
Iw36LS3XanA59A3sEPDUF17hi//yL7/yyAZy8n/vTyBxG3++MePPnNwYBfcESv47VfyXM0FxmZA7
ZuAh0xToK+7ZexZZ0WTcCAreLobkDICSf2WRkbFhCpp3TR2907hv2j9xJ8BFhtzKyZVRCdqwdfR4
yoaG3BAZXZrT3Evg69Rvm0xxiyF4JLW6avR+06XAGItW2CrAOYJH1yw1crvwVGCC4jC2q7x25Lr6
EbbiuqXqRRDVTlkFmkVIsw7r/t7rq7cAg4NAC3aFecTPMRUHpUhBsoQEi+dl4GpXH/Eo5lavaG/a
oLyaUmbriGAGJBYYXv/OEzZQKkhPlMaDWhUPZg9IRzlchRS4oW5AV0mbHEicrhXJeCha+SEt2vse
7e1Zm299P3QaqV2RrnJomO8KHri0q4F+qQUe4i5uLcwgtvwSWDFFipE/Ka9RYbJkYfi22gqU9NuL
xpcwf1cgbImb/NooGAdkUXezzkPnIrXLIL41fDDne+mdKsNsBBUQjxXSJNW+CrJdjehwl3ZlbTe9
l9tdVCuOwYoNLbWXoKt6p5A5hnl4GjA0VWz13AexfGBe8bgv12VNXzFoqlx5urbGsPgbMNZ1N2kz
wOvAKLgi0p9CNd3oHTJSyMH0dq+NU1IFxrzAhIEys5IOwMaDVLU3H9NcekSa46kypEPZ0GNq4Hey
FLRlpLws2G7ofZAAoggb1pxcarlpecqbWVFLC6unsGi9I956FEzlGGXXSKzrgKR2mee+W7U9xlGG
w4pjGmaNqcjVoO7NNP1KqmGfluIRZdIXFZB8zG0GXKDV8rdEVbc99KenxjFJgfkh5VOWmehXU1AT
rVTDwwBkkOsjGgN0yMt2KqreQ9Zc17FeW1XWP1BoXVRWOdqS4WKAyfrWi4CP0vs2QK0YIEZB0psA
rNo2jF9mNxR5OW7QtVTp1wCFYgquYGn93UhR7gf60NfsQcAy4xfAU1xnnXKkwlCLtZcYCWgqOpUr
ey2qh1XEM4kA90X1lSwVnWeFSoSTi+uyeM4J4Ed9gpMrom9BjMnWpooxsmoP4+8ndbCRWB+Ctlkl
q14b8y2NsY8q5AI9D2gAKyuQObISL6wG+EtR2qCqock5cjF10u78EM4QALAq5pJEoEvegVPSG1xg
yopH1asBy01DYfR3HeFVZklSq3foH0iQgf+FZv4vbBy7cf7ezK9RLoyTcCZuHH/uL1PPvoxEnnBi
ED4i3GN4Bf4y9eoXCgIKE0l4GX9M0uwEzEtwWxRkv+kHU29+gXkHSwb+BDH6GIj+g4LhGBeeGHoG
lUAbnoLCJOJUeHETQ2+mXa5RoH2RNEU/hVa7iUfqA9CpaOEaqm2fGBLIlv18od9j/LWfxMK1Q91B
NfHQwfc7fV+Uum0I0QbASJBICZW3uH5s4WOdnAbe2N7P0tNi6OQR+7W2EcxPGMoYKhnr6G8vN2Hq
j5XT/xvqsouUtgWZivrY+U+t6F+SYh8l6et5OWiTm1mOiVor6vEyBmVMOyBC7hnAngfNRmkIpmrJ
dVwjYy/XQbthZiW++pokqJUDV/vae01yF+WcGE4fI0YDTFeF/5cqEgWNtcbZD05yeog6TVtXYF1H
R139zAOYXVDeUqCwlTi50NA0fxHpim34yQ+dk/RQImcKuihgPg99SL83UvWiAFKVVp3bhRFw1n53
q0UAy9aN/KIEHKhDAHpB3lxHb30pYjvViGqjKPgjpOTG95UrLy49S4qrH2pZg7AprdaIidHLSzW3
8PRNlqHtyFOPouarskFOm9d0lXjdBj0GTicZa49GF6A6R12l2VGluFB8BfhUFkZ2ViIOFmZn4X10
qzLap+kD6IK/lWm8J8DW23He7ose/K8lXjoSOCWr17CEjoLHicWhjlidWS0+0la5d8DXA4Hkq/02
yvvkIfLMvdkX/VPopyCkaBAr+0zpXWkEHvoDkQ8xAJhOGPXmZcZDhMEBa9YaJupscA0TzK0AA7Ms
SbKrEzEiinKAzUztGI5VYg2wPqq1ewI8uSV3CoIDkEpZqEwFuZrvUVu4x6Dt7qBSVKDh210BKuM7
tCUHxUBtQ6mLow54ocJDIDcH3rngfkeAzgdAnUCScsRz3uZXZd8XaArIfeNYaaS1q9g48Iyuu2SL
4OVarnTFikwVH2huEjV60wKartMGU+o1AJPWMhGvLOoeZCQNrcrgplXl8l3VgwpUjQFw1QbpCvWf
PUBNHYY4ejeZCoB5Xht3UZJ9pyp4DjI/JpdUi4AvNsP7No8He9Dl3B7qPl7HbSM5Wc2yVZqSo4dy
mGPgTbW9DlNMSV4IZFyrfq3EBorvbbLr9cbcMJFcUVk8yzEx1yFneI+joFqLSInXWj08iiQJlWPU
VOxrVOqXuAl3iRflNuI5+S2rtSCHipblIYxl5SDhJlpB44s9BoFcybBWlzqGt16hHYUCDd8sdOv8
pGH4YK6gUCqDNQYUCGXyMfY9tSReRPSyAvX4JslxLHlktUXrFEoBRPMxSG/lQrKS+qlm/uq8ZfnY
JgQwx0+5BgAlijzGwxMz6cVpo3RwbDYDf46bh/Hp71vMN5FBZf90XtSMCVNBeww+JJD0UIbi7Ycl
AsknkIfP643p1YecNhYRfKPXd/9OysQkg74f/SQJpKCOY9UEY0S4k5VLlBQ/QS4fzktD3Ri5UFkG
hyeQOpOmycggPmpnnthEBJ5Pnnk/UtY4rZFlax/4TbnGtOmAVontBRJz4zoG/VHb7Xslu/253v88
ozEi/HvP6CJLy3Gqzif4FX7qL78IaIGRH48BxSaDu/ndK6JfTOAOVBUE/Cj9/8wm/RUAq1/A0A3u
KsqQjR1hTu8BMEOiCSyqgB9gbA2QAfRfeEUYBkI05IrU8cPwCVOEHZdyFSmRunVTRXY8Hx3KorMa
eVcSVJP6bdbRBVdlctE/CZyk7zG5IR2YVLVuXqF6FouVohZ7ILg3+qCsJF5vT05jxjOaGrRf8nTd
wIuGGB9Vy4+3HXzujUcAJHQbTX7NYp9ZviEM2+D9mkTVXSViV47IZVWCyQXD4L6dFz9xzH5JN2BM
4fzBOf7Z83zimKlFlxohH1eLKmlvSDvO0u9Nlm9L0ZQLOztalBNT8EnW1OIADyJoiKMMq/6OixKj
hIqF+SlLIqDLp68DkCJp6ylYTiBgXOoeOT1AWxc85hkhYLfGXA8DA09AHj0RkvpI+vM2at1eRbaS
hWVtmSgTnj+Yn5wsk90atUFh49Q3+on9P63TeMjQBOMG4CMCeh5UA41hVQGxG+UijzAGnYAvWOts
v9UsRUUh/aAW4AtprRI9/GQ4MPogwl2u/A/J9QGQeurLT6lsxnP88GX04yaT1hM+KiOtq4TElbQ3
D2Uswg9Jvze6W/OlfXpCqYfG1UrFIDmE/82V7oPAKUzkuwh4jjhol5iV5jcLubMRhzvipCZHomdG
JrWAX7gxi+xG96x+uKEGkhvMCcPNYFyEGFgjyD4PLtVERm8JwO1w9HhwyFiA8Y36mFgC29/b+UOc
hHS/durks8bbd3K74IygKEO1xkVbXcsqB5PKvks93Cf9RQMNaQI+i/MCp0xanyROntsEWBe4uWbj
AvHnNEZ2BU/I0qXMSk0BkI+EeQ4Y2wNvENYWHYiugebSINsL/6Vrr7xoF4lvQSGvpO4uY+k2KeJ1
0Cyq9mjSPqk2QyiNQBC5zamDk/mJVAam2rhRV2+SWkV3FRri6UbRn1AFWJs9s2IAk6QYY9Tlhe7r
mcuLYSUmLB1qEADWTcxt0deNhLemdhsaH5CuXBc6W2C9WRIxuR8xRTvhgI45tw9MTJEKkSuLmHF9
/qSVz+8U9k6FxiNFjfkryD180K2Im1LDCLpdepvYhWVa/obYylqz+QbZqx1YFjfFvW8FTmg/9Q7o
7NedbaeWZ1GQNse30pFs6k2wK6178H8vGa/Pij8eLMpM8CrgwRqT+4hZMbWehRhZ5z0nyJRt24tw
hx7sFTBS69aRV9o6c7RN7norbXV+X6bz+nADIBrzw/CiySj0Tye2AMXiBZ7XVm6g+rceD6JLZAli
O2wU4P50eq01g6sBuAF6SFQ6iz2a1FXU3j2wIIbYQCXCdSGVjfhwLw3d0jieceEfVR8cxAxbA4eG
IRc12RgAEsc4H62gvsjsjr4USHIbUriwCVPW93ETDFkbK4Cjb6b/zJKcGB68XgVB25dwtYt0a+yU
N9UJr5w9KuWH6gJKcYXpxbeo5K6IQ/fSzt/6d8beWHiMZ1ybj18xMX9lNSRVyvAVvF95ieXtOsMa
54AFtvYG3CIK+OfP/vPFYwYF9oIaKi7Gp1GsFJPeQI6oCreTnsOW2zV7PS9gDC6np3cqYOIbmq0c
AbSAXmnZuOq1S5HVaGR9igfM3mWgSWECsPslZrWZe24gt6gB04LKLapOH+85BuXE6C0jwlWoPeby
5XWL9tTQYplzfnGzu3ciaGK2EsmUVI8MOC1g+/MUMBGUE86L+Oxt4oBORCgf15LFRWEaFCJkpL+N
PreC/Eikq3DJ01zas3GpJ+pftwgb5FFOrnS7RJZXAeku0ix+ieJo2wi2MJ537lKfLmtyqasUBNZD
jCMqYvjoHgASV318f37rlpY0uUu1CjgbmJqwJPMeKTf0TQXyBaU2/3peztJaxu842brEN3w/H9Wt
Lo8GqEVS/SCCh/MyltRgco04q3spCyCjFNEqUNJL8Is6oU5uajk4nBe1tG2TdFHgk8Gra2wb/FEg
kxInlOEg1okt1SgqVgubN6WI+ml3AeIf6WuQv/mU7dAT9FcryrgytOvUjgBZhOSCjNCKrPvENYjV
01W+RKE+e3Hx1lLA11CImMYjgRxTP0lGqySTuzqKV+ioe/6DbTwRMdG+MGOl2XpoMB7QWkdBgQBC
YXQG+5eJVi2YoVkFPBE1UUBQjZdKISBKbsBfF3lWlVzHGEx5fkGzlvxEykQF2y4LtcSEFLgnCcYj
C4QGNjkg2WbWTt6756XNKvyJtKkWZugCq1tICxXDUfS7kVgo4tRO49V5QbPq/i5oSmaU+UCat60i
3Ni89YC+Y4gaGVBzPrPNaMnLmHHykLX4rXcjQvODqQBRArqWsKr4QQ7B0HTdbbynlIPZQF44rSVJ
k6cpbUIzaEwsyyjsbgC/hbarCo5OZDATeJHtl0tD3WcPbHxt4UjBlZpGKJhf4yloOIO1bXobkZDF
veeKBk6mL+QSZld2ImjyUlU6N+OaYw8734mzfX4c4K/JKE2vF9njZs3Eiajx4p1Y9t6ouAc8P5Rw
7HaQv6NE8ydX90TCxEoUhq51WonFGJ2yMqvbsTtkqBdUfNY+nAiZ2Ad/wBRsMIoLt4kOaJtGsea2
QXfw+Xu0tFcT8+B1Usz8CHY89FQbKAYkA5cmxC6tY2oTkDxK+wDrCKlu5zWIqwBES9fn17GgxwzF
8NMzN5sQKp5DiOZ3VtQFEMRXQQeyyuLmvKRZg/p+LFM+WT/OJTAbQLsAd1gnBrc4u5Pqb2W+R5SG
Thdq9UtDWxd2kE2sQmCQutF6HFIDCvZo8MDBEIKgii4Es/O6wFD0GwdFoq78cQ+DRDOjtISYhB9E
exA8WVC2+UN6FzBZB7qryiIA8Rn6NYAUTC+q/tgN17qxcHGW1jFxvrWM1aUuQYxRlDYdDFtdjFXm
V4IYjKLa8xneGYcGuDRS0OU0aNQRebWWwSoHcjKjXwgt59fyW9D0neNDnsdV00HbMH1Y8541f8Fv
XBIwOfRI8UOWly02K+m3edvvKU3uz9+YefV9X8P02EWXh5zjPIR3T+va0fntgFrmHwhBKkDDv4Ak
Tud9gEGtlQXHiWRmY8m52yfg0TcXcmqfMYp4I5Fr+C1lYss8Pxoy9O0JF7SN1aZI6tc05T0MZ3nb
4GFryqxwpEFeG7kpWX1nrtBsufIEWiN1VtkSQ4U9aIYLjXPtTy7v+5dNDWAWo/coYzjHQf2mh3cl
fTy/v7Maj0ItAXJn7PsYD/nkUY0JOspCrRFuEN2gOz8eLgGZDOU/ubonUsavOJHSR57mlRVW0ZS5
1VHFklDmPr+QWUfkRMTkWQ2o1qMPBAvxCFoV62SdYr5Uj0Z+vURHwyWpFphEZy/YibzJC9tluRTS
VAiM3bzPVZR/vfCPjv79aCZKqeVqijI7VqQqGgDYFz2qauf3bPYGAxmma6ieIpc9MRIE0xwCTrXR
SABP01xy/6Vv1/9OxsRK5EHgp6oHGYlhrNCyCKBks2qGfzhz+VfgagJYgY4q0MFPx7lXAqO1UYpH
2J+jHqKAGE5borWfksFPZfxMF55ocWjoZVxxyEADEMbk5G/8EljLy5E0uL003NpWH6Xb5Epz6JWv
WNUh3lZvA1+FtnltlE7s7P4hXfqnD5qcXwkETdzW+CAAa0oxOIBYAedZLZzgXEYa6YDfe/sTInGy
bgxCMsX4NLqlwzEk5iv/Htu6S9YA8lzqoDxavYSOcQmipHhB8qxPhnYLZCJQ2tX1yZ1Ws0jRggJh
k/csgWOTgDvVWe0aZinZgqTZ23wiaXKbZWPQA7VACoLEyl2cZi96J+7OX4TZ0PZExOQ6I0jKW3A7
CbeSjgAir4BWAt/kAY3gGGK1lEmev9m/d86Y+M2GIXSUViDMKL2bUEoRuJO7hi3FtQvbNq3h9LCC
6LAdt616wYYBh/1HFup9Hcrk4Si6qsg1rAONfpeRFB9YrEgW48XD+cNZ2q9xoScq3vW114sWchIB
MkutAl3Utq9+nBeytFvjR5wICcI8a4kEIQ3Y6poqsMylEXxLy9A+SlADFfR4Oi6MjidDjZ5GSq9Y
fvt3y5jcykjSMWJvPBMw4Vgp/wH2t/MCZqrhcMfer8rY6XW6UUCgJ0PLIUHCuFi0QVjda3AFGMkm
dYY9/nPrZtQyXWHXKP0Jq1Ld8x+wcFWNyVWlnDbomYFad/0RLd7olrS6VuxA9mP5ANieF7agFebk
qmZSUHe5Mj6Q3kXKXgD7PP/7F3TiM/Av7GlXQSdYelSxnV3mWUO+IGRUrE+FpfcTMyevfGf6SUBz
nFja7eMYTGLgjALf+UJQM1sWPFGM6TjhoR1UrQ0gBuOEL6tN76pWf0Muwwf6YLjlmv4wnryDL4GW
0ALJ4ouy6jebWxXVunohYpj1Nk/WO7EXIvONthw1lIubEiywIcYYs8EaQH4Rlxd6ugQQWVKSycUW
Gihiigga6QMbE4LTjqcLGfLZYqeCfjCDAYFC5Ck1vkgHYBpKLIlhSIIKPWkkm3lXYXZAt4GlxdcG
9ayiWtjIuat2KnWysEExfPQEQSoI9frOiYiDXJhi2HzpxJYEjX9/YnxNveF5JkNQhwxlA+rMUFSv
IDUCg0vHnVTNfpy/dnMacrqwiQ2L6JCSJoE8ch0dQDiW5o7IdjmxoyWjv7SyibWKY4z9iX0YkMDY
Nmi3TjfoqTM1cKI455e0IGjsTDndwqolKnjAoYShB44RA012CkBUnRjHong3om4WVHJhC6fTY9K4
H8p21EipcnMD3a3g+c+FfNvL3z0erU0eLHgbc7fs5Mym0IsirjBHTccCZS2zVb21+nJBwpwxPpUw
sRtprQ/Ci8ezCu5b8DnLKlBOkbI6f1DK6PhPzfGpmMmtqtqCU2kUo+Cc7OSu+CE7xFadasNcvrtL
b/2L/GVYKbscNHR2eAECnav0mN3n+/hQH7Lb5L7cBfGC+syvHY2goDVEvDmFauYJq73Cw0Pk54MN
T8XBuDVLqxfu3fwZvkuZ7LDec4WDIBFK0zJA219NpVs4w/lr8C5hXOeJJdGFFuiSAQkKeDwR3GUO
2PxQeINKnj/GKfb8Z3yHlMzvHZscI2KQCn3okAQ+7i0NPAw5Y5jwh66/NE1uuNKD41h3qzTYD0b6
0LPawjDPhVObi8FOv2FiN9HDlUUAkSLPMWxSUAYTqwCBtx2rB1AFL7hCs5HmqbCJ0cxJowVminR/
tuq2+ldxpzhsVegrsHJI19IuB3vNjXLUrwy7/3p+r5fUZmJEpbBRWV9jmRLYcXIhLjw1WoDVLej/
dMLgoPR4EMYXwST0u4ScjA2W4GMl9c3CNo5q8fn2/1ab6TRB6kdeGPijgmbqtgBfClG+oUl8lQab
85u2tKKJ1ydlKsUQHWxaMQxWxl+bpLUZ3/47IcrH60Y8jPTSKmxbAAqV7gelgH/9j5HjbyHB8y8N
uCNUpDnAIzFJpHhRavboAoH7+uaBvBkENS2o+e1MXfVswXosiZrsmSjKwh8wqsPlGA+v6N84aPvQ
77WVa7bLAkwG0BY0W55X7ffFTTawMhBeyDIkijV9Id/zu3wN8jDd0m3tEeDhJEZ/txV8/5NTexc6
McPhMCQYFziqhuTZsTw4vHsg6YL+zVvidyETSwx4MKlwoCOmaAs6ugosXr1VKLDH7h+sBu0jyJUC
m0enTVutXDRVNpbQagUQ9vBCRZs8H8KFezt7UO9Spv6V6qUt+GrGeiDAhkb+bMoL+zWDfAcWYGzK
0mFjAMUbN/Tk6Yo9Q2CMh467tM0emE3v803mpg5/Zna4clc1uLNX3X0lLPlPLvGJ4PFWnAguZUxs
zWIIzjFnppaGLR3qS5+0t39yTr/XN7V8JCG8kcGq5pqJt4+U9ICptYhn2NN5MdNZ078e5vfl/ESx
nyxHZE0dkdHClmuxlQ9Awm4Gt3YwW+6qXjizWRt7Impye8MkHLSOgQTKzMujJFX7rIue024xDTH7
aICoRlOAckB74uQuST3JK6Dd8c6XNzwLbRaC6MF/9OmSAZxXQtCw6qDQBtB5ml1pakzAa0NIouj7
cJ7XqD1gIEe6wSich0sCpFlxldwrT9/KaOF+zW7lu+BppoUWYVYFTdC7bV2vhIymBlAPDn+CEUUn
EiXIV8sj98pHVZc5BwVp1iHwMzDjr70wKtVSB0x2av7kTgGDPdap4TRNgbVcbkuMuUBpNMzk1dDG
biJrWyn0F8TMKsaJmMmD5WdxqYGmFfmpuvymIClQD5j4lRF6QYLyD8riyomsibJz1OQFSE4xywnT
KcxkwDyh7+ev7uyTwTQT2HpUe0GX8PF0mFKpmJqE01GG0gL3KHAXmV2RYzTcddx3zgubrSsDtD1e
KfAGQPU+SkuVbKiFhLpnPagB5nHBce5FsDazobTLId+nXZ3bYGKNLPSaHNWSYVwFBkYE5kj3jc54
v5TdsATFJziS/+i1+f1tCplE832rVlVb49ukDLO9gos0Chbu26zmYPrh+NKgU2WK6yxkiRpSJsa9
7iJrMDqxCZLS7Ur9Fq6wsaCn837Oibjxc06MMsXQH7ByYkGG2+725mN51W26TWwbV94VdcQFOJjP
H++sPTkRODndXAvaAjx48BqjHuMKr8IEG9kuYLNnnQIV9NWmijII6mAfV1V4XV70GVZFPHjylSZ2
RZ8svDGzCXcAqXAtMGsAVNwT/3doSwyQGsrxPVPeOqe9LOzqOwaOPWEW+rZ2yFrYoLEv782t7iwV
oWcXeCJ7Yl8wxxG5da2AQ1x9o6EyDgBbuIazengiYbKFKW1jI1CxulT+gRmUdjK89nK+omIhlzmr
D5h+BtphbKY+JYfrAY6NA8z+cgcf3Gs9eIFcP/oTZJ/yLmSKHDI6U0gyg9K1xQ+O4bbV/R8oNfqV
8Q9aoAEK+ahvpKyKUC0zHEcY2Ky5kMBzXCzhzGd3CvSnRIE/CkGTqzrytHdqVMMu0usQE1ErIVsD
6gbnl/JZs0ZUg4LLA4obglaej0tp66QA5na0P6y+RlZhxxTt9ryIz6oFEehPUtBGjkOZvsFgOmFy
peDIYyRG6k4Hp6+JARD3QvXt85I+bxkkQbc00EeAW2f6cHlGToNAw7l3BC+JnoDN8r4HzuG8lNn1
vEtRJo9CM/itnke4jENlWiXqoFL3Q+C1lPq7fydocjZ6hvCpkbBx4IDGWBuna76xBKTh9PW8nIVt
UybWhflpVPLxgFSQ0/Jum3LhBMmCgVkSMiriycuDstSQyCl2zSROwWIQoexSXywIGX/Jx6zOBwVQ
xo84ERJ3oMjzAihAHG7V9HpYdI9n0o0fJUyuPibSVH4V4b50nK7VzrsuzReQ3lsYytpk9EKwCDPc
2GHIgsFGg+KLoQV3509rpgiFT1BVWR7bH0FqPFEL8ARiakgfI0Dtw68g2r/sQEg7ROYlhl5tmJTu
MLrKt3o/3fCyuTkvfO4UwRKqo6kRvgru2McNlpRekUbCWFcyXgf2klMJibMFJ2XuEE9lTAyfDn5h
TEYdgwNTeog6cZmn3fW/W8bkFGW4lFFfjWEBEJPU23AtsFW64KjP2Ql0ZYKmWpXRpzi1e5FE49Cn
DdaRJDdSEF+hZXU1lMWx5Hm9YPlm9+xE1uQKgzdeTZMKaqmFnVUqVyx/PL9jY/JherPGaSMjP6WB
7stJTECCvAhNH69RyMgzhtM9yi17UoSRghe6eAiU6A1kQAul7Flle5c5NbR1TBo5GLCoqtBD25Pr
vdKw214Dl/L5xc3tHghOxpQFCD9BA/RRqwEvwiyiAIIaFhxoaF74Xriwf7Mi0LQKBlJ0mmjTSxsK
tUi6EDZWL66Z972Snv5gCSe/f6IA5RBhpCMoRtyAISwq4mNRqF/PixiPeKoCQNlij+AuYLLDRAVy
NcQEtwYqwJvkQuQSplbKIN8lhh2CxrooyyeVEPBF+AuXdX7rfsudenOdxkuvHY26BGVDd7HvLxUD
5hTtZGXTJice+EWT/zTqPsgtg9AJssEGJ5lzfgN/ptY+7yBomSmgeghTJnrW9XnASwxIdVubrP6f
tOtsjhtXtr+IVYwg+RUkh5OkUbTCF5ZkycwJYMSvf4e+961HNN+wVq82uMreVRNAd6PR4RzdyzDZ
uY9f86vwynSAQeOXO8PJtuSQnoqr5Aq8h2sjT4tbqSKTjS5m3TLnncxNUGSKFuADLPkUg9xZSd8v
L3HhNQ+gxDMJM+c9gHymINM1j8zYDhDtPkm9rPasm+Bo0XpDthiJb8KddR35lyUvnuGZ4Nne9rXa
Smo+7S0gnEn8U7f9Cid5Wcj0Q/46wDMhk5c8iy+yjODCGAuUCcydUK6lSrgq2RlM0ICIFae0GGpg
9g4RrWrirMBU90XYIMdyLgmsKG7UOz5olZsWJKG6KoHARstBgc4+mDUAYguDmsI6RbGy07VqDQpm
WWcmFipE1MCPmoUbcheGAVB3kduCcaQcDBn2w+VdXboo0cv2j4SZ7xrKsRpFiF3tyB1Q+hxg4XCd
oedkLZ2zJmi2o1y1JdCvQJCVeboRAro79zQ0YQF64xv38fmSpk09U5R2KC2L6RnCRAMYzvwuWnsb
rJ3KLBCL+8As0w5L6Yt4Q9L0oeLW2oT9moyZLatxMIIRDCcPkhyAPFsxzQzQwl4+/EW71TSMNQMr
Bk/Q2a0CfEFR1XmCi6s/aJV+pXStg0mZlVBicSl/pMzb0kHVkKA2gJgZlBKg/wtPrbXWkbmykL8w
vqw6SIFDhRBs8HKtnOCxoVjNymW4qMJnC5nZShGXDUsnKYMARBoYcQJd9m0QQjJAdV8+mbU9m1kL
sFMsHpQ4/ol6mSTGqdW070RFZ6uZPuHMTADnnEfydCwme+jMjWbeXF6CuuiwzwTMzCQyos7SSwiw
XqX7wB+97gHEU4NLbg38GyTlj+ouPPY/jVvDP4Jj3EUxdmN8ikfJXUt0r23nzJowxhiPaYRPacqr
MOlovzoHtaaBsysQNAuayGWYUhletWCQ6YC8I3/LhyLDAnOVZdDwzIQkUVWZ2hTDMHGtlu+tfSWb
V4m9Yq/Lav5HyuyiVeKwV9u4wtupe5PEZ9tuVUulYbm7rB/LO/ZHzMz54AYNwcOJqLwGhXN1TINT
En9cFrF87P+ImE8ZqInNgYGPlYRiTCnPlSutj/79nDGirj+HMs/imQMAeBjIRkEfDm5D5MAt6ZZZ
a5HAyqFYM9/TALQUmHlT4ivYdzUa8/h9aHwEPF1xPIunAq5L4L+C9xflwa9eQQnVaLDBZOfn5c8x
AVE8GOlq4V4+l+XwCmg76OOFGv+FrRUHWi9VUxolkfSrMgZ2r6qEkdNWaNDJJYA7t4pBowI08GrW
eRpP3hKw3wAwB5B8lz9lcb1I8OKvqbgw75yQw0iMw/QlTfSuxq+N5nfjdxztHxF/tU2MEtdjOUb2
jYDMwbZo0/3rzi2o4JmEWZgIoK7CClM4n06RHMJ/EI4SU2GvnNriVmGbFNRfEBLPu08TuWKtjQq/
j4oajbEeHlyBTuY7azmTMtn02bUUhoJUeRjCx/HG4xYoyuto1+R33zj2MykzNR+Ktu7Rm8PRfIEe
yX3UfoR44V6WMTmwvx4sZzJml84AlGPQUWC/dO1W1byw+IztbZcDf7SUMLw9gtpgrbF20eGdiZxd
EEaqZ2YeY/PCJjvUhulWZHy7vKqF3pIJjv+PGsyuB2BcKJ1URFBntXODytwNjbjJgLm2z0KQPed9
5oZ57+YS+uRt6ySZ2ndKDRY4YH4zfwOKfqbuWQ94ihyJcp/IVxWQvjUT/GXBdxzhmZCZw2XgClNt
ZJv9SPlAO74LtkjRZ/7lzVw2qT8rmYV5VUnQJSFNQgpkH9DRrNge68P/p5SZSaVKB+5eGT49FOBX
uW+VY9WstMIvK96fhczsSUdhRhMlFsLMdyT50Aq/lidc26qZNamZ1tujAglJ3LtWdi1LGfh0+YrN
LksBWrBhE90EYcVX76NrHVpGBQwolm5McRg6DOvKa8OPi3c5SKX/K2Te56PwfBhQysBm6T8TjAK1
iuzFRurY/VpybVESyKsBFzGRaMx7faK2i4YggSStf7JUAPlg7tfKwUUDioPLmrwmaeYVkjiINQEC
ZT9lN0Q5GCylhg7SgZWg8XcT8l9O1QQGFxDiAR00L4JovItVocGpor1npNpGcwv3lL6KA0iTXHjZ
DHPPlNH71E0+i3BfrpTQF/UcgNzYTkThmOT+qh9Ek2Q8/HFvxCCPxhPqEJvFSkOFuijDUlBChZsF
DefMlpB2EpKRQkYvJwXt25rsQsIoaFdvVC31ScmeGi2rnLSOH0hsPJg9hikxcuogN+jxWH8OQ9Aq
pbGC2jj/CTBlpFWTX4EebgOpTjw1kzlFRwXfoh16ZTJy0XzOPn3SkrPLG7iAvRxDt30D+Hmqft2P
T6TL3cuqtrw/oDxB2K2hsj2z0SRW21LOTI5nd/fQBtlGtf89dAisBX7qvyLm1Q82KmjpLiGiCm4x
ukDrdo+g5FvrQM+MAtYxdGPMLutIx0F3qcH9ARhpKSwzXCtMTD/hL2OxkXCGr0GL5l9cLQAlUosQ
TyxJdqP8IYkBYpvdCuWFo3n88qGsiZrZf8QiiYsRTy1RR16dto+yBbQyuzh1Xejysf+OHdrgmUJ3
BvKi864jicRqPiYIAcYSs9DsfXXrFpXsTMD052eaDNgR1WYZXnVS4xThaxn+uLxfi5Zy9vNnRp6U
oQzAeiwgzu+ragBigK+EH5dlrK1hZo1G0PVSmSFPaRbDuxhK327llXt/0e2fLWOmw02UFn07pY/j
7i0DDSQqoQBRVWiR/pdf8f8cgViTNFOwmCRDkHEEMWjDoJaOn1+n3TVTe68Dy9dKGLC2czMXk4c6
57aGZan8rgDNWbraS7+ynDluDliwtbq0ISFhbm2PvqVeR5WyQcPnZR1Ytst/DGVeQRB53bX5pAOS
nbqBBPL321pSPbDIoRz+rcc0aJ6By6liEGFeaDVNboMWAMLCHAjnKpXrbcDWMhRLOwfiCwMeDU7T
0GZnk6htbRgtLMcW1yK23QynP6IChNfpyt6tSJqfkZkLG7zBUDm0hNOEeWa5t0CBWn9ePqJJc+de
+mxB8yMaA2002woLGgxwMiUy+8Hb5qSrnce4tgMrzm7Q1bvLMpeXBgwxkKGBbGdejASopNzKOcI1
E2wfqch2BWj84rE48WhzWdKSo8NYigZqXBPQzvPHGnBAW9YMWF1ihp8CLIVkLH5V6hrm/e9Q9q9d
1LCaqUwGap+ZJzJBAJXIAle2McaY8soYOLVD/V4f0lfOevPQRiN3EqVtb/G1L1XEDx2Xf6mFogDs
CQ3OQmte7CI9FoHtgVXwDul3k5bwoTQD1kZj5cALSLUXRQ8OFu82SZcftIBkmyzNPDhZJ+rGazSm
XWlGvC+UfHASycZkW6jubKHdJmOCp1d5BM9oTkE4+sxKG/zkaCvsU1QwtQC8ZXZYbFqeeyOQTCkI
fA6mFoMgHKAOsQI2RUSkV0JVj3prgPa6jsFcJaUtzYb8JOJoJQuzqB+YNFPQL4Hq4DzXU1SEleAx
RozF913RUzO+VcU9qdfKXIvacSZnds1iDLjJDBJwPzPfRX7bTqxv+poP/N169pdunEmZXbZAux1B
NwkpLFSPQLPwDBHs+kLak5i5tjHu7RxQfUknnSou+SA52TJ7KKkRYei/iiuvGpS9kpsHA/xolWQc
rBa0qZaq656RZw6xIg/8rIjQTWUD/qxjWah+EQU/EiM+Nkq4t2U0neQlo0lGAE8c9T+zkI9UhuX7
l41t6d7CiMw/xzYd61nUYoZphrwIji0VPbiS931HVnziooSpWQdsNsT6izWl5KoFdBVE+CNnr6Ww
0JOEasc3VnEmQ/26iooUE8MDVjGyn4LEyGiu3SFLt6J9JmH2jBMgzOLDAAnCuFOL9yyoP3kFEBWR
PCrxd27Fc2EzHe87wGYmFbYs11RXVoP9GDAP7Mbu5V1bW9NMyUdT6jBPAjFBDVS5fGsJ8KCI98iQ
N4XyHad+tn8zZxvA/RqFhaeLqEMA8oFoJdpraEr6/61odtOTCkQ0oYVTUvJUO4688LNBBhKpbNCi
Cku0Pekrpa9l7YZiG+gRIhhbmmmePARVkENigQovUThIALaX17To8NB+/78SZsqgjlJugvmW+2V6
D7zTujgaaxnaNREzReisLhJKCBGsOCXWqxVslPL98ioWcxS4Ff5ZxszR9IYWEdZhoxo1C8HsLP0i
KiYwwDS9VfTiFVyVLjGzPXqbUSXIfJbFHkeXbEL0jYZOE5sQ5o2GCV6lYBep8nWgJ8+2OjA6aM2j
xepHWQ6vGFFXznfRRn7jdE4Qqhjv+3q+eWXAxCWFo+ZdOA2apIKNjKuaDRkdlTUjWVQmAh0FZxKa
DslMmZQcsMkV17k/3eklqLPRK3T5GIzF0BEjimA7+Q8VzNf1NKWiJj2oxn1gjRQYkgpusrg7sj7f
94gpnQYVOA+d+Q4rMuayoH1X4qih6C0RHsuq91grj22lvYyirahsZfs87cCOGVeHsTH3TS5+AQPk
iZfhc8or7lVFfxjifidsSQELt6ZQRQ2Ug93zyinHlFMtL0G+PJBdBpZvu5Afq4b5oFRXaRGQu8RO
5G3DktIdhtzcNUOIkZ162IK0DEPLvTVSI89BJFPxN7kNHjKmR5h8q64Lohx7Ow3Acz74BWiXJIaR
bTXxsph5VQe62JVdxabNogUcl4VWQdyjBi7Tr5sqooktD5SJPtFBzwDgDDnUvUjaXZaycHSYA8Ys
E/j9UGmdFx4lI1dKG+9MnxO8X9rXhiBvCaYxTGuAwLwDT/tKSLfoFkwd9C3T+A+omL8uC8kuqy0K
gthAL9ym/8jCwdXWEoATLeF88yaWY+RlQKtm4A34VcrQKAK/i80LkrLbKH2oOnUIIMFUvlJqbu51
vXmqmjR1OqbQTu0RfgVur1aVy6MmdIQo3sNcfVXqJtxyUgtaSNUNuuxee8m6NcBhSSuz6RyhmRsu
MABkW5tIlcBsa42BV5fWLgG1VpvZThgUG3RO74NOu6m13L98eouOBJXQif9HxfnNbDtqqy5BjhpI
PJieLVTk1ZKfur4TI/GbbMXZKosndyZsdmdoOapbRQUrB9bvKc3DJyE3gZv0Ek2j+MOsJOJg3Ld3
hdQdw0FzO4W7fdK9FD0CJ6trLWDAsLWE38ILYZp/wLCAjfybNX+1tlUTtmC0QXVT3utoLG3bU97X
bhSt2Mmkln9Z45kc9atCiaQodV5NN43U3YW9Hji6RJ6qOtmbIJgyomjKgzuVUq7VThY0GW4A1F/o
HzGwyNk1ildmq3Qx7GUIh6eqUrZmv8ZNuSZidosOMddzYsNYKusT8ehEzOpd1tMF1YGXMZBkxgyE
+hdjU2n3ck8YLjz8+B9dIwnHjIcctIbd/1fS5O/Onh6hmoLjVxm435pRBa7z4TE18TzlgdSvaMSi
5uFSNcEMj+TFHAmgZQpukgQHI1umR+qi3gypxXZZawEzBPb4fHkLFx21pk7+DFgA8J1fFwa4ikEx
Mo37mMR2gV6pU5v0jZMRDezaptPL+VOuwJldlrqo9tNcsoWOdTjSWaQC5BA9yHMcnD3cD0rn1vyo
EOYoE/P3m9L87NNvtHcQPOmhKwQ4qEgNfV2nSaKyHwbBfVCWfrSRuTcl20mF+Z3TOxMzs+cmAiMx
GPsQ1HeoRUXPfYWXd1ZsDLFybouqfyZodm52gOF0JiCoD3O/qrcxTzzJeLl8TIsWfCZk5pqHkOWJ
Zsvcl+rCM8bqqLTNSsPFwlWDKU1kzmRMM4F5c6YJAWvTXE4hQg2byqlE1dJYjx+kUQPtuto/hjZq
gd9Y1ZnImS0zZkWKHmProiC+Vdr4ipVrg2YLKBuoboLse+KSQ3pwPqEF2u1AaEkLddPGLWPs1ANy
xc1A/OpJtvXSBLV1CFororXU3BplfErCwRt498q4dF2m0JoqChVwsFsBuDfNpz5cm7lZ3HjMGRMd
vfcmMtpfDQJsFVUrC1y7yHdvCDqRyIgeNQx7NVSL0o4CjqRccdcL/FbTrvwjc1547EG6kGQRzL4b
NpZ+4KYMwg0Mse16+UFtX3nxWvU3XeZFbe9IIdl849xxX8gIR220+MxUbTBg+maGFQu7+0iGbAtM
9jUMw0XvTdA/hvQYOv/mlbtOLnie9RzRtZa5dXhXlcLT2xiYWd9xNGeCZqYpGXFeZ3bH/RAwwCx4
GMsruXohbFjx1It+xtSmKMjWMQY4U5NG0/Isa7AgwNjvldAYaCyUI3oy5BWrXNRHRNYAGycWRrpn
pzPKRWIHokLqwECzkKk4qnrIwIPWGoqj6U+XVWEBrQKaeCZt5gNsu815W2FZnfVepNetwV1N5zv0
0/4OUwr1gdubqgNWza8yDGkYpN64Ri63uLUWfB7GfsC7Np/CIWarC1Th8GQZDcdip1hhwM7/99jq
WOmZlJmipGM8kqKAosRor9VK/VjmgAO5vJ1LZ4d3F8otMp4MQK/96kuaDi/BOIFHlYBcS0o/0TIn
SzpXyXYmhoUvC1vaNoyZIeBDMWRqTf4qDLEx0asWZizFKIVYvQekg86xqxVvsWTJQAMDPBWa0cFv
P1N8Lat1jlwjYkuzcngpgI/LkAK4D1cx6RYXpIFeFCAjeJn/hl0+iy3VMrTjPmHIaJXdbW9YQK7g
1xH27vK+TYcwf2rgxY/OIlD9ybiUvu6bhBREyOwS4bgRU7xwqb0KfbiAIIlzOZMxU4RYDXCbqzWe
TYPkCwXYEoPGNuiE9/AOEDSVRblpjCQ4jar4hTHCkdoyuL9tHbzjCAkLbHLwTFRyyiu2N414ZQuW
BtzxfTaI1y0bofX8WkayCFUPgWu56myXjLHTlJUPlB+MPIHWESTbO3D/Oqs8Wov2gTmkCd1LIfb8
NcnbopTtGiecSSB7TyRPQSOXGQdeg3ULeUVzJ83866DR7D213QAbdB7qFlEvp11VoFaYEu2QagMG
JnPmdF3jxKPkIM9l7M02vB8la0XyoltV8G4B4hIqa3iRfdUxIWCwbZziiiUjPIFuGidJkh9iDcO1
RBOvCDiAEjix0WNmYUrpjZue2V7S4SkPL3jdNWvgEItaD/iRCcBHw6HPrhUQlPOYGBHCnIw8KRmA
eElz/w3DOhMxc0i6aADFhTFipNUxwzhW5ludRd53ZGABgGfAtaVP3urMR/BuQLaDQUZffyCrnsTf
WsOfnz/bpjFRTb3QJcD1ZSFCPwdYfit3xKKXs0B9iDemYpjzO4LkIgQ6IFbQRPlH0tovdRa/NQr/
uLxRS24bDKoTzCI4spGk+rpRSDtqyoBqpG+AIzjqcaMijYoXZRFb7mVJC7BNFjAL/hFFZsnAnDCS
lzJE/Uhp8oDU8PNreIg2hhc8cBfDMtcone/4ze1aZ93STiIoN1C4NoB7M5+4yOF/q0AjzMfspBEJ
2oJ0nNn/HhjKmkCIAFiJ2wItfDNTRi1KlvJBZXDjNwZ/Y6tsb0uWeS5g9lTuJDkkqJAzXxFPBrSu
KleelmsCZhdeoqhRqbYQgNdGlvW0GF8ua8CyAIAoasDgB0vOzPCLTJZr2xTAVIt0Wvc7U9dXjGb6
CXNXjtQWriygIyDLOTN7vWa90Lqe+aOqurn6UqRXIr1F4sQJ2KmQjH+fRMfj7I+4mfGQpJPNEnUq
3y4scJYaCL5/IVBeuSUWtw0OQEfGCcM087hXSEXFa81ivqTjrmWNQ4K1JtolL2CiwX2iVDNhpDPl
lUVeVsEIEb1xGMKSxtLOLgF0uTrIbC6dEEI29GoDtQYMjzNJoRHLahhDB2wgxXlKUfWUjwDKYeZJ
saWbspOfu1bZjE1+XwT9Vg3yA0B2PlCJOmha5mlt5aVgzUajZNZsStmqaKEMB2kwaCcJ46gm5cR2
B+ZNVdkwRCq5NDqCifekkt/7yr7mXBxrMErQTDc+Ky29U7nhpnbxbBTmHfjmf8QmkPeKornhprGz
ilzxLJFtx6I9jVHtMl06kDpwlByhGmtOLNedJAIGqWBe1OX3LNTflShVaGPkG7kQNUa84oLahfai
2xh1T4o3fSgebXQfybHpjcTw0PqPsfEYt2HvBkXtAVByV7J0k4X1MWp6Bi4G/baXjE1fd0dVbjRa
m8lAW1tIK9azpAXIaZoyUVDn+iu3iUePrARVy/BGTqncvgbcohNwk4Wex8ueYEkSUAzw8sFDgeCu
/HrrNCxu9EivmF9zZNLVhIZy44yMu7q+Rvf5mzFm7hNs2UKHvqyZqHfNvI6MSZQqV1B6lCq0DKA/
q0KVsQqjq4BLNE8jj9dA/6gr31DETgw6jRm7R8OvMxL7NGDco0cfAJrmhxBVuHYD/tANycFa0Y5I
vSnFTWDlGym23iIm/yAWL1Cvsz+Vtjhwhf8ESPsRqZWtnpd7yex31mBiukdDjjP4paW2Y1mAVqhy
/jyGKrr76/4gkuoGDOpbgIFG+5qR6Fqgb9fB4yOnIVG2qtZ/II2fU6ksiadLFQrurDYoRyMOVaPq
M+xq4yYbwh+FHHtRIq4sVGTp0CbowzVF4uEVvR1z5UHt2Wc/KBgBEUlIk0bsaqn9NZTJT9aUN1lR
4uMkTwzNSyiKwOvL3kNYTqjCgo8sq0HSLDcP3IpcM21ATQItL2QLVAm6fJTNxs2yoHMya7gTReKB
hcmkLAWq6GU9WnKN52c7hfZnYZ6l6xVXBc42lV+j4ThKD5d//lKvGMFoiYb8DEBL0VD4VUBTZ7AW
zhgGYKMHwAaph9RQHoiabEa8z8DBu6lj4agd25cyO1RJudUsPFOicivKesezzm852xiBdi0Fyga3
92OaJjt7HH/gtt1h/vjBBK1Wkvf3TZJv09G+LpPqLor4LpQ1OkjiOLaozgf9TVtZP7CV/uUFfjVE
XMLIuaJZAJ2zeN4Z5rysVWWhieFADcmBkXhxwmhq3AMI/Sq0N5cFLZWCv+zk9CVnR1WWwOFNtRqB
JmXuQfcB2OfCabuDK3scLA2lkzuGZzrl8QmEfUB0dhWf0beI9tvtuA03t7a7SuCw9PI7P93Z/a2p
LGyHgSMydLnXufE297JN7psedwkGhypqOOUmdjPnY62ZeAkO4ct2zLxSKnQFiJLYDnvbuGRPbrOd
9DM8ECf1MCmxS33JMa/VnXxqQVyo0u72sXLCxvnVHyT38sks2tAfFZ8HrgVyEKnCsQlWL2iHMoKU
riVFF/MIKJaZyKZMoF7z5HmE4Sbwz0LGaJtoskGTU1dL+7bJnrOoQu5cBK9JisdHPpg/s7xea/Bb
XCIiDvSuaog95lastX1XRAybLZO4RAmhDalG1qhHlheJIVYZf2PKZg6zPpAkLXN7ggzO0QLAiXZl
xnwrbAxANLxwai0+CR2wQeYAr5ANw7+ftrIUdNujD3N6vs8Ja4qIkEzXxtpHSgb0qJGjkNYxW3Pl
Zf3VYwChVEUjzJmYaa/P7BjdD3mQpxDT5YHpIHG0aVF6cLRCkr0u01axlxZs9Iu8mQfmo5r2A7Ij
fuPKoXPStvaTXG0e0CJie7TxzNRFYkQQRz6km+qxXhs0+a2as/DhXP78VLNukKUkgPznq5penU4P
O0Gp/3l3fDp63j0I2yLq/LrFk3bFKqfX1lyujpgfSTB9ynXOXssREv8NqPBqkB+g+OPbB8v5gWS7
8yOnV5xyx/D9z9Nr7A2U3vWu/4lCA/3saEf94cdII/qiOInH6Lana9xkS8U6C6kogqowtA0vkq8q
oMrZNGCKT0vp4cdhcF9fdyE1vaen6z1ztiv7oC7tg6UC6Rnpa8x5zBylqWHvcw5hYpNT3UcDEVWd
3htcxX2P3M65f6toQulAOTbg4e7zSXhvjL5497cIepyfCe3p/n77sdZfu2QGoH3857NmkQczgD+d
dPisXva05g0lKyChZ+rT5dUvpC5wR/8jZT4bLLRSjZsRUizzXrVHJ47fzGrl2b90M38RMp3AmUUL
KU3sPmhr0BSqfut1u3fi1E7iBu5n7nSUEomWjz4mHwDKI9PI2yfeSH8V+9zdp5vCv23pWjl4wV9/
+aJZJqK2OEav4772zeoqUk2A4629Cn6b7V/mdbazMzeWkqgdQxM7iyBkdN5N+lxCg3QPWD2UeZ3z
9J/r/y3ybPfH5UNdQub7sryZS7PAoWSnXVf7w7O9Sff49b29Kh+tk77RG5pvVEq2ZBWWbymW/SJ2
FoFpHG8xNI/ggrjKMxrcGhiXxgHvxV69sW66Q7O1doan3FXb2EfHnE9cdjBv5W3ySO5qPD5QfD+A
oWnbUnlr79ZwhpYgGb983syrNEJHcx7D50n3YpMeEAfR1A9u0it83c739vfhJnrtXtVDu11rw17Z
GnSyfTWBnKTNECWQfYBL6x2TEofjH4UCvYImruQMNISLEYhTJa91Ewo7wF/bR2nf+LgBRsq3H7eX
1eSyEaAO//WbJBCZMSKgoZghooMC3iNkEy6LWOAInxJx/+tf8ED+KiPozd7uC6xb3euO4mobc9P6
ClZ5J92FNdWBpg9TZ4+Vn1AHHDVY6AfxfqVu5V/+kqVb/vxDZl4+0/IuCRUsFhBquNxyh7gVfVxj
6P7diPl/Wz0e3l/Xm+tFgGrXf6z+anQ+Pg7Przl9fpad02azewUzKrVc3KIFPb68eRn9iV+O1/f3
W/djv3K8y7fon73/HU6eud1RlyTCNXwLc3+cakjm0LGQ3g0OgXyLqvSWb1cGpZcKjucHPofG0/QQ
JdVJqEanx5fq6M7d50/i+gXVHIQL7ZrEpRvM0HQFHe9okQFO0NcdjypS1XILgSJTN711IyO1WLNv
DI5ZmPTTkeVHhfsvKDSWyb1ljNBjPYxCT4Qg29WselMnysrIwJJRTsOmWBJKon/VEixix7Ai3JWs
7t8lormqhIG9y7aA6h82ZaamqOOi9gduW6Rl50W4DMxqAozbDKPaEtv1gQJnmBTRfdB3+qYYh2PZ
FuiYT44FGVtPiWtg7EcFgAkq/Vmrreewbrwh6vwYKbWNomf7UAmcpsUIY9VKym0dS6YfDClCQ4Hx
6UADoXuvozvf7ccQ4BG9cgpMda9MfVRSOYS0K4cXVQFtjxTjsrfza8nGNElTRrJwEi2+DVvDqYN4
04xg8A5j9EyolU4zk92wsA+OwIt+SqzirqqbzpeFXYNdJSueYsvYJUzeyCx8HDNcvPh/WBYW1AzV
t6aw8Cc62t/7AGMElc2cYMgyoKNwJ7IBjyAZxUHo8rXNwJaQRIfYqN6YpdM2QPF8TE+6HCk7kcrt
AWhY8ckgUr3TK9NJGnYElUROlUS4QaK3vpTzkpYl+kUDDky4QY0dken3GVNcaewfWqnb9WbgsjCP
97bUPrVh9JrIeJMb/aEE0D3VbXGFTUOurDT2wpavRNWGYKNIEjrw4irCq5OiyH+TCcD5l02tImUm
Spo2zYNIrX1hlu9stB6KuGnoGOvWZojT+0Qo5say4+PYEJT9Sd/TVNVAB9JFJxtt9RiiKN1sRKZN
SAIQrUnoEauWNloy6vh9O7zWzC4CU5XMy0PNxsLVGJJwpl09YNLpSSn5qcxT9PRlTiTrGxM5QAuN
rHaFmch43A4k3WE05kTawW3U5LrvNbftCtdOUpcYyJYMyR6dEw21G2VrCMtJhsq1pOw6jDrZwamL
a1BzJNCoIXM1Er91NoIOqcBQ81VfqSntVekYtnZKNWFpKNM28m1kRtG2AlyzF9ts3AAvq6HAU899
BIM/AJr2aEn2thZBRGE0ezImvaswsouT5Aeq4phk4dF7agz3Uhff5VAWN2xkTMoC6whL057DoN9I
InxseN46Ied3io5UKwZqkYTF6J8cO4rFPVI1iROR7MbqUPyWolMhY0C+r686M31BwO81vR+knVvI
5RZh6keel2/AZ/GUpP8k0vA8QkXQ81XuyzpEjosV9xnGmTad2DW6ClQfW79FEjqhba49krpsPMNG
n3eKBnOnlDvPbPo9D8fORU/esdD4cawVN5TqVxKRU1tr12nc7JsaoxChxj5TpbwDH3WBTKEGkJeq
fB6rwEf/pHCqRsheYsPSOzl9VzlonY1q29v2vqnILa8aLFXTNqTIR8fW048oqV4LLdgpar7rrHyf
x/W91eUJ5Zi1SbNyP5ilp+ctstRI5ALxLYo3g9XvRS7tZXQuwCDzexRAW8dg0380ZFcs720qTBb6
QN/3iyB8IgYmiqLITrc2YQetBp1ZnbOj3jcxBTDRi2T3TivXVGLZVk4DEE2V/Kiakomv4NfIutyH
SRRsSFQH6FqPRiAs1pUjjcZJjazfCFB+haZJCgoVL0m1RzVONujpH2luRxtAbEQ0tCugp4ZXydja
t4mRcNqyOKNCxXB4M6XRFe1k49g3sZphUs5MwfamVy6pk8TRE1BP4l3SUhJGvzQ2npLEeiyQsFcl
tQdRT3XgoXUqR3T/clu+j2LUUUC10XliBNdKpT1qqvTY6TChKh4ydEoFB0lUMW1q8KQDLqWDNWm7
pgEVgtwYtsOCVKYGAICcWI8edCXA3YlRYpBygzAbI7eYWmu1FyNvByfrB9VF0qDziz6/rpoh2Ji1
Al4M7VqV5GfDUl/+h70vW47c1rL9lQ6/001wxo32eeCYg1KZmkt6YUglFWeCBAlOX38XVeW2RGVk
dp1+7QiH7SoNSBLAxsbeayAQ34EZhThwnj2EJUKLqY3jmsRW7PR9XvtdkageUsJmsMsptysiPNyT
YG8+TlMGy1RNoGsVs/ZJE0VlPGZjqudOWdJG3jJTDLbSJUXzoxj6hK8khafpXSVo0rqdglQyKyaP
VtUqHktHHqrHzmgLPywPJtz0aJ7JPu0BHDMLBSlYoWmBVpshrp796CAS6n7X65qfaNDLm0t4hVBW
oR5fDZYE8l5frKtw6N0+EqnDk+qqxGeA55vkyDx1LDH6XanvYaZwlVQx+LaaA5HO0R7zDPJQRN7W
A1sNEl8BYX8Z53HQm63qhBK7CZVMs+Fo90PrYGOTNjgKs0y97cfpURnKINHbLYNYctjWHrBiaVCU
k+QxCt+WLv3RJyAHQPkIfhYkubD0AvgdmWzDEURSI1PgUBxdmXXmi7p60EW1tbRuo823XUNFvybP
Stm12ByVi6SHvr/yokhxDEZNj9tHVB3MDnhn0C0v0zF7i6L+tpTqq4KV+1gqIwcs/dXQVc95Dl8s
ZbyWDM2NDWvV6vi1CUUtZcqujdrcK/1wURfVKss4gCz66NJyeq07BP9quCVGdgAEyw9z5Zsu6B77
NLqI6bAVOrSO8YITpzHENbyC/ciS1kUHBQPF6An4eLIa2VKrWwEzKo7tVY5YHjpKCGS6InNDsRpR
K6Qm0Li5JK1LKBU6RVoQR9czsesb/Hg6e1pkY5au4MS9K1LAMAkt4MKY17Gbh7SFf2rrpIWs76hV
SW5rJoo3FfCxilv9coxBKtTUA0v1H5XOwQvib2OsuFZrfg8jHJ9mfwG8ww6o1pXajL4Uxd6kI9iS
ApoPJhU3uBvZVUv9LtYi2GWTqwHOhRH2dZaPu7SGUUDMfMWiG3mCRqkqHDSLXroSZtBwdGWl9pwJ
fg+sE9zcxirdlHGuBySvI2+ksXLJE9rstFzmODnh5KB3fPJYbSKLaK0ZcDiUkt9HxlXG+MQvAMoq
nEEfjPKb1VQhtaUJpt7QOkw5X02YTKRl+puBvqrN6jBych7D5lNWc2hNcIQbDY3y01nqkQIYhQ8v
pKSAd9GVJaxUh5ZlbZUERcBYckA19yayocx0rOSc2O3nKwSuK7oK4AMAcsB0wPBmCam2uiQRUA2B
AnEo3AZHZ5jxTZWcM255JyP+k3W/j6OA7qKBWaGoXzmYdIy1sedAHeqNPEtqSH6Uqo1nlfqNlJi6
3Y5i9JTBpOtICpt70QDoXKfNOoebBHAZ0yEzB5xILA/M0NBs3HtuWmZCynpMr2mh7ONKexTKiBNH
6q9HJd4ws7gsAQ9HZKG2GM3UyVqsaJKyyhFUbBmSBRzqKH4ZynjgaDqmGri6SL5fwqod0Z8tfU2H
VlQaIbNTLARzoyU7nHcweScM1hJqoEiq7DYG2cAS7EVH6CniWg5MJZLdUkDkoDZ7dRuxELZpleGg
Hb7lCfdZLK6FEJDv60xXbceXAkIoeCJBbKFZWLZj7SJ9vYTCwFPCisuxVWVbybLMniKQjOu6CW0Q
qC5lAT641GqXJYnWoE1dV43q6UZ5jh91ZIl8amMuSluoao2VjKtB0BDNJlN4JQMaXFiG+ztr/n2F
ALoEQhQghfBQW3KBTTi00X4mAXLN6/rc56EH/C7Qzr8n+P51oEXtJ0ELDkV2tGUncVOWrxSdj9NP
8vmFvXdxqAzgG/wgAcUxrcULg9xgohiNUQdk5F6tPdSAFtWhf3oQ7cht+eModP76hxKHrudaUwO1
BrUfU3dwb3qIBzBSoVPNdzJD4gkHRXckwlUyM8ZWkDd1x1FmNJN9mSMxH9MmtnFv8Duiu7kwnbqo
L7Ux2ugd+mhslvCR630PuyVcmSaXd3EE50d+DxvPe6pSBz5JyEYn30p1RzWZyzLyDIRHYUPxMuhS
jqQsHu+mie3ZBGa3yXJ9VWc1EBfUUXpzV8T56J1+J59f/M+ZRSOSoEEHpBWwqZ9fSZIMag6qDegF
TeJDogjXBMCtyN3pUT6/eIwCeT8Zdr5oMUOe8kudSy6gDS7r0KqqMmDE1bf+XDv/y2PMA8A8CTrT
qOpAHfzzY0h1leIUxABlhqjV7ROOhMs6Iyc3F/2+BmR0jBV40X6lq07Q1wyHAuj4KWd2x/dyUtt5
ipsPNPslKq/D/Nvp1/blqXQQ0EAS/3vARRVy0rVO7WbcORwkcL+6kXr4u5hn6ztnHmtRhIxLY9JF
NI/CL0YNCOgUd6K2OLPDF+3o95X28WHetVM/bL5KxKkpQ9gzqCvVh4CPW6peXaKF08vBEN7E7LqX
fIG68ul3+LmS+3XYBcCv03pJFgKTFtJuZZSZr8YXhDEH4Rms8BfCnsuBnXnWz/WyX2Ni7kz0IlFj
XHKAEyWVuAoMQwD8lYU70eAqg7pJW8ku8xyWaMmZKuDn3OfreIvo2Vh92bczE0muc0eqDSfOM6ce
iR2H59AZR16nCtovCIfzRvsibQmsY2FNBRgYWlS9wZH5kBn0lUj5g1bKpaMP2T3IdasqpWe6govy
9Pszfhp4EbvLilZjLYEDpe/7++qWXMjASW7VVbviHsRDt80t7ibZN2MrtsWZKvWR1wvIOyBXsLl7
97j7HFyyss7Dpp65emVjKxwiD9YjMJAkSdzTa/XcQItjFnYkSOv5ALIetmDU3GmpcavH3BnL+Aw4
48tIi3i5iCypAubaAAfFYCy3REyuUAyIvB6gPHXmkY5G/g+BeRFcCs4VncsYiMIkiEWw8r4//c4W
nVMsjM+PsowryCqUSE0R+pmHYpjbe9QGwdEm28JpV8j9AJ1C18g1fO4oK1QuXcM7/Qm+ROnFB1hE
mEiqsNfV2f0uxmVwxmY23zJczU+P8uXweR8FYqYoBkOqYBlTeKimdawq8KuxIE2SXlllbvfdbV8/
Voxt5XN0zuPz9s9w8wL6EK1DKdU6ZgIvSFXUg9LbzLw+/TxfYuTieRYntkiNulb0VqDwnzgqJA7L
FM560VVY9DYBovn0aItu7q9VArEjoERAT4Xr8OfnaaOQ8RKOLoFw0FbwwkD25p4qVkmQobtMAu3b
cxdwR16VTujpZ3bBse0GzuPMd6QzWXSxC0qVtgloZdCMwwkeas2qRk65msxKrCZND04/67H1+GGw
JVKnQFujhQvcbEAg2aR7Yygahf3r6UG+xmPM38dRFqu+DpXcKCp4mI4BcCCXY27zdRPcpj7fotVi
V8+iszd38vYc0OXYwpx5najYAKwN3fjPEymmroTODgxaab/NG8OBDPKZtXJuhMXSt1CtZkRqRBAp
NAGsuXvtauN3M7v57X14isXqH1RpbISgs8i+YZsNR1l2cOrpHLH36LL/OM4yzqNSUTGwB4L4wnrS
9/HB9AsPnbnYb7ehz1ff44duAw8br9tZkV0OzrmNd3QxfnjQxcrXIzIppJUhumsaF23fQ3s/egDG
9d+ZM0AcQQ21LP2L6UbMG150TdIFShIHSZrdptM5cs3RZQESKOjE4Eh/0fZPxkpNo1kTux0PUfSQ
Gr9n1fQzRBFtvsYArWl9Ue9v1TA0kxproqOAwySbOi4cazyTKh7ft7oClDpBUvNFn16ZwtqwNJxW
khWgeAn2yVV+E66NQ+j3fvmcXo8X1Wa6a/Yo1f0bk4SmONrUFII/iB6fty4rrL43GxxhOQ2MCHWz
/vfw9z9fIfyEICkP9DjM3RbBwRQtZ71hICiF1o2aMdi1pucMEI4dXB/HWISHdEARkox4inIdH6xN
uEm2kBW6UwHWZsBOpcAwJc7gaN9Ht7zOV4qt13YF2NK4Elv5jJH0sd318bMswgj4Hy2FOp4IGo4u
YGsFAyhGtVWdGYbMieenmy/C1cdxFmHEzCSO/qgGU6UoDy8yHU9iTCspLR+TgW0E6R/GqdjUugQE
riT2rQnsNFXbczfVYzkQagjQ28L1G9O8mF5NGCNV0kig05GvhfKja+/z+m4yXkS1Es3N6RPu3GCL
ee71eGhokYqAo4tgGGgCqorTkNrh42ZQUIFHkfv0iMeyBKiOoERqUAsQW/Xz/ii1VIhcRc5FVG+A
rHFCfqjVVgNR5vQ47zYkX6bTBHaVGibMV95PjQ/JHUQOR6MATSYQGyWQN+W6WocbcVUHcODdamv1
slpV3uCMvr5Bs8CBUuam3OU7cjj9OY6u3g8fY151Hz6GIdc9ZCeQuTfhg0je4mRvsHPPenwMwOxB
qAdmbSkDwWTCWkPBkkmLYiUKtMKGp4TU7uknOTZzEAqaBfcgDor1+flJJJOgzadh5sYMjnREAR0u
BsrB6B/QvzuzGY+OBdU3VNFQr/siJS5yaSj4kAlk5i2U5b5T+NAlOrAB5N9JhCCLjnFQnIQcwGK7
CVaZ5hgDt2NCvpMDfAfcyOn3duxM/TjCYo8BDqELo8EeI2P4Q2JoslH6b0UNvCjk/ejWKHRJ8dQZ
KlwNyUVg8LRy0rIPWMcCBZYjlj68Fira7RE3vp9+siOzhBoyWjewasLSW2b8xSTSrGRoWVAFsvmy
Tr/xMkscyRpvkxp5+enRjrzHj6MtU36WRdjmMR4xqu8HlgEb+3h6gCPb6NMAi6NbSJBmaNBvCWqO
2vVYoAfU9EXjQIDqTJJw5Hj9NNIiKFBrIKTOmAiEggmDCgmShBYtPQXMSEv6N3KuT6MtQm4ulUVp
Ie4GVAsPcgZqnFLdSsk5zZujqwF2baAbYdt+CbhYeIqZJwUumOCU9uZhTHK3Klc5ZKJPz9PRhWCg
CQrcIfCry3AHzn+pWbxHMaRhkPDZlM3r6QGOLgSoDeL0hbDvF32GvEBzFNAWXC6B1OtTaTux7I4p
IBv8/jh4V8AiElSNv8SeordK8FMR5VqjeC4m3dHN9qIx2Nls7sgxb830EDQ/YDTxZWrqgWZpV6Gb
a8qQFOutonVqURQ7wCIguQIOIFe/UQMSDeqQ3sYEYDyTV6C7ZGgcQUH5ImuGzlZUiN+hwvA97q2X
opMvScWRfJoQUTH7YnT1KXJNNV7LRr4GRMxVAXuyrOJQtpnTqsShMvCGAMlcpiK/qaEWAqWiYdP2
1i0tk3VDtT30jw2UfXp0ayP5ArW7u9wKX+EPWtqYEwB1J+OA9XcNhxPgtuSDSEo3N2O3aojTk8Yr
Se5qw/ikgBtlgiaKm4GnmOMIhwfltZ4ASTKb1BkzdLRpDM1pubtWdebp+jS6fQ/MiMKciMRe1YZr
TZNSh+Xg1Cadl1fTI4+Sy3CkzgThFPh8YQg+SelTasI1qlYK2yrNVdqWhT11MnMl7GTUWh8HrkEA
NrZglierTmPRQwPYhW2Y0m1cqGIlgdDlcsYSG7BReQcthXw9tdJ3Kw/LrVJRA9gQ7srD+GoY5new
7KFB0aFJEhXbkJMbtTV2fAL0K8J31yiIJyoEPxVk5Lz01ZLv2sLCRFiBzCa/HKxtoWuH2U0jtJhb
E9WGEL5piwRAPaB7hjwGnmS6iy2SOxTY8LXcWpkdNwSQQ1Nc8qZYobX9Wk7tbioFmijJtmfaSjHF
NVPVCzZlL3rqZYwFdatuuhSNjj7iO8kK3UGwR472J7TjGy+POSwdTGA1myF+yKtyL9WRBhym1Nqi
BnCJwvGYGSB8K+21BextaHT3VKuv9Z7uek2YGykDXkBUsOtLieR2KjJJXlNw+QvPLNpvA++3GSWo
YocdwioVVzEMccYEKll9DPCnDphS1R0spvthRh4lzYB/plgraXVJTfZDScRKtYpXK7We+6Yt3FmJ
MZfIphvVTW5oDm5g20RTVtJIPb2efIlTp1A7gMfoLTiVl9CwR7FvTHat1d0ksLdIhhZ2F8mtCVyb
ySxHF5KXRLrLDOIyNvyos3jVydY9PBe4U6F5YhbjJY3GDaQtZDstK69Al70CpE+buoeM5AcoUrq6
ztwOKuODNVyKkoJ3FZm1AxlYx+D9KzTdHIjDV+thnALF6nJ06elandN82Sw3hlYAgglmpZ1kVLdz
AIpyAbRa2HDhqBF50o0udZOwuQPD8proaeWBgbXrR7j8yD27lSv6VikChTFVRbtXl38UeuNnRFsb
kX7B667CpFNINljZnaA4R/OM7BmExnlZP0W5ltpak/rMCuH6kNPSK8S0mcrOLUZIbp0OtEeOJlQb
0M+EJA3gEXRxtatrGjFFRYEeIhhOU+t+JG1U9QZc5DNdlHdDosWt49NIi1JQXEq0GDKUYPsraUX2
WmAF2oaA9ANQMGgtM7lr+5bbwfcA7JZA+N8fahe4cadxO/tg2AY4COkKnFnco8mjciarPnKuffhw
QLt/zuCBOkXpZ3aiosUjU7e5BJxIc+awOXI4fxpjkUTJslpY0Xw4T4SmTlN1dlEL88x8nhtkkT8J
XY/ENPfJEK1sYV1o2u8p0L8XWX6WsVVYBBNlyV7OSiiS6R0qvzAHsnN9q0b7qfNOr8qj0zGXyn+N
sbgYhBGU2OUaY6hGFkzVN6uOfSqfE9E+N8ri2qbxGuWqGe1WdUMwVs9dQoCu+3H6UY5tMFC8AdRB
UDHA+F6sLLUHFouhYC2gpNftBSRW1IysEhFenR7oWCbzcaB5ZXy4TpdKDTdjmHMFHcS/VGQWortN
qwdDf62gLmWQ59PDHUnUwbrFvQIeAUT9wqGvW4paPHw1AokY3mTuOyCC5UsTBWU0qE4PdWxNQ/YV
gkDAB2HBLeZJEqUaJSIDWUOHxq1lJD8qAOH/d2Ms4uAYJ7mZUCScyEoBtqmAib3+342wiH+mAsPb
KsFTqGYO0dL6MgmNc8SjM29qqWlWFQPuwYYkglwohzE0g0xtz7SOj22aD5OxvE7HTS40yqMOVsed
DynAvYUtChWYM8McW15wBlZxawKkEyC3z6s5lDKpzBM8ScWHHYMopa2p0YMlCpzEueFXSXJmAbwr
1C7PJ7QPsEmBuoHA8CI8JyHlVaGGIuhHC7JHo5I7vIpqp4vQnymSgu0jFcj2jHbQItOlzGYkXme6
tI0beRUb/LpgoTOF0i6O8PeGtNH68FpLlBWRKELxZP1IqFXbWQ/dTrPofKTTPhR5g6pVLxpVw5Ui
Yq4y1QaQS8qejOpFmRIgIpVeto2CP5UGQN9SYwWnl+Wx+PTxsRcHRp1VaZMOeNFa0jpDlq0B2Haz
gqCNfSYSAh+CSTv1ipexMKk5i7iKE1AFbQBIVvTprbjBG2tROe5GYDrJsAJ62lMg32pXk2EXiuLl
0KJR2iqIWbMyhXyh6tqTaUZ+yvvRrqTKgzL0DtdVd8SVJVWtvYU7yVBehFG6gqqRr5uqNymjU1Xl
BvrWhWtorR9P0wYRDNjqCMm2nsZ+LOA6DPy5iKyV1shBb1UXLTgwU13pq7asYjtsZ0xrhWtJ2eUr
bUz9fmhdc2zgQcemyz4dHo3SDMAeCwCN3SXWsM4VcQvgoeIY9ZADIIMsi1bd5PQx2RVtpoI/AJc3
AF1B2Cfge/P+OZqkLbgfli2DSQKCB3f6mbkBRup1RidHUqkd5imYDvH1bC7at9SOM8umElCMdbRK
LbI1SnndZJOjDXxLs+a1lOHlJ2cq1qQWNFrt6lV0aCxxGHpjA119lIxGthYi3UVq/13WAe7u6ati
Rft6GO6GrBwdOSvO5Z4L75CfqYSCU96cvRdn2Z/PmxwIeRCrBpwheA1B7xF3ZlkPzlvitbYZ8KvE
Db3Tq/3oCvxnRHOR58nIyiH+gn6kWq8s6Uf9e6LQfz/RTP6E6DAU8hZhC6oRVaz26EANEXjZCUTq
5WrDFG39+48xK7QCTgDM4xcHRDERaOHNGHQ4J43WsLUk/Uz8XagC/ErzPgwxv8kP6QREV820lJCt
om0MDYKLMKivIYTuauv0fvQfh/vpOffOqVYqx+YHZ/wsu69DjW95ukiESaGIeQvxh3GjbLJr1Ydz
k1v6iddttdfOrrzeT25pYPnaKt1Ia7GqV+fgGsc/xD93okW+wUeTlQ1HDk0KspviLOi6c9Tvo6/3
Q/q01NLXIX3QMxntZGuXz135zbTiK1DJ9rIP0olT+ONKPzRnJvVoivhPzqYujriet0pRy1g2EFiE
SM20TyzFzTOw98zMuGBV9k1A/+33l6o2++0awO9hvS5eZsQqApDkfCEZXgy0z4b2jOrlV2TpLJD+
YYRF6ka6KJXbHGvGmJ4Uo9Vtucp9HCJBOUzbXiruuF7f1BLz4Jv1+/XWT0MvAljStGMvU4STlqMa
lBToamfSuUGOZVzomisog0LdBpKYn3ciywFbtWpEyVaH0g5wNTkLwIY6PU3HB0FDEAk2hEqXqp4p
oJ5VCDnHmb9mxwaqx/h/ltZnVsN7k3+ZAsz+DX+PswgrRcl5VeU67lxgUR8A+H9RA2sffpe3IKCs
Tj/TsdTm41iLFxeWcZnyuW2NfzlM3UURfLn57QiI2emBFlrCP4Plx5HmT/IhWAK4YQzQMcXG2lfC
Yc/ETw/987RWH6K15jKn9Nd2OgCGaIKH554e/NjM6dCwJbMuE25ji01txrQtUo6xGZFBQVvP7oUw
TzjziMfy8Y+jKJ+fUAU/LKMhRgnHZCslPTKzRvHBcl+B5YDS51k4zLEBTQpTAkgdAuy1bFLj3DPh
HdiOAR7uSauxXACec1UC1vaQPWNKzon1HlstHwdcPGEr6VUN2UHsAFK4nAwBkPmdTXqIwkXnrFSO
PxyukugI6TBRWsSNwpILDv1mjMV2VXgXpW+yGSTxVimfTi+OhaT7z5X53nb6OdJSsgmEFAWWiXgq
stf31W3+2B30B/NyCrQbyx6eQsnpz+y6Y4eMJUPaGrUOZOLLtjHTohbFeQl1iI7aY4c6tzk6nern
mgV+9Avc0c8E4WMb4OOAi803lOHUyyV6/DBrtmev5EYbbEsLTr/Jc6PMU/phi0NwQOKGZOEck5pL
GH37UdL6qIqfGebYyvj4MIvDDK4AtOdmiJVRgSHNnES5SCF9g46UGV6ffqJ3aPTnWAzLj1ltB5Ie
ALYt+WM1VGEzrcjHAEgCqmbOBLqnXhcuMROn0IpdNymQ9YbkJdRVpZq7YCXZNDnQHnLZkJZAgXvd
tRSqBBpE76BSNZ7jQH7dkp8/4GJLxhmkQC24CwQSADdjfCMgayxlsznnmSX0NeMDpghxBgknxX/N
5eTqPfYjSJ1B09xXxlNEfz98zqAl6BSio2Sip7kI0s1AavhKYsMP8R1k7ACnaF0FNCL4wjtl9Evb
/j+/D/8vemOHn3PY/Ou/8OfvrBp5EsXt4o//umUF/vmv+Wf++3s+/8S/gjd2+Vy8Nctv+vQz+L2/
xnWf2+dPf/DKFnJvV+KNj9dvjcjb99+PTzh/5//0i//x9v5bbsfq7a8/nl8LNCaRNvHke4vZ/vm1
9etffwBzqc53gg9LfB7l13fMj/HXH8Hza/P6Vh7/sbfnpv3rD8nS/kSNRweMDBON6Zixbv3b31+a
gULobMP6CznpzA8sGW/jv/5Q5T/NWYEacvoA+SCuYaU2TPz6ErrHM7AE6oggMELw+e/X8Gmi/pm4
/yhFcWAJCDl//YGUDnHkn00JG0KwimHfYmoAhCNhfr84fIgzaqJAznLS+lWZ5MSTmXyZVOFllqGo
O45IzTQa2rAOrYMISxYcWOWhgVQyA+8zAnvQyybgerNy1Qqz8Ntq9KAZsaqR1s9NpAc5VNwmjLei
qVxQvF+zOHMhGHGdTHQPCrvd9bIJE8Z2bZZ8K2WyU/aQLahz7GygMtBNqyVb5hmUbeI9EuPSq40k
RL0q/W621ncYH0KyShh+pkVuF40r1khvUqX7aChu5UhkwM5p1G3QQ8ZVBEjJCU4iPEuDMGp1N+1a
yLwMKF+T3M8VpbVziztiGLdDOu6sDmDsuE02VlFt5EjdZWbqJQWB6Af1WJn4dUX9KIo3/IW546to
dX+SCr/v8l2aaB4oXxuuA/o/FH7WEOICdXQhtxC2q4uLcTK3qlZf1X3msDJaw51rIxLTznvqdpN2
Ww/NJjXMtQJxGokj/iRE+L0ZXU/xABNesBW0hN5AaeUgNAGBBysgbXKnc0m2aWatJCY2fU+2ehI/
Nn33zUgMXygTWKPppU7Gi7KBzMhkTQdo6WyFZcw2TH42ZdBpTtxUuS8mzSmHxDVldpsZsmum3aog
iYdaI3qLLu+fqh4alMUElY7XsAT9XYxuk6Q3CUJ7j9oXWIv+CAUcMwIJW42uB647lT5+g2SLC0rJ
hloUlqzhijL1BrbmAemFK0zpLkszrzPrq2RqnQ73qdqqXWZaN9U0HiDSeIj7cDVB4IYNQE1AwGmX
yfltHIEST/t4xTq6axtpz8P61lLktZFDGwXiCrt66i4htB5EkEzAq/fionDTCArV3ZUmT24fKhdT
N+4yLbxQM+0Ntp17vaArJZccI99ApZ20rcdjCgIFlMtVaUf0skCblSbc8jIzUmVUj7JsiP0u743J
Tgt1WA3gp12qGRTT24aU69JUpe3YGaqfxWYPRroG1hzkRy6lnEFTqlFJZ4dc5as81ogCjAVI4k5b
Rig/wAXlQeKKjsAdD5ZuS7IpYQGkkI0H1ky+b9M+AamclV5b9L/IHf8X2XXE4f/8O3B+jexJ/j3m
OBeOxPb5mPgV25U/AbaDHSKUlWF3h57bP7Fd+ZNCbR9/B/IUAPwfYrtC/6RA24LUiMs16GQqqtK/
Yju+NP8+tB9mJ2XwrpTfiu3vAOVPsX0+WqgF9L0GhRvoR3zOIUuJZEPNRb6SrBSyMTnYzBAHUloO
/IJFIvDHradcrtlF3RvIxUDw3yFKr2pDyLsmjzzdupyUVLObil/wDGWwiLi19QLLvQfJRJLWq0nQ
1oiuquSldQ/dEwUN4Bxon2dNkRBqCRoZJiIWaunE2GeVBaGtFvEh309htZZ64lthuRvMwktblHsz
Xrs5RNX6idx1VnI9GbPtWOP1MaQXVdDqiuRx7EZXy5Rdy4XbT81LkRpALDGb6hDWSYRvhjQYBnFo
iXVvcch7xo8a4xv406zrRttH1XPMnuTOvGwk2dVIHqS12BgAzUMN9XbKs/WATysgKadAu8IyShep
miPp0DJTodajEp9Y1y3sxlTASkJ6DzMOH/LM25rWvhxBvLRLHWFA+l8vtgrpvVGJnNpsd2N4LXXa
xYBPmrcvcTauKU6ypkfDxaod0SACawbK8OYuU0enhBhGEvWQpM+2g0qBt4IJAcwoyFXbhd+UGPJp
ZjtcdJjOXq5WMrnPItlXgNkZGitxujS8QE/9Xq+KfV5ShxWVk4xIaXm/B2wV4JFqz+WnCjJRSQHg
FqzFegWw86RTnifgZ+JBDlJgS2gFLTUteSys9odMuwcCk81R5ReFWl7TlCo20avUNoDVt9tebv2+
kNYx1BtsiDB5PB8fVVSjTcq8MtYfrExGNEd/i5KNNmr+FKsFZFuqEJihxEsZXZdpuiEGqsssdpQa
PnCoChlYeC9THF7GUealCmRpwU3PVAYETW1O3jillyUED702VbZ6qB2iWlqHONdQvSjtto1cng1r
okODJ6OXwtI3edRcNkUJfU/1aqQVKjTwRLEhnXQL20NXS2JPIuF9TCLA4sWtlaI1MbZ2muoP9WDc
DzAO1PTB1WmFCo+JDhCWsES+QXIHcuc6JGyUb9qQbQqW3yXdDyZuRsCJ0k6BSkD6LcaCZ5LpJgkL
5A6oPkDAwrEFtwB4qQkQLdYynxvmbSqAlFO0IIr4swyzM64VHtBGo61HjQ01iNSRaH4xwXuhiySH
5OwxU6GlqzbfNLnK7MoYnFiNXNJm5moicCNUwpeOS9sobbdF1zt6DZVAK/N5EUO6WsldoPHuOqME
G38qN7QOiQ3k05tZJY8NTS+wxja9rH2Xu3pfyKFfhpUnJYqj5iqMZHLhGJRBpTAyyvZCyPSHksE9
LapachUNqb6SkbvYsoBiCGlC7tV99fIenP/vlJo5GSdOqfz59a05ckThp/4+ouQ/3y+BFILl0NXA
cfXPEUVw2ECHA30wMFT/++qhmH/ivMJ1BfdzsB7fEVp/H0/GnyaccSiAW7KBSgsscf8+Qf8HVw9z
voN+OJ2gtDp32mGCg2uHgWvQ4hKsF2lYlKoyBZ1hlM11A2O8l96ICvWZ92mE2KCEcesOkdnGnrD4
ZaPnW+hMbqsy55DLS2I3Zf1e6lLqyUniT1mFBUquYoISQhYTf2JAO4Ut2Yq8dhpNesoSOBc1Ehzf
Q4ShgV3kMrsstH7WOHLyEYdiqeHmMz5orAxGrt6EIUTIFHFlZdUhrbONqTwzGtty1rxVGZxEDX3T
6iu1R0oYGVuzZf0uaQdGn/RMaYinlbxJ0UeNTegA0gZ6feiJdi9mGIejQ1r9h1Gj4tfDFg4lD+hu
vuojzJma8b6tWCc9sFokL6GW/X/2zmM5bmTruk8EBbyZAihL7ylOEJREwXsgYZ7+W6DEK6rEJkP/
P9UddNxodhGsKiDz5Dl7r71tMbMjGVcojy0tHo4DfczIem8s9Vbv7e5WRVQ3rP89Uj+O9PQ+//uR
2tLayB6Lb289Vbzw11PlwMnCU0h3hSpvGSS/HOqXp2rpmiEjRwf8PGP+eajnyaKsX2pFjaoQYT7n
/Zcny/pEy5nEtsXouXBv7b95slTt4FC/PFr8KkpSC6oj3YeDrl7VqE6VTTJnnhC+jrHcZlOofy80
etxw0bgJ5ef7sWnwELhlbHOfAuXjnp2suHEezOdbWR2v5yg7JkBXEPk9cGjKzkURnjqdfRcV4Af1
snJjZ7iyohqOmxVYp6PK+SqtwHGNwUNv2X5l5pdaZqzzYdqnvRhXQyVtRO+46qzeTX11PEdEdbTi
UooTL8jCh7GByBqU9xQlCDDz1g/lclfZwzUtrNM5KSB15WDswuzKiVo/zZS90qApVof1NE1gjrKT
LNA2jpz7qVzvpDZ7snTJ7RvKVqsiSXWO3Rncv4sydCXq1i9t+0tsmR5LIYxzNYTKqm/F2PuBYvpS
A3NQT2Nf4fyYod3ta+miDcoUliOkXluI/STFgHqNJ5JhESpt0hJmfGz4eZXS4DTTL4XdrvmcjnNh
fmZo6cMQTn07Hc/gPa2GwLouy4YyMWP/TMPUgklQUleFiZeH4AB7EH5BaIO9LTF5WQV0qCg0/WDJ
kpq6zCtFe4leyDMSoHnN1O+VUj2fQ8lXy+icblridTM0tLE6mTR9ZRnTrkIRq2SGJ0Vi1472BuSb
V6ry2SBZV4TgrgbFukHY50bheFTL8ZOGiGzhq6q7we45KEumK9fxShdCIn7X8jR12JcNPE5tuNWT
7hIYzQrHGMKjqb8rHVBhqE/XQ1Z8iyXZM3ttm9HzwcJ2mZJehYR+uXwBzqqU4CpyZg5FAN6o8yeY
czMLM46Bz0Yt3fWGg9g5P9Ol9rYJNd/QIbCOJdzEUVt1NjakOjY9M72blHRLlu92iKcbqW23Td+f
VE227k3yuerBFp6oZoTTSj17HcWppYyAUcPYI9dsnVgZn3FHDhBUZT8Mpn1hI7dPqys5jYGpThiF
Bvrx40mYFrtkkvehk++MYDoq+zR3gXyBqLUTrAfVldLHBDRz8JrNalWkEDArEyoXkppUeLNmR+5Y
I5rJdFVfs954XUZ8Gie1M4NQPtR0+7ooQHGF4cjZxBsjQu9LUbkaVwuvm16v9r26PNDq3NTNHgV6
XG2noZYv2oahrR4F9/p0LJ53ln+bw4/NgRrknc3hqfjWTG/UW7zq185gM/miPEJ/S9d3yWt5vTOY
9OOXeTfzqmXTeNkZzE+Q2+FFG7SDQTDar3YG85OKx4nZH/oeAqHNv6q5/twYlummw7UJOyO701wm
IK+6vVOrVE5XV8uUsw84ZbVatE9tvQwBGJvV0PlOvK0yxHIFJzWpVvJ9NKnxVxFo4/w9ze1MXnGM
FQOZkcxhL7CyJdqjrAXzFyvRs/ZSey5F9AartPVcoEhLrWIvVYu91C/dcykzJek2KySgqBOZesoK
fnJwBUSRSEeS+9rLRA5dPak0RNhZnJzrAbXilcNK1Kxlh/NnlUnddVaVXbL7d2P/uLH5ot+5sR+b
b09Pb9zYvOrlxl7qGoKkbaoX5efd+3Jjq5/kJWaaO5Skg78oeRhrLC4QizKKIYTzNyXPgb4JoqOi
yxQ6sCwYcMPl4OF6fWPPbTjb4cAU1s6UnQLN14bYPDEh8EQc1ft5SpXwWntePwdJU3I3KXNzujaD
Pq/3uGRm7VjowUKgd+RIvhrwhOYrA0lHdlKNk2m6/260HzcaJ8n3brQ8zrryrZEZr3u51Wir6iga
wYxaGiZCfvJyp2mfNMpmEigsHKeoNDhS/pqYcXvqCgoEi3oXSd//imuGadBRVQ6YDLoVQvj+rrh+
Fku8OrcS4Ef/FsEljXiZPO/DlOVKiLbLnKHc6jXkjdQkl2tqRi83q3FtMMpIx+bGyoMU8UgFT9PS
vaEkiEIao8ht7fkqyUfqYa0t1rbW74J2vhuUXl+Foym7fTXdgoWnAyhRfrRdmLnqFOPc0dLHrtbO
SlsnTi+gm6MMT1YRHGFoJJiHMAEOFXslpoekDMWm7vXAFXp81CWJuWrUGKNmzq+Lz6GXfevV7DEp
6YkFTnxtOHWyAf+Nhde+whcq3MgYLyc5C1YhYnmUAPo2itWnLDKu48i6tonJ9bIwJMlijzmQeFXi
C7L+izOPD9DAU6IebLLtU9PrluZSXtep79T5Ny0qH9tpbN2GYYcXlea6NITOfyRd0VDbaCLKiCZs
tz0hB2M1b8u+8YBXRG7ZV5XbCWdXG6QFD4zkrWauPW1sr0Ytxa5oqX5iBhe4Oh9TOCxmFSWXSTMH
biCNAbmsjVb0+tVstXp4kwUljHRQwqkuP1r4DJUIDd0gB6spcUbMoNUX4rLJyrUvGr2VvDYk5CSe
B6/KBxN3UI9829jLZXovmth2KcivYbYiXrfQgThx9NAX6mmN/9arTVjFpi1/rdXyPnH0h1ozLyQz
pL+rZ8xOnWMlaWGd2ZXmZVF4S8O48IY6OY2N0PFVY9gIPbqX41Hfhynnlb6aj3JSEwNjyol6IGkk
ys1duvRMtOJ6nttzuYpvRe4MvhUYq1hOVhw7LC9sIMybMu1IGW0MoTvnaid1HgHE1c6xpsxPuC2V
JDuKRHRflOMqk+TLWKfFknJ4xXOtXua0gDlk7YvhKpK7I2sqWm8p1buAKRb15VOhS6siD6jkB+s4
G9tbE7DmOh8R2JOLca9LIyEqgia+PSbK2YDNvqxiP4xpxfQKcwa1Cvh/WnCsajVd6BHMYmkJry77
M1ovJWzJ+JR6Y82rg+MuRRaCKizlYNaeB12Wu0zHTmg5D34jclDgIvyS0UC1nercnmPw7dkKOeam
UCpQqu1+zGqL7uq000fLt6P8PErKC701VmnfPukcCLTUWJf5Ri31TaUcZ8Uxc5TO7TR7lYzGQ2eg
Q9OmreZMGuL49EipxL4CnZgryRGtqVPqowsdxSF5ufdKidm1sgt07tChK74xyK3MFuQOu7fRn5Cv
6+sl8WJtFA7uOJA8nBE9lwZX9hCfAqB8COLcdnWz9cy23ddkJlsAf925nOnZt/MJD8S1ZuTC7RT1
a6c3J00kQq+ftZu85bjWR7lrkG2gL0HTA501rQ9wlDpbbTY3SsX5fWzLs6SXd/BZJHpV06ZO22xv
6dHXRLWPMjQSfsbCFnbtD6nYv6atwdbzzhb41BQ0mMo3qi1e92sLpMZiaEc9A79PXiZ3L3sguyMp
owpaPsp3KMfUaC/HCPuTCTGU3i06RlTOy+HjpcFkf0JRSwsYue3PV/1F6/aQbM1phF/DZmrDFmRc
uYwwX1dbZE/0TiaLaKu5BJ64D18yP/JCzBQ7xU0fxm1zl2/sXesSmxiddVvmQ+nN5fGNfpRfQWQO
U696yrxthMUWtdfRN3VDT9ZLTurtq0/2Z8v5tbplKfp+26mf/0wOXConHgV71+9/pq1LNVOOPtoC
6l8aHgyOvkv2RdntKjldS71M+NHX/79LHoxclY7uXqMul+yxkCV4nO2z1D6ppJTZ0Ly2pFUwfMBY
ox56910efBlRnHe2FXPJVs+uHQZTFLA7AFkf4JO4ed69zPJnvDo6qlFaEFHVRds4OMdZLkMJqDQ6
UM2JFnW4+z8S8i/t/z++PIXzBho2xPyHMnSgQ+gAk+V6yrVprumPI0bPvaJ/7NrH/4cv7dWlDk7F
tRg6Vvg62qohTg8ZMHnjjuGDwCEvWdCplc+TmXnvX/MAJIvwiptzkU8zlsfUinrp989zUgp77HQu
ylRybTq9NxFt1KbSURuAN+mn6DwHxwfbbF+F2rEWMl+L25WulFuFwC5TNl2VUaZqQJyNws9OgNAo
J7OhDL3K+TsK5h9/6yKLe/3dl6kg8Hn57oVK5EitMW2/e//jWD7iw2/71aexyDNeX6HqMLKpVROR
QnPa1cVpDmV2HowjIT6iVx/Q5f58MwfPS2aESahpfPCz1q2ScB/Xp7QmNol5Rns0sNdV/6UElp8d
5/pHuav0cd59l8vPXz1DZpQlMvCuaJviaXWtqtx2bfnBCvTRJ3nwnNaBU4ehzTUSOfIiIVb0xjeZ
BZOl/oixcHjqPryHD53SOhFCDKi4Vok8oYiOR3NbTp9le22DA+ni76mFmwoocnmTGBxTTBKe4nU4
3wnjIyfXW0u9g84GHDFjF+OQ1Rein2u1li91iiNvNE+0IvdS6a7J7nMyPKrum8g/EtV/dMmDVYOK
cayyikuOlPBzRiGnQn1PPREgph79Ad9un3yUO/PWqvj6fS4/f3UHxUEDHFEqWRWJtKmU06ZnF2Wy
U5zaQ/CjSfGbqvf19vn2k/LqQ122hFcXGwPHqrPlYnWPRGIIV0J8z8v7goOWfqkPO8QQg/SVmB0O
Th8t/2/taq/f6OHySMhcRwUfbW2n9Qo1XNcz/XLC795fdw4MQj9XA+X5OE+dhRb69/co98kYSeh9
tkMonUppcSxI2mrpyKMAPenK5HORKnu5RyOlVsfxh2arZ+PdHwvfq+sfLHxlWDZBvCx8aH62WZej
gM8Z6wSr1q72Ttdf9KHY0kX1bHSOgyrOEgKfynHeZXO5puWw6boLvpZeUT1LCx/Jza3JRiT806xP
65rV2qx3IjK3YPR9xak2ZSy5uui9tEg373+Ub9+avz7Jg8Vt7FV2BoVPsiCEr53l9Wj1u67X/HSw
fLm7e/9qb5Uj4LPQQctLBvthF2ZG30UQJvfHEJOgZheehRMvy5pV0I/rfLpkBPXBjv3m4v3qigeP
XhVyVK0TrpiCP9dszsDEF77/pt686V9d4uCB60lHQ3ZR8HRT0rmdkXtYTXZd1H9Q8Lz9ZL+60MHT
1ZK/5yhw/rfqbDNQvUL3htxgVUE5Uo6LovCcyXJjKFa6/DWVxg8+SWXZYv+46X9d/vCh6wNHLSrB
wtKlYi1FyQOhittaEPw22fJZZIUkGHUnzFE3hlTu515gbu7SW/qCHxS1b67hr/6Qg8KmVcg9Ey1/
iF1noBKQ9oJpVyO3aL9axlnOyE5Wb97/jt98THSF9DCAM7S9D75jRY26PqriaEt02agxAqkeOnHc
F5/NXvjvX+rAqvpzcXt1rYOvedZDbZbThK9Z/xyGnMnMYyEY9RPyEKX7asohp10VyO/ev+6bz+b/
LgtA9/c1VUKg7+hlRpqpDWUs2I7YEDNCrcMrkex68G7vX+7NL5G+L7Sj51Tig8uhE+yYWofRVi9B
7FsXs/lY64ZrB7nfx2dleFuXH4FP3niHSCuW5jTHE/65PMivdsZhwknR5U64NRIAEmJeVabGGDwj
WLA5yYrqKRyDD4Ahb+1Uv13zcP3pa3B2JteUkuZrUY+eIqd7uop7ozPuTJqiLuO5L008k4bbHAV1
tv7rj/nZwIKN3IC1cTg7NNq2lyTVCrdRgWyCQ3wfH1fVrq+3+jiSeAoXNvlgnXpjPfztkgdvOVSd
We50O9x2MMpRR7i6BahO+gAV9sYT+dtVDp6SgB1VzA1vLIsec9mXunvHeCBF1wvqzfsf4QFv4PmB
5FI2z/4iHWIYe3DfmNLY5WC5tgyqNuPxeK1t562zms71XbwxVvbVuMIrsQfworvfetc6pvHrfnSa
e+OEYHHwNIAe8FUaz8K8VzevEpmJkKA4bqOAhBlpHlHK9oLtrMJYEAYflaxvfomvLndQ4cSyU0oq
Xe1thGVBWOArofelHwDV3ticf3tPy47z6j3Bu6tNqeEitlqv9IqPTfsI0/DRx3bwzFuZFUj9ZIbb
OiDL+sic7o14dJX4gy3pmd58sDn+9lYOzhVKF1UhFGnukfZLEFxq1pepP0oUpgNwB+WauPHTxPw+
95+b9MzUBs+iQLZ6JuYK/E1r9f4d+8ba+tsfc/BsGEanpVHL55rL+X0sZRsRdOfqNPpjx4g/Vr71
xIIn0qx9tHUtT8KfnwIsVtyL8p8UgtQO9awjqHFrCINux+OsnGIsdo3iLK6ODYPg22kDcEqg3H//
HT9T+w+uvGAPmCdzZQSwB4vOlEpTnYVTuC1zAp9qD/Kit7nLY9c93tVevrncFO5mt8svmG55whUu
ojX3CWWXt+End7G32nvGuRp4kl+dVN5V8sFX8sat/tvfd1BARFKqDUMwhFsnVfyhPEmUjwBobzyx
r67wB50wsCQ9StuZnQbfA6UiuQZQkYePjNS4Xv78kn+70MHSIOwaiZOsSJtOhEN65/Sa6RVpJyJ3
7mtQteM03NvppCRU9qCQ5CF96IjaWJVqeRY0JRbFWL4I7ZrWoFM9CJusbttGy6L0mr2djCRexSNQ
pdA8n9PBNwMRu6I1YOpXWulGkrmVs9qvquBeGoJH+ueenK0qZ97XOZmlU/iIr4yY6i+NgqBxqu7T
Yt5rxLH6Q2efJIir3dyqB1cuy4yzVZL5rT2FfkLGJzOVUffq5JG063N6dvWC2iTqB3djKps3og7O
JMZFejDuWjBgJH7nx9UAUqptHQzllXERJ9FeFuXDZIoLwbHQrBxjNU/KSd/DjtXaHVr6jY4Ushr7
0yxMLvAzrWsta2taA0pIFClMzQvbzAL5PpgXaY1oAX+VVUSsqZF6uTRJx5nFgVYxnVVYpSTZ0u8a
QiXxCB47KtMk9KMcLo6QN7o0gfi1/Rg8OwQs+6jLlbM8s/cJMsMZvpPQNS+cyFFumE4WinQfVfbe
rNNdbYr9oM8rWUpStx/4TNpi01c0MrXsW5k466lrLzO1S9zQ7m4QrW7qcCClqCQIuKVI7fyeAVzU
ld4ATWNUs/siaC4Azz2qY+07k/N1XAxKQXSW96Wf9913zvBHsaruehq5nEn3sBy/1lH21eQv0Q3T
dVT9fGiyDeaidTBF0PcS2F9RL98Ky3yQIOcSzgwG1MR+U2Jm1DYF8g9JNJdqpDHvz8/sMLgE/8ud
cqfT+ibL1h+KYFt1xlGd86EZyGWb5tay0C/Z8n7JK44C1bUCdccR8luTN9vQZlUJ+UhI7j7r03kT
tPa2HHAHqVovYwaxJBjLnNyzfhVkxk7K24sxTI+bpNlkqukZWnajZ/paOHnozmP/6PS4CksldlPH
PHY6bcMmT6h8l9yqJG2CjjojIBAYzvhZqavziT9RksPzUEeIW8WLE+u06NvTMdTcGuVCHxknibCu
xro+k1UmrHlq7BoEY4qGmSRKlM0QkTZryqedGuLHrBmUShXtifguiEO/kzLDDZXGD2RSpbnvDZVJ
JWCxvMuZL5aQ5jTPiJ+1jNaSH0243bxnHHmkxSiE+5io6zzYJcH8GDf6RTmEFS6VZDM7VeoFXb9L
Q2KfZ+NoNp3zUehfy6Tg3SdHYV9cjV3Mzjh80ePioiyCk1bwfrLwBrrbg6jFUQT7ltXdt0J1Xw0Z
eOU2XQ8thuTSgDPACh+Yu8KB0Wt2mV8b5m40gnWA01abZqbA6kmdht7s5JsiHBvPhmwWdvN6ghKs
JkHkM2pGOTRo17Uk7uOsfRon+vuEcKGScHtD+FbFKCPiWJTW8A1osbk4NPxA2J5QcWBXE+mvynkg
WTvwa/vFZ6O3E57QpnrUSyS0ekGKd3DR4T7IQkS9la7zG4zv42wzr59aJL7tNa7uWz3TzoNY+pLL
zQ681KM2pStbZ9xOrKtcDGuhT9iKZQxM8zapnFVFVLwmI6rOkaeWoZ+J/ilPQo/8U+Dd5b3WO/4o
h9dTVG4yTToNuoQBsXrpKOI8TCApq46rdwJqkGK3efOjLvo3L7bY9f57XnzyWDx2b4nzlpf9Ni6G
xoOR5hlbQMn4a1xsLagNsG2qbBAOSp31Mi5+9iPoKPBsW+cUy+97mRbjAZIR9GFhsPAykJD8N9q8
52nwq4IKbR6AeZwQOhNrft2h0UfFnzb1BfHvVcTI46hMsipHkWEk8tVsjn3nNn1uOEiz9SY8EW0w
w1OZRTYqq14Ww+h1XTSM2zzm9i276UoOQ/ZxR0b205e9nzV1fDqORYrVUR7Qq8ZR5llGODKkUpTr
totgjM2Npm1mfTZPZrmJlBXMzBTqX2n75hSqKcbPYqPOWusjltC4w4e8F/fPX9u/+3dhpf73/Xv8
+P1xeuq6pz8FD8sLf93B6PYWExg3o4ovjB+93MGI/pCJ4qp5dqPpi6b5l+hv4cjgvWbEb4N05NT3
cgs7n2x1AZgZCijk5dH4m1sY9sZhpUpnCd3hs9iBP8Y6GBOEUZEO9SyV23xs1Bvikmx5lVhJlbF6
axaJh5g0tLxvvizC6ViWy5UsZ9hfEquDGwqgM1dEt1cw0eIh0IlVtgDRy0SOxN+HVvK7GsbsOH63
p/xKzYOtrotdUIer2qrO2Kyj3YgT1SV45aSRtNqbkqh2Ta1V3Xmyt2GqPMxqejT3UuMOs/mk5e33
PnPuHbnQ/bgudReIwFNW2fE+jIdqDypiPKuDpNqFhXWXVIZw63rCkdvFHv39Zh3L4+iFGRR8rSn6
UziyBQzZvPYj4bT3dDU1qknV8kB5Hg1FIq8LRVF2duMQepqL7aDnOgbU6psk6XutJzCsFPTGhCy+
z4EVbNJ4yHyhTNdJlNiYXu17RZdODa2d/dmk2nDqptqAQwiPLSrbY3zVEsG/quTLofHFKSxxLDGb
xRHRxeusAfsUzbrljrpzquZYBnM56XHUjGdDHZ8pc437T5QniNxvUNydOLx3IKcQXtXPszl8jSrn
pqsz7aYspJlTdJU7mFfsOD6FNWXclnG7nZAsDrelVk3eXFXytA1MnO9zWV3mwsh/Hov+LRTLUPa/
F4rzvise8z9XieVVL6uEsqiYsKbqiM1pxb9eJRYROqIHnHfKIopafvSyz7EUECiFWImVxVSgLb9e
JdAt6LqMWw7xMAPAv1ol5De6JVATaQqzWuC7VQ9aN2mjpMnQp3RLggqkCFR0fT4x1Kjm9GJ8DUMZ
+489SSdTZg2bvNZKf7B0iNb4rq3AXGdllvpBmdX7tnBCH/Q17F9dn6+QSnbXU0xE49oMYlAyAN3K
M32ibnSSsryJcySVhrxpinDpliRaguM6LKJupwzKd+ZvqJ2kirs7oInr1gbOC2eY0UtGer4dhUMJ
b3xGdy3IPaJxoebZAFLaDI7KIDAey6BXPKlAWjxGF6qWjESyVNFNuvj8pMGpTx3UokNvXyeyeWqq
ldVCrabucOW22OWzUsheimUDgEkah+tGKbVzxZSUY0dipJmm8rFc2/N6ToR5wm8SezuZzoKg+FyI
OvcWCfaqbCHDxCGTy2TG8ctBJEzzy74t9mUr+6aWHdWt8jRJg+d0QIIa5VG3u+OhqE7Bu+4XG4Bf
TmI3kYewDez5cUyrlZPTOsq0ULpLAgR4nlmpI3a5orJvG8AAF4ohVZdNAg3e7+myg2cudmWbSH4p
zWeOk2wUa7wzc7S6zbhxSjvyzJg5VRkIxbPa/Kd05N+qsEDj/3tV2MZZ1n4pmxLn3J9rw/Lal7Vh
WQD0/66BsYbgiJUNioRFzviyNtifFEujQkAk6CgYWHiiXyoI6xPbPC17WVGWdiB+rb+QTD5noh0U
wYBgFmomloE3Ov9GO9Y6cI1N1HbjCF2I7R5vSjkpK0hEGiVv9Vz/SmaESdBMpkhbGijFWRSnmXRP
pmA27K2uBYGhKklBF72l5X0SmtkIEXywGKzptUAj0WZldNd2stwDiJ3sYZ/PRY1CPZYQ6DeFvTWa
1thXZajSoZiKXdiXjgyRiKVnyGnjzJU0QQyZFToE+t6aKx5ZxIxAv0yjvNTkEdJFN+nVWjUlokbV
/ls0kTZjSc3k4lLFPgmRehNBkV3NvGkQ8/2R4Qwj7KRGFV6bZdpRHcjp6l95/eyoWZjU7zwfZQZR
740ng1e9PBnGp2ehFlW19XOT+19tbeI750BGxrtGusYzHuJXbb2c2XgqkBvzCCzHzZ9PxkKn41mC
ms2tjHTxryhF1h97JlsyFToPGY+gTo/g98lNUEqanWgpmv84CtdWal8WsebqBaSdQJyZ7XisQpNT
Iz2l+Z/tAKYdERSXukmtnkvmQPyYuBbL9FOzpW9tBS2l0tN9q4sV3v3HQRtJB8+ByuXpReQIcsKX
rCs0VF7b2dBZmEs7NcOVGkMYup8OOkvTmt/TRDEvBq02/bnN1TUBFOEl9/o47AYlcrwxMfdmhr9d
Bcnppbq2DmtR3BJ1BlQVWIwHN2nw6kKc4PdHqBUlqhc5UnAyLOr9rKV3JWbF8ikJBjeT+xYDctas
LZU2dZ2jLRn4faQE9Cd5Oe5wQywwF0Hbpuu9iqrAFQxTCNxiQOJKXbnXhkgaBnQwidDJPSPqy3Yz
YeXzcRIkoVjDPUPS2AeGSwdxN2N80XKprH6MqP/tUSYHy/9+BvePX/HCvGFqW1728hDqn2yD2nSx
SUJu/I0VZnwyFhekQxwgzxTF6/+2J035RGlK80Qn2/PHKfbVQ8gv0nAE07z54YX7i+1JkfnTfp+3
mSpEaU40mJeBkjrUz68HqGrXTgTEyGDhU6bgCHRcEBEXk1lCKCE2DQRWtZla67gkAiB31JtOt5B7
ZtPeaZrYYFbTz+O6TRmcudaSS6ZkznRqT47pYcYERV1GOvtIFDLmcDDO63K/doagOE0XWp45peOK
NGL1OG1afTV0ZbvO41Bj+MR8JS0izqVBobvQVchoUILoXG/mx0k1fbhYX8lXKPbYXcKVjpTOrQft
bhimm1Lq7wNCUuAS8Samcp5cKHlguiZZXrVpuUllguELO+pueK6tbejElp+KyFnP7cRa0VnbFJWS
Sz4jbyewIOdrIwhViRNfH8GtjSXFNcYQcmQTVdoZ7EWdiDl5DB5lYZjmcZbg3fEaJ98L0fCgWkWW
udlM6KAsd568PM8R/97Plke8aclzw8cTc6z3RCfBouqR8Y1VQ/Al/3PnCBmdEdfGUZkjecs0JThx
2kDx8slghWGpEYUkvHC0lHbXFLkEAFLXtnKnaagzpkEE51OZOl9FY9mb2XBOlTRPKSbMJO2//NuL
n/di+91a9az9+lRmj39uxsvLXtYBgEwcReGsmku1+ZuzRwEnCBiZGA9apeRO/VoHVPsTqEDISzan
naXF+2szfqbKICZZbK8qhkjKhb9YBxit/74O0Ky1OCzbOlXyUjA/A75fCSkyEyp/lRsqFs586k6V
UUN7WynZAzPX4nsf5P2FHMYx4YVh4leOPDZX1kSDB2VkveLe/Yz1tf+eNDKFbRl1+BlA1Sii9BIC
YxJYl4MeNr4imqZdiQyZlpMtVIFRVNs2j7VgVYzaOU1Z8naAtONlGzKbhE+7CBKSZIr+CXyYlCKe
My4yWwVsOsmYEZkPxmoMOWbKLp0sReI2EeTbWxr/XjaugnqGm6Gm1TYQzUUaiFvIaPwtRXdRGqor
OmuXNSMDrBaqaWfYAabRRvhV6UxbXW4+50W5MlXznA3dzw1jN5rV18JEKcO3nHgjZ2TLqe+Vdj4i
YvHODrQj5tluFveeHE4rYoMAj1RVuAlKveCImXTrerHqdoa+ieohOKcUWalhepU4j1bluLU9yKe2
jlVqmfGpAAfl5tTSi8GfFWNdCxVfY3SSZ/XnvJLulcm5b4GCnNNIPLZKCgq1g4YymoXk2ko8efYo
z3By8y3dyM9SBekkqWQPpu546eTiUo3tdebYzaow5y/q1DTrLnLOxjzUdtHUpu7zcUHJmeiN7eRr
jfkod9V2SFD29lNQwV8hpRKtKoCfqdorUX/UZO1NpaILUwjaSevrNh/WdZReRY4KWTbwAmw2Vg3T
zk5FdRGMkd+HkuoOynDSxe2OqFP8s63iRhaj3kZAB7TExh4kNxrTAVZfh/Zt7C0vlqS1EldMWCO/
hCPENGFVxuWuttOtFfU31aDcqpINHBEy75DBQiFoLVKdy7CZzzipHOltfds29m1k4aKego4WLrM/
OyRuWFwa8AfhAnyZOhZNckXcaLLunaBc6xMkGLxJfhq2x5y2HtIuRJVirWBVfp2y4WaWxbpuI9Pt
SK0VmFPxCF9Q5H3HQuU7aUyJGhgWt59dYSyOLswkx9mMKbclXH0u5K0MNmfKpbt5qgt1929x/nFQ
4lj/TpH29P37U/N2mcYLX5Zn7ZO5SOPwNT63A193GPVPWC5xY6qoBH4SMH6dlciUAhkum2QTwmj5
tTxzVqI60226CNAumG8Yf7M8L/3DV00E0AP4xGzgXo5Bc/EPbrwjUEuVBbPkKlw5sCIDBWN1w3y7
+HGT/Kf1Y6n2/ryQwVvlVLi839+rwRzolokKpd3ST2cFzUlLizfNUHmvvoLzH7/wtcOE8K0PLrT8
/NV2k4pglqRIa7foyRQ3rKi3BjWfIC+3J6NjFcQfWO2l3MVPal3egirHjFJj6pdKc4SY3Mh+rKUX
2jQoXqY2Dhbx2vaCoLwl3WwfWhRcjUPRFgejslEMscuqrnD/j70zW47byKLtv9x3ODAPrwWgZlZx
nl4QlEQBiXmevv4u0K02Savl0L2vdke4HbKLYKFQmSfP2Xtto1ZdWsY4o3AqxWScpbjqLEk50fqH
yF1dmyD62JiQZ7a5m4gGNe10P0/SNkWAexWL8Lrr1ZFSUEHUOJuenKVIbaaE/AmhuVYOdjRt0Vg3
1W7q7X04hjBpY68hmSIROUMGIs0Bm2f7SQa/mkpf69a4kwbjSVHGtamGVyXsCA8+AWFplJejxUJX
olTjjJtGm75l2zQmSIRlmZh+RGm+6rvupFjV3spVfuKIaKBSu2u5Nu5qQy/YhqpjZsEYs/XuetSV
yp87Jqtj4nj51G3jGQI39KtJe0w13LrKQLwQwRCqbyQy9IkEmYSkdyc9Dr6R4VCe4hRGtxMg9olG
s0E5P9kes5pXU0SOX7WkO7dMUzntYlSpTH3yMzWXbmf7ogjS3Nf7RrqnxZ35TqBGJHXEpDm0CezT
MTpkMq8WVnIJSXF8noywWgnLzj0HgRML9ERyHBqNWWLW1Fnd19oM92aSseZ2g6vp0TX6A08z7Ylz
PJhcOEcSbyt0drMWXI8VijmngxpQfevtgbNzGV0NBEmQ0s2uKlo93s5mHm5SooMFLDbNgPNaRNl3
CmhD2xW1sL4lQp2PjiAnZms5gY9Tej9p8lWqtDetHB4DPiFVHcCJORqA1RaMbtHtrNK4LfCImaW2
ocrxools9Yxn2C5ma8t9pcpvshOSkEuDb3NNHKMil37Ydcex7fY2xmEzHNdxbmwm2SJNkIDxBJGU
Jn3vxOCGCGpLSV93Hei3LHItvXHV1oSmDL8W0RONRn8QCbj+YUsk3c6IJz9lvLDK+2FXpgl8c3mT
hTVVgb4Z9PgQF8mlrRRfZhE8CDO9Qy4Jj0H1pNFaGHP0QkKa3sNOc9JDp7ZbDaiDPmsnmHNuMZMd
JUwv1/NrOym8Dke0p5qlvKJZkrmhbb+iB9hrhb21+uLrrDber5eVv0vl39bJv5YvFvj3qwrTmUg2
S7PZkuLzIrbtw6VfXxtudPUfF++/HQ/m5b/YTO9y8bN+x/KiHxup+gc7ITviG4vnwzxfpa+O0U7h
sGMpsM540V/76BJBwWkG5e1CMKAX+KMbDzWd8w9NEkw+C/znd7ZRcjT+tu3QcSFgY9np+Z/xqenY
MS53kmJKt00kv4g4vkkwsBIu4Ut1ddGO8cNghPgZxqVuHz1zTre1ZMyrHvEhnRBcramAuCfyL3UW
urKkMdtu1vTkjvGgrw0TeTTkwqKy97LardBcIm6xaPDHq8zO9ma2s/RvYVCd0wH3dmlfzra2DxT7
MDWcGOSJUXazMYfRH9V5XQb2VnEqr9NlOjHtQTZ3ZV3Q5Iz8JuAbPpqrce6PcpTelq2Ur4JY3We6
c8Z/ukk6zV94IEmX3C1d1HAGDj50275hZj7sh4rhA5kBQ68iE/ge5JYNA3zXdLgsaGCu+ozJ5BD0
+2hYD3m0GfX7ulsQjZpbUfi3ZISo9lEbT07dnFO2LgcwTzE9psO8M8x7a4gOBurMCjGj0UrbZkDG
atQ3UlmBPtJW8qR6XZGuJ9ylQfM1Uqn41fncdF+GqtjKIBqG7ouYUzz/D6yj61EeVYDyOaud8BKL
xq5SEmxOlkgx6iuzDzwnvIyp5IN29PKRDL7SxTp4a8uV38LH1iKpWePJUtYJ2jxP4Wg2998bFREB
PqWE3wLYna9HUHnKmzoFuzI9dRb+/ynZpK3ton5luW49PQUIWt8os+GN1kVf7WSFzDfnwITn3Nvn
bNZ8K25cnXpANso9IcKrBOOlHPTs+UtB0m2Mon3sTf2uICp7sAP4ndZBBWbMkp+UylpWokXAO+zS
ahmRFtIVtqYmSfywKU99MX+3w1tNju3HNC442XJ8yU56Xul+G/SJ6ltdcd/VDklYBWs+x+h5U4eU
Qn1a5HDto43RP4syv1DSOFjpNee4OGhXMDpLP+srnsDqSStRypZkoHBYvUyN6Ws7aAr8Td0PzG+O
LA7B/BAkk+EGbJ5RUO80TNelUfmkaV7pWnwhaahOwtu4peVVEpUYnyKI+JQV5hhfKLWEUCXCRFC+
ct7fhHW+KeNviXNXaJGfaSG6WO479ophaNaKwnEwi92iXdhZPjWT28rzYyYUL84s1w4wW9c5Zzd9
m9bHtk2vCw5T1lR80WWxp59xm7UqtJwCL1h/qoPkIZsadNPmhTFeyGbsp1l4nOdwM5hUFoQnlw3i
zu4I63UebC+1DL8zW49RMkisYGUZ6S6qLuqk3cjK3h6qlR3CiR6/hg2UEfg6M4kBWfnVEjOnZThI
YjyJ6CQP1atBpEoTtLj+DV9yJFp86tlq40fODV6qvmKs8jkyrgomIiu9S9ctwAvDiu+0NDwqZOFQ
+nwFRaRS8A36U95w1J8IqJM1z1Jv1OFucFB4lhV6aBQF4RVN/6NRqZQo+z4ujhLD/VU+9qtm5nuf
bspWXpPyu8ra75X2pDvDqgZFrUnRynLOtaj8FJ+gKj+HRnFnykcru6bBuWChvMIkGtr4ElFVOCyG
rYLqNl9pXb+xtMlXjW99zAdM7TwK68lsqn2UDlCerHuzhUlAlzNhBNmTGhEwQhym77WRHjUrvyhp
XijWFzN3Lg16TKLpyEsZXrSowRJduJOt0uuhdVFM656GQRNi/a129IfvNPNhaOqzlDpbxQ7u3za3
f3d5aKK/2OWPP5OdLi/5sccvTEhiRZgCLsLOT3IcmpFwd3Smemza70h9KhR5G/kHVnvZkikR3slx
TEh9JjjrNzkqeL/f2uWtT5s8rUyTDd7GFuqABeW3/FgFDvbMiDpXsS+ERWR7hOhFjldXmQSGQh2I
0nF6OzTWExHZ0mwDwBurZjO/YUithUg6v8FJjWIGthYMPWepKkeFeKklam0y5uhIpSJfPJnpNqZf
0KM7j0Uikb9QW4Sp94s/H5xqn+RYieyp5Htm7WRq7RGZSF8qtp8HYtOHyW5WCw6GU/aYNfaqreKb
fB6kvdWp+l3VG8YmRn19WUiUFVKm6l4ka99aSbyQ8iaf9XG2wCrXV1g/JNcKOkRFGUe7FB7EeUA0
R+tPU6Z1F8osFYpQ+12mJiACYQ6Yq6CbnSN53LWxEujtKBwMQDNi7NDbjrLw0dZOaymtum1Qk3a+
mispWZtDsS8wdAClmeMz4DDj1DHi9Rr133kiDz25cibP/P9uVR1ff1ZcL6/58cXTSBdagMHKomb7
UFzrBMfxIFvaG5d+aTe9K65NG7uyTTvnU7ADTapFFoOOVub/7CWS6HdmCG856h+7R8wPIbICj0dX
gPr84xevkweFcVvYbQ1bNBC+bMnUdno0Zt/LqjeXnmeRgs4s63ATLUduXJUqPo6lEVHFV8PbwZwT
Ov9wSYnq9VZ4My9H+Hw5zItRLVaAaidv4KRvmfE1UhdckPQA+krse3oCjAqp03Wz6NZ2FvKPeThb
+q7J5Xbwe8e5mCwN4p7DcKz17eioLVFfRH5FSnXWiQCzQ+coo9/riQYrZtmbquGMflwhS5CkJD9U
O1fE8qYkWGxMgws04xSaOZ0OosfGzjnnoEMCIsmY6VO9ES3jEFYGRp72hdzfhMSYNbF1mcoD1jDz
piTmrJaLDbuda5nFVQwnOZucOxWWaEE8WkBM2qDaCNfQmhGfFhGjptTD40SsGsiPa5uYtSmeTg6x
ayPxaxEmqiYIbyxi2STi2fDQzYwCCr3xteq5rJXNYstBKbCVrdmzKUnCSXhVUK+yHJfM4NldvI6V
ct2TDTfa0l4mK46+wOC20nB0lOjUkyZX2SBSRPvYysFjTyqHpTX7SDe3LWJu0JThHcvjpsc1M5JT
VzjmTUFunTQ10NdJsovoV61h2RB9k7mCrLsqrPfdrN+OFFytsJjZin1ONp6ZA4bTiytWuUOlJMeZ
DL12ydJDZuf1vOOKlD1UjHtB6t5Sd+a0kVrS+DJ51e/Ui3CQdkxY1jmRfWko+YKcJHTb+F+UC4to
P8cO981o4ieohovOGQ6JTd+umlvKbwqwyQRNatIeGnLDa5boQIW2W4jXyGuJFZSCyeEcQdKgrbSH
sIIbOduvA1GEjS25MdGEjFHEyiassCS0sLKxgjWBlgN3IdDQiF4mirrSgcc5aSg7iiX9MK5nHqb6
YBKLWGu9hR+JiZBinQuCE+0k9lKj+Nb1hYcf66AQsEh9+TARmOwPQ7wtcxzkkoyUhVDGpHHWUUtK
46Tgc9N0WlFWd9bL3F6ZapeQkNIcbH30CiFfV9lIeR/x2RH/KLfTyZIa89Kw+8PYtLj0bDiorbZP
NAvtWPeUKEHoknLhtorxEmolVrrhwajno9Yar6kRe/ZkHUIz8WDH7meTG2RnHIn0wDdafTNONZ/m
uDxZu1qfbnMY42bC8yKKBeEvniepXVuFdNs6Gfg8nYj6VBTQWJk7dsOTaPM2il050Hqs5ESJPUmB
FZV/ptf/W/VZv5xiH8WX17qd2GzeglL/CkNdXvZjA9L/QPtFTNB/5dZ/2TWMP+irkG77A+D8ob2D
QptqjL/4O5z7D+0dRif8OdrIJano9xxHb8l2H3Yg9jCF6Dto5GTsyvoy5X4/Vkjl0CnGcdiK0c7X
UZd9lSJpmzh4kBJJWxXReKWQu9Vp6zaxj0llINYK7ctqmioABVY0DuVZolV9KSZzU9r198mwdr3J
rJfTz6TFKXkVxlnEJf68/FGPq0OTNC8qINlobg7CJsp1lRWY8+F1PC7yy7gjiEWylS8cbl3UJrdp
ne8noxVbVCzEeBF3PCv6iTnAlRIaV6ZI14lTn6eAg2obn+i0XxVS9FUvNb4XyguAUNeOi0tMDUdj
aPZOH5AJJhnfWq2/rTMazwxVK+HsFLs/ywB1tal4ZghyqhzVQ9RzUgNG2qlTHCJR7cO2eKnTamMa
805E6pOuT15QOUdNcQ5JAlBqYHjBnORsKuq60OJNVFjXyaRj9NQuYmm6MhiXZt2uqeZ9gapl1Po7
Ysu2pRQdUzN+NuZgmw6FN2MYdOLyxu71g1DivTmKoyIybrC4kBuNIzFQ6mbQ94jZvEqb8GoUFzUw
BOSA5TcLVvCqUYP7Ms/vkPWzO2oOZ/WeoAKMXFKv+pMjNhZGyqJzrpUq2BgEsExN5Sf1dRJrXt/p
6A+qFWMh3+k1bxzig8FCEmc1OXw6Ea4K/5U8566UJkdwiy7mc5dP7aD3ktg5ZjMzeUuPVqjs58qA
M5/fBvCgc71aN+N4ayfaOnd0yCidiu6BeAIgMSxbg8MChifcZkWrTLSyrHDD21LXOQTtpV9zSWY4
Mu/MbN5PrI06a6TBWikDDnfzOHGdWdtHrKYWq2rG6jpn9qvJahsE0wNGm3VZ2C/IOkhgBH9XsD7H
rNMC941pR6Rls4Irw3iQct281JQqftA7bOaj0Zk7J5bn+0Fa2n01oY0Ap0gdZodbAkeHDClxt6SQ
jiIkkDSLdEVdGZlVb/VmiSwNc1uhvPvSlbXw9Dm/THopXMVGyjCiDFYDvRa/EfN3Y8a95Cw6qgLS
WWUF5T6MrWgA99SHK0OtbbdFgExiogBbXYWn2Bofasc5CSt9tKThqaqiGwY7OA9aGg20oY4k9jIy
ievGU5uBkETrvixG9dsEInmjzF3sGT1A7Z7wcG9yrGstitjNneGbHNFxc2KKl2lI3blXzCWpZpmQ
1Yzk5hh9mBIe8ni+QZdKTFjeXddqlvtaxoMTWywUSkB/KuyiQ60oladWIQyIJNyBPKJjIsyNk8UR
0syqY0qlHUKtCVYdyhOo8nSKJFpxUpTuNJFoKyk0IpdNLPVGKcbVJZUbDcjqqm06wyOyCOXqEOCF
1NBtpuz+6pw/JzKJYxkhj/FoPfWdcyW6/i5Rq11XB5cmLasxQnRmFuNaKWuZc2t3Ygi3ZMyGa0Ma
CerpMpQ5HGC9RA1fLcZn0kK6q+1iRf38LVSHW3sefT1EZKfx9NqOOgFUgLxHPCR3zXjS5PlrN+ah
rxTlrU6cD4E/hV/E8rk1JIPhIcmhUSpWcqcLd5hSv3CClqyjeCtZKXVFT1uvna1NZpWDKwaJ/MBe
Ooq+egVyDikhdXpXjs2vYSVdNj0PZtmFnhjikyrK8r6Zu1epNu8wajIdlPZBTSU5hijh2+e5Iflw
MYrRYCRBE3m7m2fVTQuUKZbVCCs9mp2E8M7CAD2fdjmKQJVWWS0pblCXzvbfvtHb+XVptfzv8+vF
S/3T8dDyqh8FBFo3hBKLJXgRfy/2zP9q0pkPQQrhcEuex5sZ9L9H2CUfV13ksAsvd5HIoY/4MR+y
idChbJBRtJmL0uK33Bpk7lIgfCggEG0QwPtmflbQ5n6CwKR8L4q0VejcWBxMv1mZSL7PsZPHrlJ0
gPnbZp5nH/W42I29sLUD8ZamCkeDeQdL6Mi5BCKMlNfrCOZAVWNN6u3c8mDbpfu+KykgJllxRS13
nr2Yh7CFbqzFTcTKN6YpdiPlXC52o6Eqd/1iQNIqgRepnOrqulkMSlFoW/fABHAtaZNpqC6lhfRQ
Bgr7Nf6mrhpfqtyotiXOpyog2zuUun3R5icDb1SNRypqM18Yo1vjnTKT5JDjperxVAF/uebsEjGV
mM/Dm+2qjn0YlprP/JbArSF9srPhXPai3/dSYl4oi4GLQ8MxilDXl6mqHFma1EvCOCTWmjS7420h
u48F3YBYuiKGwEIOm+8l1Fl1I72EOcefgBOBUjdH7vJRGcQxiAjTaORnLdTdQE3Q26b7LuCspvTV
czTYD7raXMQtGtcG3okAEOgkbD+hma3TNHqIgT8oVfGFLPOtEjNC0iRvrB1rxXxu7cShiQ6/pltN
ERFa1tmw5+d61oGUGKmrZA4MiiBdy7W8SzuxLqJkqyTGgyLsg5kEz5ER3QaiuSwCxdca5buEtSXo
htu4jw9FCkwBbOiL6vQ+1SkLutFQr83NfdOZJq13O8WBXlznMdGzcoIuuVYyT8vz62lwzmaH/68z
7vMsJNlXWsbnoQsz7Eoq06Op9cwXe25q5E1E5bFPRxvB2U0zgRFp9rHrqrU2BTvdGpkyJQ8pHBMt
GS+SUfZ1K9zlekL+gMnooGrmo9ooPSprMSMdDEf2YbIxBeuhNlxF6OG0O6GrQt7XrXNjNTUkGcUc
pEMbZftESja6Ka/DQNtZ8FdWWhZtpijdzgkpvlkEBMLhCQrNey3IvazPz2NsbQlq0fzcLizIPdb3
JosuKKglN2tSkqDNO9H0V5XjXNZqdWKExrEupdejzFtzQI7hkHLnj4TvyV3mm4PyIqTOKyt925bV
RZbXL0WKx5B+L/DRS3SVm2TulmastM8YX9g1tUJtoCiK5odYrRFxdlc1XByrSk52Y10VFRke/Txe
jEvEcGqdUKS0RErIO2lE21qzCQeINqGto0dM1nadwRbRpf0g0lNdk4+Yj1BIxXhH0ERNNiliCcJG
SpUBZhAGhYvlyyxWQQRI1Nec13+3mj+3GnaGX241rfiJ88LiVT+2mkWBh8vJYFNYtHmLqOAHWgAx
tm2YGudV9g4E1+wC/5EiIKtmH7FwDDqGTqv1YyQbNAJMEj9GG781pdA/KeDokzra4rdgE2Q/ZFrx
8ajagL0pclXBMtdNBiVYGnjZIlV2c6PvlyAhWuy2k7WokfWg4piqdPeaPYyXQVFplJjAsfJ4PCix
XmJez7ud6C2HP++SRR1tSI1f1pm9TYbaJ5jAzazmbNqYZ8mhjuLe8tskrC7KmNyvlZPj5bgOcF+X
BAYNHLfmtnVeUyweNqPVIZ8h/1MVr+IyN0uITWlxssqkGr8HWZtE+0yb1A6ebBMYD6UhX/z7iL89
4g6PxP9+xG+6rH2t/96OWV714xFXKH40czHk8QM/mgpURmosqgCSF83q+4EApgLgyehJkZOS9Ywn
6X01ReCCijOQzCxErwhaf2MggI/+b9UUVR7ue75kDBhw0358xufS7nhaC2fjlBMT5jD7NuJ2a+3e
9jHzV8+iaWmpWK06+AzU6oI2e5YNe9E5+vQYOF11WUuZn+U4EWRZ5AfgpM30TXdepbfVlBBCZlNF
ifitmtXSDUsFDU0/Xae9CXNpDsBq2Uaxtq1kP0Zi6TEYDLzGDG59ku8RA40vdslAWSnVQ5Fr37HT
ruVcZtZfl8zJQ4NCSU5fjA5JR5ZP8dagt7SS0zTHz+MEuzGdwjVDuhvhpP1hLunqavNw1dVg5jh8
PHLsCN04nFNwwvJTKRt0NKao8+Wpx8of345Cq3ZtXn4RCZaEyJ4iHPPhYZKNU5KSKG+Ww5oAociv
ldlZWVb1HYDNlaI2Jw0C3CicTQ4RTjXMg2YAHChBxcWEK42w40BlPYtZ2tm5dtXkZr4qFszcHBWU
gIDnwmHYBZDoOoh02PcZOoRetaDqtAVap0Gvo9ii+2rknrwQ7uaFdZdauLIkunk0AIILdSHiydRu
UQ8JpJqnc2XopywiPUrRwicFxJ7D+lEtzL1uoe8ZC4dPy3qPdK3LCEDfuJD65IXZZ2tAXruF41cD
9JMsyH4jiD9V4iirT9XZKAkBm8EAJgsPsBKyna1ktCI4o+B9rbSROG/PrHT7MJrIiRVJ9gPk+ltp
SYHhB3S+bbTh6t+F6c+995fygHPyQirxkrXyt07xO40AI33M9QjgMSoiFYCw8d/d1/yD6b9GpDx5
8ssO+6FTvGj9WH/+sy8zxvzLfIxjmR/I2YGhPpETv7EyLYyrj8c8U+GncXLhF4QDon865uX4DkOC
+XSeTkXdTQb6lnogZO8WNNSxb4cJNW08xU+YMyXpANjXdADmdsqwnm1S1kpNq5BZOUo+nsZIs7Zz
J9E0apUuBt0et458jIwrYzIH42bQYhKKw/K7XM1jeAcqEvobgTro1i0nXEV1IYxdzFjd9IoGsbXL
uAsCYjh2F/Dv9Aok3vgjkOTfGQchj7/YU8/J6+vXqPjyM4HL8sof+6r8h0kGJUQZY4mQekts/1E6
Kn+osBwWR69uA4dYsrb+Kh2RxHBsdCwMG+hV33Up/h70+xtPr/p50E7tCNkNRNtbrwJX4PJ4vxtz
hFYNh88Y500/GRRkHFNgF4146ebLCAm4vQy4qd9wlDOF1JsIJWck2vI4xUHnSqpqdH5dBCyyQi6p
I52s0NGPD7Hs8WSrLSlIpFArre5ZpFI3Szx1NNPKDnp9PSzR1dMSYm1h/2rop8VhzPnJoBMoI0OV
Cb/O6/ymETBkW2KxhzqiBzzJh4jA7D6c9wRK7VIbh7zVnRaGykzAtiRlN2CoTkMz7mmjouGX0bcF
tA0qkfFvI6piEk8aUvrkOJvdoaS1CTiVw3euzxy2kOA48y40+zuckts5Flv8DQBVa0aumOJozPvD
SMIGTvl1RYq4Rpp4Iyd0Lh2OvvYD8sknGe3uSBM87Tn+iTrg+J6fcvLJ8VZwk0g/pNYmyFLSrkuG
DQaZ5iKV3Z6M89EQTABwbzVZ8zCQQbGifb7WyEUfyUcvyUnHGrBn5ONqS4A6gTXwVYlU16fhSC6t
SqI4oOGS3PW06Q8BMoWhMe5G3fJ78tk5256hgro1ue0zG3dU664jd8xtph0dIN8k533E/9Eswe9q
JZ0nkuBlEuEhAe31JSJ+4NV531wLlZnCEiJfLnHyLTmWZLzXIx1pOvE62Mi5UmiJM2MNiaOPl2D6
cYmo5ytAiaYZt5Y0+RYp9sESZ08NByzSfNLIuY+1mql58iVLIcQrwvDs0rnqdWejpRtbUl9nSayt
ngcxcwhuDDjNd03EMGneRKq60RL83XUUIXQwvGGEtBtp20FF/Sjb6LFBjuW2/SVuay9tWn8aAnLc
05n3ZSPxre0vPWLnoElfG2yEpZ56Bn4J1Uov6HW4dLZp53RXcYpqMwJzmeY3JeUTY72a6U97UpTu
VpqLnVbUXiICGwdMhsKWhyUNn61auHLTX5PK6Y5deVRm9aHWbUAM0ibuenIzh2mvpygAzOy6hwyh
jMGzU2D2JvrbF1ZgncyoqrHBDjetVJerNI+vRjN4sNoAoUl2CZ3YE6ber/MmPkbqeCuHJppg6aIx
tthM962AaGF3rzkCBFN9ERWQiyy/tGnVoO2is6Xd6EOxiZPpAYvYKZt0OmwG6fKDP3a0U6zsmHF+
lBsKQ9kJXDtznvu0gpikHKais1aJNa/bsebb1c1XU1J+nYVYz/rSy6q7swgFJkvyLZmgKYcmSw6t
XZ8cCnEQr2kEdq0Xk/Qv9ej//KkAw8Dwi/3p8qX5+pOEyOVFP7amN9wRykpFpX3wkSehgpogUg6T
xIIi4zj419ZEDOSbNYaWBsSjt1C9vxroGC44PRoIyt4gjL9TWFG6fayrOOypeNyp6sCHs3N+3JhA
IkaJE40hBp/pKsnzhw6a9rs7cvl37yDv4u+XYH6AypQODVFAHy+xOMRnYYFBR3PuT99C758ixX76
Ht5d4NPmmg52yhSJ94DFDRe6iuDmnwjoPwtosfn1GTUwt1ChrX58E5JcjPZIDbply9yIpSUNV3iO
w6txcNZp4GCZ7gc3q/li4apa/foOvqF1Pg05Plx9cYG+Kx+GwOp0EOsw9lftsd+Fh/Qye9E3tPJd
zZtXX+0zAjt345zaVXVUz3gH1vV16hPovBvk1T/lKyy19uffBkUBqd9gt3AHLR/4+9+GOETLgvW8
hRa7EidJRm3a+lUBDjnzf/3Of3Ypw1g6ETTxMO1+6rlZo5wZiIK57bAIaif0i+SYMCEpZXQOsffr
iy138fP7en+xT59xMOlVrE1VuC0tczVwKp5BZUd98Q+fJgXnLy/z6cPk/KU4DdPoLS28hmmQU/nl
XDKk3mnRvRk+/fpN/fQOmrLKckFzCVTExw+rmuNALQjP3uZkv4QVodDKekwHxr2eIn4/n4Uu7V/X
+vRFHIG5oFAOeTCCdu1IhFIpWxwraz3UV4kyuf8P74yamqYs+Zwskx/fmaYn5SI2I35jgDgxKQv3
AKdH2l9w8HuYRjpHv77gT5+Pdxf8dAaFw+HkWBjCbdBCmYBMX8wP1Oi/vsjPFjPj3UU+LciTiVNP
xJK00dobtb4V2u7XP/9nq/G7n780J99/ecO+SQmj4+crwXNACLco7ugXUVP8Kcr7n8b0nz3lb8hf
BMYWSuZP15FrW06QN3KzRL6WnfsphHneXegExTfhsZDvfv22fnbbwLVYXIvuJdHJn94WWKTeRqe8
NTnkYFxww+jLr6/ws0///RU+ffoTkqewLnjcwlZbD+rZ5MFuHfMfPp6fvQ/MluBcTMfUnIWp+v7j
seJpKoKExaG3gyc9lXaWGni/fiPq35u8KpFGCs0ZAFfEmH66V3D50WlEPMeOstKRha2c7eNBdcmG
tnctmRyn7HHeyI+Ke5e/bv8/r/3pLpazit/M5PHDqe1LX8ev/H2V7DEbeQkzlFV40UEg8Y3vhnuX
ePDsf3195SePJUpDWNMUPHS53hrg7/YuY1aIKy55LCXRbGzkKhq4kwqjx35uZWxT6UbJka4b0p0k
unPWK77iTFfTlBybaHZ57o4BGcd0sInTHp35H55i6j4+37/2IHvRUTAGgOy1IKwXw+vHz9+who7f
CEWcxCE33kkG1MhMTRvzImOKPZMNq1Sc/oIcgKQqdBRC5tJPJaYWSF0wFm73lsUykcoy6zYn8FGd
THT8Sps8qG+wf5h24LA4Lq9zqAqjBZ96CDe2OmKQrC4bBReaOnrcia1IrLWomi96C2WrnO5mbHNU
ea9NMJ1apb0LnfCelvxOMsVOnkxPCPUynmpflIsj36GkFA+NlW6HsXeTwT4xgn+CE48n1ZyudWqF
uhFHIzQOxFt5Nv6VvFHW6uRc9xMkGWjRmQb1wCnBCKK478EURDO1XbUJneqin6cNyK2vCpJyLUGc
oLcvZd3djhEyi64gcoUufGbIfgr1Z9VVzOKWjIx8Nn2nVp+RxeKni4NsRS1zbyqV8LSpb1dRUn8X
YcdBWNlA0I1c2cFnMwbzbV7rW0U05iqXpnVcEqrdl2u5CE7gezcEdyoruTWVXSn6FiZO6yPlPxU1
JVqpb22y3hganlHhXQi9Ouml6krh8KzqwKur/tShMdDsYJM73Q2tHVdDPwJv1xsalE9TZq1TScB5
cjxZowM660Tz4piQp6OZOudML0GWRe1amstdJJj6YbzYlyjEq0S54Q/9XtfPDh9eG9fr2Zg2ki5d
z/x3eO8JKgmvoqi7Iszytl4G7BGp8Iss3SSYJxq4Wc1jjVadjKd7J5dz2irtpajy2ygz/GoizVSe
NEoJuIe6eSrk9KC2+lGxW783h1Urj/s6y3alxMheVEu0DHkW2eCs6Jk+aYO1ixxtU1cw/yEOL9Sd
FosqbKFLdI8Hsl58InAQIwxbvWpxI2YSykS7aZCDTedRVteREbooDMCiKjYpvrIXgrdbxfDD3SwJ
dHxYkELsZPDbWTe8alR2TcaTMzXmTZCHj5qk3lqxvhGjdSuiAPtzYUAkaq6dwnLjSXqu6grXl/bU
dWa9SYroDP3k/7J3ZsttI+m2fpUd5x4VmIeIs88FCJIgRWoeLN0gZFnGPM94+vNBLndRNC1tx76t
iO6IrnbJKQAJZOb/r/Wta89X9qUVUZ2LbvU6vDTIcKHu1e2YUBehWPEBUznCTcuGh8uL+vYN+7cU
PHfUf99evQyz1yR5rn/tYsw/989pm9Yqz/pNtY6vie/nz0Lw22mbPTDbxXmXMMsLfhaC3+DCMnVg
mgusjTOm4udpm+wN8Gqc3/kWiyb/wp+ctuev9z9fdxDFnLbhNloScHRVxTr//us+yYAMVQvsuDFS
j530cp1L0g3S0cuDO3P54288xPWcHIewBSh19GveqgeHu4gqq70+qy1WWZ88mnqdydEuyeJPFvNT
exUEgf8ZZV5rD9ZS0Sgny688Ye0r4mUmkQfQN8In2+ET67V5MMYbQORgjCDL6qbV2C94am5T41ym
5nmdXArUd8tMhCXQf3JRR7eOSj23zJI0NvMcccmreH9RPTsnGpEknemJv0oDfcOK50Ju/WSf9+sw
GPwMevm0HVjx3/ZoB9c1aIVf8PGx1sZ0mYwhFcDXXow/ObAcPSCu5f0gR3vwSEqK0BoYRGe7MiZw
OD+ZZ+93K9ovAxzNZy9W/BruoLWOy8bW1J3R77o5z11aGVW//qM5/ctY88Ue3DG9kIYqShlLLs61
sV/U5nc5if746b+/Y/NjOxgkkJIh8Ci7rTtj7ZudHQVAB4Obj6/kaE4fX8kbautgkAJ+VBrQzSKX
qt0rSrE3e1AAXUx4nDLEqPlZF+mVTH+WvPljWBMjqgG7ed7+vr+21BJqQ2pEbqBRb6NK/6YH0idn
pGOezy9jHL09YC/x7OXcv1Y7g2PiKIQvws4TwjMp26sVeu9oWIbeU5Fdf3xPj461vwx8NBOTuZgb
8eVd05dxk1HdxUF+xo6EjQGYkP/dWEczMcCuE6SsL2sleGpKE0LXDJxxBCtbfjzQyY/EwRM7mo2Y
k0bC0CZrXVUbszSQ+s8InNXHgyDX5sEfrEpv924uoGAHk6EXH9eAxY7E1KHr+BZhSQjsDkGOjdis
WSXN8A1IdmVnBXwtWgyGth/HpLjOUJpNm87r/JUPvq2YIfTijKNH1qEsZoeIE7Qzrd6cwfXljLDX
3+iUM9a+mQH32RvrPnrj3jcNxmDktQLoeQzyRbAcBmjfk5Xf653/nMXlU1LXoh1N5FLPMWx16K+J
/T1TPPV2Al4DXFj6WlTaY6B0a6Ub7wch3vpVwvYv0MB0qYB1kODRiVlWfnEvxuk+bIR9nOT9ZVEW
ObJPGdQA1Wu6PgQYJ6rfrxAwL7QSF2YwAeqeygoKgXcelnq+CYjlGEYi+QRDjJ4sQZtPYflwY6Ug
iDSiPuia2mNgvJhBu0ukLHSa2grOxsHIH8nXDq6IBpL3umxMa5xK7XcM/zWWf3zXm6Lh4CRLSuJ4
WPDWYiSOL22pP3dYn7Y4L/x1E3XphRAmllPghum7cpdH/Z3Uo3iK06JZFVHNZbTeTjeCaNlV4rdI
VB3FwBVktnutTC57X70TlHAPg3FZ1+F3XDhnJAMMjlSK2dInFOBthv27YZ1Ljr/fsN48Z83zf12f
FN7MP/lzyzpjNnBRWBKbT/gbhyRLA03grAokfXKOsjqAc0ACwF3BdnIGi9MfmgUxB8IbNKr0hv7W
Ev7RllU+ARxnA4z9g6Q5kWL/W0nlYLniDFPjfE8NN8uM4KUOxiFYRPWAUHzsqYctcnZHqz7yzZqK
gqV+CxQTaPYog32x9Mm/wzpWfO/p6UueMGo3UnzdKZEg7lC7xrzlqFLh2WRlgw8ckCW970CXQbWq
cxcTOl5ED23W8sF9xTu9CaT4PvHQ16RxaCxYNHF2tcJlOwTfUqOUF3VhfSl0c69MerEutPwWMf6V
D59f9pqt51eXVgW2o4vWij9eDXXyhKwPo/ksFyLJkirfHnlPC7XbuxI1Gg5RrCyT6hpj5QD/W+vB
b8jPOfZHE3tHaamPhdo+p/503o6GY/QeMKWU076hdbvJF76EhOqQ2lnvMl8FVzVau0bQXntDuOqi
EjZPVhlgvMYXw4jvpCjacvbkiNkuLWvcSj7KvrjsN1PXPeFpXPdGeltJ2WTLNUBHo44ey9HzUCEU
m9RLnSa5qYcMOoAJcDxPcJWDPVDRg+Tqps17uxZBAOVS8YjA/1YZJXJ3ctTLinebjuFt7iu3TRGe
JZl+YWnkFxVYNdtmF1o9gWHlVZtDXqss/LIFlJKs9Fb88osmR/1Zg/thOoZOlarrWM/P2GUswypa
AxsmxnPY+pSjBCha9WCAr5ImPAdgSHqdPGxh38QXpDYspLp1w0Z0ay+kacDjzjVlS2T2ukJ60GvV
ZdAJ99Lo7YxQcPMaK79uYuWXqzU5oBPuAYvjfd87VmMhJUTCAnRlbdCMZ2+dX0ZV5i1jv3hqTe2l
zPWV4SurUI3PKH5FdoCzyIYUfGlS9lh6jXCtFNKZpItfKHtZ9bAwjLay88zctm14LXba2jKKJ1WO
XPQ2lKTifhHX8K3DKvYuq1AxFmrBE0pVDMViZhisEZCdM9EHAqnX8hXN2OHFMpgpJLEI5QMc/WAF
dzt7BeXlwXMbPHWLOjy+MgStZi6X1a6lovtjI/Pvh9mi5P3Bh7n5r137Er7+WkmYf+7nZ1n8C4yh
xpOgKf6ujjBrzfABzPxDTQbGwvb+Zx2BJCJ+gg7Y7IubP9j/+SjPNgVyz0jqfLMv/BFc+LgdzIbN
5EOKlgRi8ezDP9rJZ56kjGZWj+skG1UF/FpZ7sM3iwBeARBz1wnega7DnDnAKSta9lxv/gK/bKZs
Ew+tEi+L2MtuAkK664UkVVvLry8GnPa+HNzzzoyl02hS+V0UktdE0ILhNtYiS7z231RpyixQSwWv
Gx7SyvOgXbz5Ef5817APX6q8zr83/3ee0y85nrnQD5o3Kd4//3Sbp/zn+F959xP1/3v7Y/81d56b
53f/sHyjJ1y1r9V4/Vq3yY+//e9/83/6h38ra2/H4vW//8/zN9iGDlL4Knxp2Gwfq24t/r8PZmfb
P2fZKcHj/HM/Z6f818wVorfGgjzPQs4gP+tcyl8y2wiFyfZjgvJHf89PNg1wvjjhqrJmie+CZIne
I5uEqhmgzzf975+UueQ3Oe7BkQI5JZsT2liUNxR5bsi9P2vyTctnaHrm9rW/JDnsezBRvi3wksGF
669qrbhou1ZY+HnaLvsal3Qo6fuBXFp7jIPabQx/WAbU3hep3L12nhTCjom+RIrZrctO1FgrqTrX
iCEX0xCa96UgWjHZJdTWY220iXeubQNIY7eufb//hiUcbk+twPwze7KGfNFVk3IlVF5iZ3W76ybl
jjntL1q12reS/GJUUWc3/XSrTpAH84m0AyOv7bBARVjXhHPWnGlT6Cxt/mT1aCBi7yYoQocd0WUT
ECmgJllqk6MK+4gzvkhEOjssxJFg67kzMckB2V7O/XQZD+GXfGBtV7sroyzOMzT+ZaTfykW39Vmf
VGvk5FINbqvJq3jQngJs3CThNuyJdlK1U3J1nQsrNdZWGmLLOu1eYREtQwgXnFIvka04g4zqMClJ
M0k4+Dc5xvac/lKyNLtgZVnFZcGGZTKt57qjIZz3aQ8hTNsLDRU9Ja4vYedEDtnnsj1GkrcLMKhX
Y3huggxejABF29zoFsHMrlBY71KYTEpBY6UjQ30ZhKjY8iZwOrjDtaKK4E6DCN8rOIF4KL4QOmZx
VOqgLw71fdEbO76f1QJ56zIa29cgFSHXzKpOLJiLxq/PovgGkPU2UcPH3BevawwDZDLCF6zJmgfB
3JQLD9SUTIziIhJLvH2ddTb6Mya7Q1tLa5XOWJFHsLoBEbFhWMs+X8qymL7DZOvOClWEs2NJjS3V
Y7nPZKGxM3k80zKF3oeg32VJ+yI18mNLNGkAaiOsw30eeLe1kmLoSCEREGY6EGqazOmmMlR0h536
ecOHnAZFS02pfennQFRvjkbFatzt6lr+WieD4Ew+AaodTs6dBeRth9GMLJ85aFWdI1dFsld7w/sC
j9u06a/f1lT4nHEOaq3a8Xs2R7dOYt9SA9G3oH6+ETGl4pDt3HoGM6ZQyjbdHAILZ+CsmgZjIc4B
sf4cFaunhMaac3ysPAfJCjGRssEcLtuXFjpRft9FUY6rsNA6NsoG7mVCaSnoDBdCQFBtDBmEzZr3
LZhDbIckBDlCrq1Mvq2qK1CkCbxVInLfp/FJSQyXCFnZHuZwXIWzxUI1gn1DXA+kCyJ0C7J0vVLA
KdJtFDJ2DbJ2YcR8J0bvR+3j3w2Qxc7j90vM7fOY5NWJhYmf+rnAEOZMF0UjRxkK3XvZIlA7VHwc
Sv9zvjxYYDiKcpDVWUzmICy++z8bKdZfOgbOWUAHxxbp2B+h644qY3O+AisLxCDEPyIa/qMdUDON
llkkSsXMrs9zQoqLTn3x1HB5cFv+J32Ut2HoynM+R8CPh+VdOTiUxZ70x5EXfaQw4g00AgDp43j/
eJj5r3m/WnI1NBxk7pzEDTqq84l5HKstYVwuJpxFgiScItLaD6WtGLc3SWn+qMf8Vppz8uYdDHe0
OGc0k2VR7UhYxX5VwXWO1WrX59P/cpi5DH5QN5AVRUDh3VduDoYfk8JVIvT3vuJ9UrKff9uPbh5t
vcNh6HIBv/GGyoW5vZDHbNUp4j4xAok1lmCej5/UUen+x7z759Yd+yOrOqBeF06Vq3tLhVBvJ329
HaLNNCw+HudXvek88w4GYut3eFV+rpI8XHPz1HXm5ItL1T7HPrzoP7mek1MBOwqncwmP1ttJ4+AZ
iUpd57Lc8owU80ZXh5egzm5ow//gg/52xs0V8V+e0T/DHN+2QBwHKSV03VXbOyP/ItHf+Ph+nR4A
s7eGFY395tGLWnYE3PlCWblmr8H9WULpcz4e4fSd+meEo9nsi7UqeOSYuJoWr6cBHYdYuZ3RfdKk
OfUpYA8u8n3kO0BF/v1zV622nuKYT8FYvhg+1YxEWAVDuEiyr3Xw+PElnRxrLjhygsQPN68Zh3Os
iac86aW8cgf4Sp4t+24PeBB2lfrJvTv1dJCYY86yEPKyQLwfCFOK4EdzDIeuiBti71Zd2N98fC2n
Hg/HcgXJIVE4kjr/+cFEbvSxsyLPK91ckO/lWANsJJ7Dq/+xYfjtRH5bWI5nMj5IHYM2V4Sd6/04
2lgNmhRawFqc8HzaYfMvbXWZ7yHsj4JdLeNLazuRp2Yne+Oy3brJ3fi3i/W3v8OJu2nOUmh4zSiF
uavvf4VBIlaxq8bSpZexSBPg3sMnb9MshTh+X+dYJXkWyOnQmY8emKjEfBmGqXADDNlb8bxytBUy
91W6Rai1iR6kp/g2OuvOy9Xo6suPn+SJy3s39tGXL9Ckum9Hxq6a21B70fs/bN/N3/B3AxzdP7mO
AtVr5cIVrCsoZBw4OZliLs8+mSvz33M0VSgSoeibXX+i8uYJPJiSSt6o0Bq6wlWyNF50deiWaXVL
7NsnU//Ea0zjgJ0VhSpqTBAZ3019q81z9GJV4eaIIvL+a9cmOLPvB9EVok++TqeeDTJ8fb6DyBeO
L0lOBGUwcRy5ul+BngPql3z9+OmfmnkHI8woy8P3eMomsdJDRghN1a6rGH7bxSgNfJygCFqo2mLb
jL58POYnV2UczXaOITDuSLxxAbduLMx1kexvPh7i1FywRPa9KIn4QklHz0gNYS+DycvdQBRWukgk
sFno1+3UOR+Pc2rfwCfhn4GOlilpKEu5zoTcrZf5d0NZoBnM18mFkTjCaE/DJ5d16s4djjY/zYMp
njdJSBkkYIpr7L3IJFCNHyyR337sTmy4Dq/nWCcD6m3w65oRgl1AHsJzdiP7y+66WH983069Q3xJ
WT3QRDO9j7bEeKQqpTDMnBIGfrtt5AHms5WG0LHFxwOdWkDmb/Z/Rjp6QEJJaa6XGInkkxUIxvm/
PCL5snSEdblKnWBpOe1yWiFhX3mL9pNP+3wC++WrZEkE3aGSo0x9fHLy/bofjYHxNRsP6KZcButJ
sSvHsi+Us2wl2dLuIj4LVvomXosXOEmHhbhK2Hw+k7VpF/a4q+y775TBnM9+tZOTCUU0p863pubR
d1mIQTNN7EdwDBQbdBWOJD19fPNPvoXAgEjLA5byy4aHrDiztiYxR4KgbQR5GXfmLhk+MT58Nsh8
mQfvRC+qFK6I5XPlRrGLSqadmduW9PDxpZx8Lw4u5ehmzZRPuc0ZxenjbfVoZY4B/NH/ZLbqJwq5
VJmxu1FmpguCfe/91XT9UOSpXs9XQ9aQNSsfhDTMv1il/lXMySqXEgUOSirZjZXdKlWp2QCHL2s/
UG3JKB9lbSrdIUtf4bvXaOnrjVZmykKQbtJqbtKJaWG3kifdZZ0GsU7Mi2vZ6ElbgNk5uoVSkDA4
BWp/rzaNq8madp+YYXgOXWQAqj7H03W+T15CXZfdCO9kiLqtqCl+d2aOIgQ3ovvyIWzsOot9eoTj
YoSQKyB4Ly19ywcZVnBeUYUDpsJ2bxHrXWzXaXRlxa3uFMQGyh6tyJggQY1K5VWXeK7s9/diW6Jz
zhYe0YO6D/dbjfPrBKkxO6fzmDlcD7jcfQT26LyIrVEWWkxtTSTYUG+bbEmMak/rr3fLProWRHWb
Sun9GBGJCDzWWhleJSG1D69agSi6SCXCsJjDFHF7By6ovPtpzllM+hr6k5itx6bc9wkBsiTFE0wd
mXdJUYP38/VXcxo3naz7dhKoD3prPCuR+jCaym3V918l8C2EB38ZqAOkviqh0C4n5mq1jIY5tG+4
FGCcC3BlwNdvxl5NF/SoN71QPVUA5MR0ckNBfPAT465UogtNi1BX9+epohLNM+rLkpoijee12EPI
FSRI/7K+EwZ/6VFWXqihcm3QA5CmzrOncDwrzcilwPxAurljJkRqBLW+8fBjNyUAvUoe/KsYtK7U
Tl9kErsGSdsD8V/IWYoEYNfxK2PKdOL0u9bnZ5gz3LGF0BtH0Gq7m1om96IHOR9ywOEqYLcK30H9
r3J12HCOc/u4J0LLh54aWHajWqtIV/fkNl4M9ZcWtgfVYVcy9ZtJEl9Dyg2F2ayBbF1gH38GA4Ys
n8AwRUE4TzNDkHY6EbaGHl9bMAQL2Vo16bSq2mIpBP4iCNIlcWGNHYsUPSM1XJtDtTECVbQTuXUC
Rb2JCunCquK9pGW7pmvPiyR3wyz5LnvSWvWiZUpEVmz1q66tIUYY3Za4oqVWqfsQ4KtNkvt9GQiw
iZM9zlHKvjmOimLOuHX8quMREUha1FZN0h8CNkHaz7+6JYLX7YkcwoAPbwmjf+92mUqE2bSo0myd
TOKeAshNFhhEmPVO1TeuCOJPCctdS/Ra0eRO1KQwbGeMUAnsIRanBc38u8Fqr00Z37xYrkU1dj3F
us6s7IqMiG3e58sy5NIbZq2jTMZVCYR49FLkJDM2MF/7JUqAId3Ver8XRjoHcw6lNBSrKBY3ssrM
AURbRhWmxnYlSJIjEsWENQIOcnaGVZVol3QjSL2jYQXpLPWiGqJL4im3dY+xYIQCPDXm4yh0hEkZ
JE53X7ETUBiHmGhGmhMrOBksPWOyg3jzwqu+N+0C8n4D+kppardNkEYgnnIUCOCZp90l2kDAqcyE
A7LWqcgHOGKkc+Di4FhlewcJH0NGMIc5iKHtgyxX4uQmEaXrXBxXiuq7g5csO/Ifw6o6i2UJNbIB
59rfVORFwKiMF4AgnUBWbzxfPG/8eCmQrjbk4lUjRssROK/Wly+qWd22WnGZG9I3X0nPEkk794xo
11Whq/TNCsYVCLvOiare7acIHVxZrdLEXOkRzIeknL5VmUSUmm4tjUl/kEsMSZ5wJnfskDTd1eio
CsRsoHJwOCpfh01w0XvSmRcQbqWnyy7WnElNyKZpWlsXpG3qBwgcvFfAjvvciO9xXJB3Bh5BMS+l
CcXa2G9zzu1Ifd2g175YtS+xUR7dXI22sWg9KT1NKBBkO4gWAd2oGFajDC2vWQT56PidsEyhaMCE
lJwhlRZGINcL/Db7MahTJ+vb7xPQTYkVKR2NfUzn0I7xOClauNXIDpvi4TFD7R1r5dqITRtH8hmp
YZtS8BteZcKFLKtbie2MMOuNfaYHX1NktAjm+IpCTU3DalekxV2FRcyuYcoHrXA2BcZD6jX7wogT
5m2G4qMrbqtmWrCYbWnjc5/0ftdCeCH16Ixz12SX0bDyLe25KNJLy0RrGE3XIW5hOfYWyTytUkBp
Qls5raAs1ak5q8wIqmwasadj3sRS07BK95Edpt2m9bQrVM0rIa0uCz29GtMiWZREW8idCiuWlann
jdLHaamF9NqQKIqttK/D8ZLX7VaZ4pU0pptEyHBflY9iLzg+sJKIHmcvkuKdxKvMrFYgZZ4qf/zK
0fqpT7W1YPB2Be1Kqi4Cf0atXBfFsBjF4KwkbiaurIWeeQtRu2xkKpxC6pga4XOgUDNMgIMI9XvO
sBC120Ts9oXkuWblEfCBiSmyEjftBuD8Yn5tDdoX4GKrShk3sghkJGuHFbR+RzXxwpV1atmZR66U
Xlf0HPtrcerPprS/nSNZzEnf63ATF2Y3PRZA3iZduRqD6r6DhLOSZJJ0EazZ4wAD1sNuVaYIy8J1
7uWAX4zoAfGYOxhJRr2xW9Kd3uZCAa5WOFdxGDpiQuTjKHHJiOFCdS/TvyTCPqJZORL3qF9IkwFN
t7o3+3bVJiQcTu3Ob3v6h0a1VKKscpQ5h9D0+QX1ISNyOcDAXXkrdCduWkYSjB4Fn3qDOILEvpr8
1rLKX5K4XcmqfCnxfbYyjYcA9wrum2AVLv1Q5HTGrZXEd9lUrlNcb1VOKJ0l+G48EPboVd8bPXr2
QIRXnXmNaHdpTiqRf9W9VXY7oyFqvtPvrbrZSQmVGUA/u1oUvhiJdiUMtAv9aLhiO8nLkDb7JhIX
QoCFDbQc/6ucHBrIkHyElVghGRSatUHKi+mDtbREaK7ZWUgSkOeBQVbKx2YkZzKOvaWVWcjk401Y
or9FtI7EpXzM8/yr3tTt2qy1i6DBMNcX2o9ixL/tQYvjwu/bg/d5wqbh+UR/kB/72R8U/zIUIq1M
fY7JAsjKH/0UoIAMJ0vKgBdHVeo9ydL6CxQXuklAlxrB3YewVhOjlQxRAgYsVfaZP/cnxC1lPpi8
q76xKnFwweoNFoyRjs7Zfq8rWas1+tqPkltgbUlzayaiF7vtIIMN5jhQmwu1rsqUfI6ypEkfKlVx
O3nqcINYMCSEIg6Gm4LNLnmJ7AsRfqA4pfIVWZdiF5FJnWujg9nPyYDJoXeo29B/9ZR2tGOigSpb
lqUbjxhSu9IIfOto/DW7vJVrUuxATfiPQsmyMvhm6e/BSy704DxN5nSeTSDEl2ElXXeBtc6Tzlqo
pfySNBaChqmSp32bDs24B6sCZXtGlRcV0HKLSCQPReYq1DVkKIDNp0wLFxkxCu5UECIB7FJ5qGSr
WqpDdQ+2u1ymYa2DFRKJO9BQlVpj3a0jowvYYkcLy1i2hMuvo9DYZGwmmtZHjItRDjKt9DxJ84ev
6lyLTZBtSH6/TzyqxQEGlm1SYgJChFCs/LB4QnIRolRLpGXYyxOmW6hRZWTpyyoJJluxygs5ZBUF
l7TISeC2UynRb6xQvBNqNVj1OjtYaaoWZTCbZCBWcmHJQxZYd1kTX2Zi8tRMcgZ6hRuvBN+tKL/A
dOkqfvWl7KuBowEYzTQlWTPEEVwE2rhoOvyvctktSA3dDgmSXVW81BPtoS/iGkGQeeX37JOHYJP6
3bdySMOFHyIVqif45hOrZc05jsb0vm6lh1CIHwd/ehkb1XfEMnGUmlOIwCabu1bZyaBdK22/Vkyq
s8yTZRwr7aLPSZ+v48IWK2vV1e3LYNbftCTYJg1BUV6h4s+N93LHQjIE8l1Se64mWBfRVKZ2Wcfr
IeyypaD6F+SppksRx48rCR17x6BMvkiBspOrfNf7rblMKwNOeAR7LNHcHOFHZlRXCcQziIXkR5kp
wYbyqpmG19hkYpvsiXRWp4jF3Kn4ADeWuRyMdpXIFq4dz8kJe7DlwYQpV5eiC+72DOXOV+YZNbPy
fsQsEUh1SrgEaRmJFba4wQTRCaastlU1eSraxJGU4iKgh2FbUcjOGu7rsuIaiKhFNBtyy6Up3A1p
xbU2ariqmxmnJgjquhbhvsha1nwbKsPNi/ib19eOF2r4KFgiC4MahVGJl02uKNuqrSNn6DOA/upU
UCxQSE3Ps8mRdRYcNAUXuVCzv+xiyPpKssXBeO75GTIpi2hXveLNVbRxG6vZsvOqK6sSwx9Vx3/X
l1nv9/v15eE5bnHynlhf+LGf64v6F0+c5YMeFAzRN5Xtz/WF6ERlZg/9s1K805/MiFCWHrBaGEcP
9SeASkV0idDF6XX/WXDVL7VKHeGvRPzVnG6BcOOo/CYROxTnBTtZQZw5DIuimz4p1P5SkT4a4agi
LfhFGih0PVyddOSuWAQaJLoKnZ7wrUXbcHD/L38si4d+4V+KwkeDzb/MQc2ynLrRZBFr3Iz0hhQB
Sqovu2Bclf0nSpfP7tvRqlx5TZoh8W3dqVtbeEaz4pMS7y8DQE2TUJzCpMX2jKD1/ZUoveqN0HMa
N6zl67YBSplp5reP79Yvj+ZtDHrV7LRp8B13wZJIyhUxMRpX6M5auVq1/VLnQxKI+1KIPnkyJ8cy
mGiKoqsUro96U/1UN5M5So3bWjdzjJS/npEQkQRHUBKXH1/XiZoynSlaviDkaQ8c+wCDWmzrOGCs
aWJKtypEQyV/8GATin4bst2x+Farn1zgr0SW+W7+M+pbR+tg7hHUHad9OjVuYCL5jeTzpsdwHYm1
LXol56mc87jhVFW3L5HvBn2ztEAjpUPnloJ3G5TSsijaDYr1fF5pqk9+vflFfreN5LdDwTzvcDFT
q8eOfavjtI+3rnHJxDCmM8N6MJW7j2/7qSl7OMT85wc3YLKiQcwUbsAwDstJrEGOfMLl+uX1ni8C
S9gc5cx2+FgxIAx5N5RT0bjs3lZCMzpskM7NaLoCQ7D++GJO3q+DoY4+W2IWSZqalo2bmtZGlglW
V6IFzMmPRzn1VoBQ4J3AAUHLSHl/y7wx8S0FArubl1/V9L6IHsSQwHrp0vOLTybAZ0MdPZ3ZD9fm
2NtdIi9tDYl35b0GkGLVF2n6pHP02VDznx9MhCoPQna6XFVVejdAfO/GflxwXDnT23hNNqr78U08
9bqr0syaQqMP4Pvo02LGoQhONmjdMZGeYMRdep1+Q2qMreOcG0KZQDH9E17AqYl4OOTRzayrvI8n
k69zYz3rxlJB+y1plOjST/Rmp2Yh+hULqztqhV+kFyK5f40ZWY0be9M5MW+DbZb5DcigT+bh/Pse
fx0OxjlWK+QC/YtYYJw6elDJWm03Hz+iT67jWJlg9KKYhBZ/vydottAsvZxznPr48SC/nJT5OqDZ
VdgDmPhI307SB9Ou8ArFj9V5EAyJevY8135jE3YPIKK87+cMETsgyvDjUU9Phf+Mehz8GWQN5CHs
hG4VKVeWMm71WrBTMdsnvfw3nPa3IoJjLMEs+Tm8RPXoeyFOxpT3BfPOUpaV8HUINxotDTnonL45
EyZKmTV1qNpbi63/ybf39NjklqF9pl7C/X3/Vhv6pEoYUtkt0KHVhcEujbukWjbJ1hq2bUYc3+NQ
rcf+k1ft5FPlECOyVwYxcryYswFHE6txf/W7/F4gli9fc0JqxIUobGX5kz7xJ4Mdr+FTXfiCOTCY
cNFZ6J3ccJNd54SpGgtK1h9PHL5Qp946HHasaYiefhE8KVpFozphNJBteyH09wLUcJLJt3KgXA6D
p2DB9YBXdU4a6Rs5FHZmLELVCB1O2BdFK+770VpZSXnezqmdYuWoTbgcBwFQFq1Ek1hQqVrFRA32
I62pXHHKtt9Oylyzts50iOhD2q6HyLSphK/DRnfUdDofrQFbNKRuLP120af3lKDuKw78DTVbJUWN
hXLYRnO50QPlixIqC1GiVk++OhTAhS8mG6svlg2pAlYGslukm5kMbizVu5hifS6J3305dzyQWZw7
yJiLFl2armePVZ5JTyKcL1sptQXRzmyS1HMz1M+Srj4nsOTB75GEEa8O1xtWa1V/rcfCMbThrMzU
5aROcNJSR0+rVZEShFuED7KZXDLShQBLLS2ztRo1+0zK78ukWcqWt5R7cAWWSpBdt0rixDXAjltl
7laS9W2IhZUwUO8PFYr4IjblcZWL6pkkEWsepVujqp/yiubM3NzRKgwkzedT5OQMQQZsgffHcjB/
Vw8+aYFc5GNRMEM03Ge1jb1MXgYXk7gelvqXomJSfvI1Y+N/YkhNYhml5sh2Vp7//GBII4rVBtsm
Sw7OeKzW6ZPYx4tEFBc44ZGziBgmydEei+tWiTAA+3dm45kL0kcD2xuGlTbh4Glhn1XDjgX4JpDb
G3WCZ6xJlU3Zw808cyUpUCQq2bcVgXbt0EXEoadILvANrRWgan6d8X0RsysjYpIaCYmp8XKoo0Vu
GJSkPAdfyK5ThOUQS44Q1VdS/kj+984j/44i4kWrTU43mfcaRaiekplRfmmMRQVfTh1efcv2uoLy
k+J4imiHWgoIwwgoYbVuZXV2EBB4WkOfM+obqREca5LPKLA4ca899lJ6QfnUUXI619P0hI/P9WoK
i23jaLr3ldjYTVhn57gtCOGTIkenHWhazTqUyx2hcJeilpm84+Q5RrySXXY2xOENQuAFLfULqVSZ
vqGbKMbrWGU3kpxtM697rKvkIsh0cm5J5chIXkb5MTiBmA6rSoruIjlZCfSdp0hZBj1URVNzPFoL
VAFpkpc3YdUt/CS+LRLfibtsUYY9TUeSB/8/e1e227aSbX8luO9scB4ebgOtebLsyI59kheClhSy
OBVZnPn1vehYsSQz4u0r4QAE+iVIYrnETbJ27aq9hkAF1I3E1Rzbs5ksF5NQllZ6XAB7UUX3bhxN
oMmIYz02kyBpEqBtS0F34iUebZGygkoSzE0TN34m8KKDeOIdzFVGIWyEAtxsSHUtvbD+xin2ikTl
qIZVYMlk9MC5dVZrY12B9gmPlFMX31P0eXO+RAqT12/6fDj1MsJ86JuajcfggCUJUp4MpX6gagep
Lpi4fPYT6mAznRNHHhATuVw+p2k1RCt56pbQrcuDSZVJ47jUxz5wGClkR6pQuHP4+GsFA0YnkGay
oDzCI2KoZRBrgLbvs8CyAFUj3chqvgHaexrBjjh0HVSU2joK0AgzYRIrgRfocjAwUqcF7iw8Oqel
5CKg6E5uKP5RuiRg1Bc+kM0yDL1r7U719UEKl9y0glNthcdHTRyvotOLHaCM9uRQKLOFWsBg2IAK
DPw98bZzwDTUkjisFVsaFlo4QxN+WQUiphrsDeMcid0bmnL6CHnaNeXUFR9BIBMnu5DBWZtePqpi
qA4GFEfxMBM2y20QCmMGF2EgHvZKiC6uxtDSk4tFJENCAaZJQuMAIaAhJ/kijh4FEB6RBAeoo6w0
86dpTjBxubEKKUWYCcg73UM/H74Zns7tAg7KB6G4MSvYV8To8WEXg9PMzB7aIA6KsMItsf/OPTb1
HVTmsTOxC6i+eMpfugBvUnhWvQTE/ZZF0QtLuI1WNxqWsF7yI/cpJrHl5MXerkobTVz2wmp9oOMg
wa3ClecXd7EJ2FMZvuYCv5Rd+17yzGnNV99tqXEPiAC8qbyhXopzTxCXDK80PJ3HUZVOmZKPNXQn
cM4/IhpgXHbET6pQ/p4Xzir36wmt3EUF425iGuPG+1GwR2IItVG73HFhvICw5F+47Wsd2pggnw4T
SgCGAdbpvuDFYBCm6RMgMksqkp2OTsWQqdmDFjjf4Ky1doCjCRw21kPxgVPyEQ24KYVIbookUHAq
CKwKFppavRd5MlZF9Ed4Zu4UjsCVuITlJ6BEOkQb0Dt6CKF9SyT/uSTKc1miDauTMYc3BaXMg1eW
Gz7y10BELQ3fUUeYKfCoDAwgZFK0eFJpnIqg7+bKmC8gegmI2EB13ReTqfYowasFC1WA4wiMR+M7
ty4ffceDj0ZRNufZgIVR9yXTIDoSinMl07/DURbOnMiiCnRp4XPzTCCaCmDUsvbUsQudSSgULeoo
GdsqTthzok7kTMPGyX8UlNwc+7m+lh11kJrkTo7LtV7J47RQ11qezh07+ebx2pMURVOTMmRGyCyl
1ZjCFKMy0Tlx/DuOzyY8dJkrpIQIWYgCKON79SwsNNhHwKAiIAvXcUE58EekdJeFwP7yCpQyvDoN
a/+ZJ9E9V5eTWC+nYOluXANgPJtbJnWF9noI0c5KmTmolCTEAMYphYyRDK6GP65zeWZAWn/AKKwz
OBjaFpqlCWQIw5InaAM8hKr6UOj1fUjqtULdUYVmD9Ayi1QKnkq0aYBEnBSRPZGZOwo5Y6Jn/phA
4alMYPJpkqlTliN0WpbUZKM8liYgh4wkoYK/vbAAwGRIQ+yAFWEmEWiW+NW0NJx7dDfRKYrGBWo6
Ex2RWtNfMkUaR6TYFAK/ckNx5sjKACdbcCTxqteygrVOxI9MMYMCrDKKKhde9oQMwrpWoW7j4W/I
GDSCslxSb9zSAG7DufOx0nBaOsCJpTvkghzSean7Aq7riEl0nCl580RxElZG3qr2qllawtS7Fp2B
7Xj31EvhkBf4EvKVrJTazgBTET/iNCdaFIAYfU/AuRIWNrIwGD4ZJK+Wtcx7Q82TJqwsn1gdTcxM
AsswfAo1YJ1s3JHYXemoYGdSzpE5K6Wl4VVD4CcAdfRWaNsPKywqI7WUJyRgFKgnOIcX7tIpxZEK
SjnD0lbgkNDHh1y2KZN4LMNkprShdpcZG5Cgh6VBpiwVxmZM9ZFfZ1CgMQY4+sxGePzfmGg+m+qU
B+gbaTTYxTb6MA4wPJFU3fkG7kwhL0yIcQMYJI6pThrcwFQpyUr1QEHO5WUJa6IqdZdRHWKVNGdO
7PzwY3tVJ94MTkFAmlZjXUYtFiGXTWQ/33BG8TXhJCCCpJFNtY2ckyn8PCYc6M058KKJDiMAtAGW
RmysChUlhCN+V5R6Hhog0ifUMiq2KIt4KZjA2cV2uDZScUSUes1I8KMGM17h0ntoMc5zJEIpkSeJ
lD9hT7/TUZQMQ5ItCG8uoZz3IJk8oOeCVbjiJOScbVbTr2ntrEszAUQmva9MdxIR7SuXaV8rQV5r
YQJ+v1oPSyUlwNWEC7iQPPmSPdRo/UqymA4CkPJJab74tIEkQVTOgUNZBh9S+pUXM0tx4yU02v9y
3GgRUuUea7KP/TAdaSVQZoCmUZ39jKky9UkBJIcZRUNeTcupGJBqDNvKoQjXR5f52ihQqxXoV4iw
5u5VMYYrqaSXQO3RbwIj8ZIDtN1GG4MvYTBYR7I5KES1WKohzG4KYVIg7yhZuRDDHAfqfKrjuC2E
05AEd6GgkWVTDBLOAqdx3gkI2oxuZax9Tnt921/+tynXkCIvNeX8lLYY9Da/dejJKf/AMYoGkrKE
3hd6czgGOPTk4B6IHoUAF0CcMp9Y2bwpleGEH4AQCKqKUBD73ZPDj8CHARfBUEV4ozUqJv8B5gNO
qOd7sEa9BHZhOO0Gcw0Cu6d7MEnBayFRXZjJTgIYQiCG2dBl5Y45GTS4I20VR8XY44tRHAE5C5/O
sStlqIRMtKeraKB40jOkIe6B1nSHSZ4/ovkCFHsGJWxYlCxCxnlzjYPdFOVzy9aINnULtuYlssoM
YyuXcB2gcLWUPNvCP4RBWev2wgsIN+C5SoJrmYD6L+YBKeP0pac7j7ZXzLIae3OoOi68QkQ+oncp
DuQGKUEqEMy5JxWrmPI/kjQEuSaOwAE2MQBBvewFAlBd+HIuDHBiDLiXRswnagJ16/JkE/HmNmNV
MVBrEI2yAq7tlb4QlPoRSPE7QDImGYcM69BJWYs/NRZspAh43KD8Bt3GeUDKeSGI01hR5kGevZDc
fvEcoMQlY1aXyV6mFLpaPDaFTEbeIoscEt0eiXZBYDeC3DgbKUIorHNRAvo396MSCeThSzhmSPEw
4KW72nYBi0DXzExR88Z8sCxDfpkCFYL23lOEGwHCkvmQeN5LBX31VA4QtVnOeQNiuQqTCmyrBLjY
wYNrIBu4L0lJX4FpgR8eW8E4CUUk4SO24bNsnrgMNjgqtsk1CAs15IySSWrjNV5JuQgndRtV81pI
wB0YsaSETzyXB4X61RU4dLxUlTSQVx6Qn+8Qza9GSWM4yRxVfgJGJx/EZoLtfcbl+TjPdYiEk5wI
zgpQe7MeghYVxfP/5ifca0UwMF0v5SfgoUO7PUfhNz9yVNOvU6GJCKPupm33kaMU6FagFwAnZWhm
/UpEH8JIjUo2GgYyD31U/PU4R0lgO4ISpgM0IKj6f5SiGqDdaccAKUpD+dj8gSb1eT8xksMwTtxE
nMHuzRuFHrC4IZUnAs0WnAqiSZSgn8k84MHtbOxnRjBEmfctqGpnnpjSdzUAlZTgBRtRClC6nmVP
mgPncJBd8kUeGfoDPAuSgUO9HBgknqE2hN2KqGfLgtlFPSiYBkdC6hnbAtQeEyhRLK+NMKM0C+uc
QxmnCckc9AgF5WjiLO2IhM/YAU6giUfhLgy7vMJVFxQkrmEsZmUxh0iHveGTQJwUtMBO3xUwc1ii
/gQqWxvhSgMg4ctwWHqQdNVD9ZFxjBvCvdgd2EZuRYH3FTu4YSEgDYIUb2FXj52Jt4A4K9Dd2CFr
lOI8lc+faqeAhKv4oCqiB8IuTLBUdy44MjwFcHChJeVKcRq5Vn5CCXY4nr5JGjRS6sSrEolBN/xX
2QxcbDSQLvwme/g6jv7h70EA0i/mSZNjYtueMiQdt9YfIEdGR7QSniJYNkJyZMmQpsQSErkamsKD
CiksRCqzI3g1ukhu6JqPZM/4YcfJzE5AsFB5Thv4TUbkWbCDGe1Mqu0FF8vLHP6AUpNDcyXaB7E+
c5FcpbRBatMtyE1zm5NQcJVzmtVzB0mZQcVSRZLWgMpQkvSHnIWzCEnczuw7xRTAitQWaZPl40Le
pE3ep1gACBYCnBvmONvQnuJmjXANb2bLBGdrOXgmWEaCZj2RWXNfmjUmwmKj2/lKxOKTYRFK3lYj
6MvpFQ7JsExlQgmLMzmbuVjA1Fhbes2KFtUVFJhoLg28EIqUgsvbC2za4DMiEouq+UiGYt0wC7Vt
jRULFvdrGBmqUzxWiyMa1IzMGFvhJIBCgLyIikqf5TwsNvg4fcyxsRuGaXCf5sqzwXAC6WLBBiR/
JWMBr3hwVVws6RGWdr1SwOdr/O05fqGCL+o3FUBf0u97BdsI2I3PNeugb/erGzZ0iL97+zHZJ0ei
dp0f+PMAx/p18B38cJh/+65G8u7X4Pu3i2r+/c9TBbw36b2jnx6k+I5//z24z5ffel2H/5yRPbPY
1ql+3ZD3K11bAVT4/uVbWydrQZkhgvcPtsv1/V6DLo0+sLw9O4wz3/3v/zQC4wp8HQ7/d9XY1WGU
o5FR7H7cw88ig/+3q2bW7idlu8NQR8NjobrB8Pvcah0dNf8NRqdF++jNFuX3y/f/vDVDy4fRfcsG
qNH3vH50x2I+TdP9YayjO49d1PXjkxRw1sNAH4M3/lbXDw5niMMwR0MDL3L90NT3MYcPIx2NfotJ
OgSRIXhtYzLIt5ind8TC5m1k7VqearM3vfrujPaPNG2xl236mdcPTso2CVz5FlN1lOWWf7jGo4d6
i4k6TrbWHx7qLWbqxLdsv/WNvMU8nTDYFfikJc0ot5ipU2uX7PZto99isk6Jv3UYdG0/P1nlFtN1
6mMqtSSxRgTr6td9mvk/D8N8vJHKLabpDGmg/fBMucVEnWHRa5MDbg7Srr4ts324Yy3ZXbnFVJ3t
WWiFu5YMptxiqs6gBe1j/LZX5haTdQZh4uSVMgo3zMOt/nh11FtM2Bn1g7ZXvlHcuvrZzsMdscIv
G5K35bPmZOTqr1hYWw82IYeRju7OLebsYv/z5561j3+LibuyflrVvrUqU28xc1fYJLTcmlvM21Vb
RlBvMWlX+9bneYsJu9rnLammaSNc/SKuyOuepS2jN5jcq0e/s3ak9TVsELk3GD200rbnqd1iit5Z
jLQ9Ue0WMxSDp23VjHaL6XlHQ0ZbJlBj6nj1TV9bSWJlh4E+Epd2i9l571k+bTX+adT5rr72e2+/
3zr0tfWducVEvUeZarfd+VtM1ftku6dt9D/9FlP1wfKDL4M9zn4ON/rj2eq3mK0PVrJtqWj0W8zV
Do/Ta884wAT0Wu7KLebqA1SrrKBl8FvM1U4nrWtvzKPFrISmVsv132K+Pu5hCEL9lgnVyBJcnQ4e
0y+QxQlbyuCG/niL4S/Z5Vx977MgbatPjVtM1sfLZirXXvtFIf1rB/8Wtq7bDaf56md6WeLj2iu/
TPC+fvT2zfYbUuX6wZPLbebLX9DWxvjtNvS5uXEwHGr7tbbmzYPF8OjHzTX8ob3zx08cWiYtH3h/
nT7WyaZD8ruf8PZt1ftnWlsrHa2Oo288DPP2VW+9pOZ73qM/+txpcBcu/XAD36lgn2/P59hQ9l6K
7aSx06/IkBguR/Z7e9SvuFBCXIzrrKnVr+Cw3bgc3ElLrV+xoXa6HNtJQ69fsaFwuxTbWTuxX7Gh
arwY23kzs1fRNS3Ri9GdtFL7FRpK5ouhHTVy+xVYR0GCRu9xG7lfsXUUJOdN7H4F11GTfG6h9yu8
jtLktIHfr9A6ChPQvD7gA/2KrKMsOQEv9CuyjqLkHDrRr+A6qpIz4EavYmvAH5cW7nPYSL+C66hK
zkAr/YqtozD5BJnpV3QdpckpYKdfoXUUJsdwoX4F1lGSnIOV+hVcR1FyCpXqV2gdVckpUKtfoXWU
JecwsX4F11GWfAKp9Sq6BuR2qTBpg8j1K8CO4uQUoNev0DpqkzZ4YL8C7ChPzsCJ/Yqtoz75BI3s
V3QdRconYGa/ouuoUo5hof0KrKNGOQKl9iuujgLlGBLbr8A6ipNjQG6vAmtQvZfqkjM4cL9i6yhJ
zsDI/Yqtoya5s06g0P2KraMcOQVi9yu0jmrkFAber9A6SpFTEHq/QuuoQ04h8P0KraMSOQfg9yu4
jnLkM/y/X+F1FCWn5INehdYwGC6VJWfUh37F1lGWfCZe9Cu8jsrkhPbRr8g66pJz0km/guuoTI4p
L/0KrKMuOSXc9Cu0jrrkM92nX+F11CbnZKN+BddRm5xTnfoVXEdl8pj+45Rp1avojI7ipInuhOjV
r+g6ypPHE5pZv0LrKE3OSW79Cq6jOjml2PUrtI7a5ITg16/IOoqTM3phv2LrqE7OyI39iq2jNHmx
jqmV/QqtozB5sc6JnX0J7zdP8hfJsYWPOfEpIzvrAi/46FjiiGZ5TMcUG8U6nF38TWRMyDM3agyX
DkvWlKXOl38Fe0a2Z7FtKSiwIaiwRyP8IS5o0b83i/6uyN5v5B+fFtJ+ut99eUwh+pKcPrMtFCgh
zrvZ22/U79935w+xfdzEvym2j5v5x+hOA4qgz7X/9ZS6L7HrE5CZbT6y9fcW++e/AQAA//8=</cx:binary>
              </cx:geoCache>
            </cx:geography>
          </cx:layoutPr>
        </cx:series>
      </cx:plotAreaRegion>
    </cx:plotArea>
  </cx:chart>
</cx:chartSpace>
</file>

<file path=ppt/charts/chartEx3.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entityId">
        <cx:lvl ptCount="67">
          <cx:pt idx="0">10035132</cx:pt>
          <cx:pt idx="1">10035133</cx:pt>
          <cx:pt idx="2">10035134</cx:pt>
          <cx:pt idx="3">10035135</cx:pt>
          <cx:pt idx="4">10035136</cx:pt>
          <cx:pt idx="5">10035137</cx:pt>
          <cx:pt idx="6">10035138</cx:pt>
          <cx:pt idx="7">10035139</cx:pt>
          <cx:pt idx="8">10035140</cx:pt>
          <cx:pt idx="9">10035141</cx:pt>
          <cx:pt idx="10">10035142</cx:pt>
          <cx:pt idx="11">10035143</cx:pt>
          <cx:pt idx="12">10035145</cx:pt>
          <cx:pt idx="13">10035146</cx:pt>
          <cx:pt idx="14">10035147</cx:pt>
          <cx:pt idx="15">10035148</cx:pt>
          <cx:pt idx="16">10035149</cx:pt>
          <cx:pt idx="17">10035150</cx:pt>
          <cx:pt idx="18">10035151</cx:pt>
          <cx:pt idx="19">10035152</cx:pt>
          <cx:pt idx="20">10035153</cx:pt>
          <cx:pt idx="21">10035154</cx:pt>
          <cx:pt idx="22">10035155</cx:pt>
          <cx:pt idx="23">10035156</cx:pt>
          <cx:pt idx="24">10035157</cx:pt>
          <cx:pt idx="25">10035158</cx:pt>
          <cx:pt idx="26">10035159</cx:pt>
          <cx:pt idx="27">10035160</cx:pt>
          <cx:pt idx="28">10035161</cx:pt>
          <cx:pt idx="29">10035162</cx:pt>
          <cx:pt idx="30">10035163</cx:pt>
          <cx:pt idx="31">10035164</cx:pt>
          <cx:pt idx="32">10035165</cx:pt>
          <cx:pt idx="33">10035166</cx:pt>
          <cx:pt idx="34">10035167</cx:pt>
          <cx:pt idx="35">10035168</cx:pt>
          <cx:pt idx="36">10035169</cx:pt>
          <cx:pt idx="37">10035170</cx:pt>
          <cx:pt idx="38">10035171</cx:pt>
          <cx:pt idx="39">10035172</cx:pt>
          <cx:pt idx="40">10035173</cx:pt>
          <cx:pt idx="41">10035174</cx:pt>
          <cx:pt idx="42">10035144</cx:pt>
          <cx:pt idx="43">10035175</cx:pt>
          <cx:pt idx="44">10035176</cx:pt>
          <cx:pt idx="45">10035177</cx:pt>
          <cx:pt idx="46">10035178</cx:pt>
          <cx:pt idx="47">10035179</cx:pt>
          <cx:pt idx="48">10035180</cx:pt>
          <cx:pt idx="49">10035181</cx:pt>
          <cx:pt idx="50">10035182</cx:pt>
          <cx:pt idx="51">10035183</cx:pt>
          <cx:pt idx="52">10035184</cx:pt>
          <cx:pt idx="53">10035185</cx:pt>
          <cx:pt idx="54">10035186</cx:pt>
          <cx:pt idx="55">10035187</cx:pt>
          <cx:pt idx="56">10035188</cx:pt>
          <cx:pt idx="57">10035189</cx:pt>
          <cx:pt idx="58">10035190</cx:pt>
          <cx:pt idx="59">10035191</cx:pt>
          <cx:pt idx="60">10035192</cx:pt>
          <cx:pt idx="61">10035193</cx:pt>
          <cx:pt idx="62">10035194</cx:pt>
          <cx:pt idx="63">10035195</cx:pt>
          <cx:pt idx="64">10035196</cx:pt>
          <cx:pt idx="65">10035197</cx:pt>
          <cx:pt idx="66">10035198</cx:pt>
        </cx:lvl>
      </cx:strDim>
      <cx:strDim type="cat">
        <cx:f>'Compiled by County'!$A$2:$A$69</cx:f>
        <cx:nf>'Compiled by County'!$A$1</cx:nf>
        <cx:lvl ptCount="67" name="County">
          <cx:pt idx="0">Alachua County, Florida</cx:pt>
          <cx:pt idx="1">Baker County, Florida</cx:pt>
          <cx:pt idx="2">Bay County, Florida</cx:pt>
          <cx:pt idx="3">Bradford County, Florida</cx:pt>
          <cx:pt idx="4">Brevard County, Florida</cx:pt>
          <cx:pt idx="5">Broward County, Florida</cx:pt>
          <cx:pt idx="6">Calhoun County, Florida</cx:pt>
          <cx:pt idx="7">Charlotte County, Florida</cx:pt>
          <cx:pt idx="8">Citrus County, Florida</cx:pt>
          <cx:pt idx="9">Clay County, Florida</cx:pt>
          <cx:pt idx="10">Collier County, Florida</cx:pt>
          <cx:pt idx="11">Columbia County, Florida</cx:pt>
          <cx:pt idx="12">DeSoto County, Florida</cx:pt>
          <cx:pt idx="13">Dixie County, Florida</cx:pt>
          <cx:pt idx="14">Duval County, Florida</cx:pt>
          <cx:pt idx="15">Escambia County, Florida</cx:pt>
          <cx:pt idx="16">Flagler County, Florida</cx:pt>
          <cx:pt idx="17">Franklin County, Florida</cx:pt>
          <cx:pt idx="18">Gadsden County, Florida</cx:pt>
          <cx:pt idx="19">Gilchrist County, Florida</cx:pt>
          <cx:pt idx="20">Glades County, Florida</cx:pt>
          <cx:pt idx="21">Gulf County, Florida</cx:pt>
          <cx:pt idx="22">Hamilton County, Florida</cx:pt>
          <cx:pt idx="23">Hardee County, Florida</cx:pt>
          <cx:pt idx="24">Hendry County, Florida</cx:pt>
          <cx:pt idx="25">Hernando County, Florida</cx:pt>
          <cx:pt idx="26">Highlands County, Florida</cx:pt>
          <cx:pt idx="27">Hillsborough County, Florida</cx:pt>
          <cx:pt idx="28">Holmes County, Florida</cx:pt>
          <cx:pt idx="29">Indian River County, Florida</cx:pt>
          <cx:pt idx="30">Jackson County, Florida</cx:pt>
          <cx:pt idx="31">Jefferson County, Florida</cx:pt>
          <cx:pt idx="32">Lafayette County, Florida</cx:pt>
          <cx:pt idx="33">Lake County, Florida</cx:pt>
          <cx:pt idx="34">Lee County, Florida</cx:pt>
          <cx:pt idx="35">Leon County, Florida</cx:pt>
          <cx:pt idx="36">Levy County, Florida</cx:pt>
          <cx:pt idx="37">Liberty County, Florida</cx:pt>
          <cx:pt idx="38">Madison County, Florida</cx:pt>
          <cx:pt idx="39">Manatee County, Florida</cx:pt>
          <cx:pt idx="40">Marion County, Florida</cx:pt>
          <cx:pt idx="41">Martin County, Florida</cx:pt>
          <cx:pt idx="42">Miami-Dade County, Florida</cx:pt>
          <cx:pt idx="43">Monroe County, Florida</cx:pt>
          <cx:pt idx="44">Nassau County, Florida</cx:pt>
          <cx:pt idx="45">Okaloosa County, Florida</cx:pt>
          <cx:pt idx="46">Okeechobee County, Florida</cx:pt>
          <cx:pt idx="47">Orange County, Florida</cx:pt>
          <cx:pt idx="48">Osceola County, Florida</cx:pt>
          <cx:pt idx="49">Palm Beach County, Florida</cx:pt>
          <cx:pt idx="50">Pasco County, Florida</cx:pt>
          <cx:pt idx="51">Pinellas County, Florida</cx:pt>
          <cx:pt idx="52">Polk County, Florida</cx:pt>
          <cx:pt idx="53">Putnam County, Florida</cx:pt>
          <cx:pt idx="54">Santa Rosa County, Florida</cx:pt>
          <cx:pt idx="55">Sarasota County, Florida</cx:pt>
          <cx:pt idx="56">Seminole County, Florida</cx:pt>
          <cx:pt idx="57">St. Johns County, Florida</cx:pt>
          <cx:pt idx="58">St. Lucie County, Florida</cx:pt>
          <cx:pt idx="59">Sumter County, Florida</cx:pt>
          <cx:pt idx="60">Suwannee County, Florida</cx:pt>
          <cx:pt idx="61">Taylor County, Florida</cx:pt>
          <cx:pt idx="62">Union County, Florida</cx:pt>
          <cx:pt idx="63">Volusia County, Florida</cx:pt>
          <cx:pt idx="64">Wakulla County, Florida</cx:pt>
          <cx:pt idx="65">Walton County, Florida</cx:pt>
          <cx:pt idx="66">Washington County, Florida</cx:pt>
        </cx:lvl>
      </cx:strDim>
      <cx:numDim type="colorVal">
        <cx:f>'Compiled by County'!$B$2:$B$69</cx:f>
        <cx:nf>'Compiled by County'!$B$1</cx:nf>
        <cx:lvl ptCount="67" formatCode="#,##0" name="Waste Amount (in Tons)">
          <cx:pt idx="0">209138.14000000001</cx:pt>
          <cx:pt idx="1">22771.130000000001</cx:pt>
          <cx:pt idx="2">268736.36000000004</cx:pt>
          <cx:pt idx="3">22707.300000000003</cx:pt>
          <cx:pt idx="4">736397.43000000005</cx:pt>
          <cx:pt idx="5">2317935.23</cx:pt>
          <cx:pt idx="6">8120.5300000000007</cx:pt>
          <cx:pt idx="7">620531.27000000014</cx:pt>
          <cx:pt idx="8">145383.87</cx:pt>
          <cx:pt idx="9">73.239999999999995</cx:pt>
          <cx:pt idx="10">365913.47999999998</cx:pt>
          <cx:pt idx="11">60901.490000000013</cx:pt>
          <cx:pt idx="12">59918.82</cx:pt>
          <cx:pt idx="13">11725.549999999999</cx:pt>
          <cx:pt idx="14">1045270.8599999999</cx:pt>
          <cx:pt idx="15">432765.40000000002</cx:pt>
          <cx:pt idx="16">92872.849999999991</cx:pt>
          <cx:pt idx="17">11093.659999999998</cx:pt>
          <cx:pt idx="18">1007.9</cx:pt>
          <cx:pt idx="19">5240.8999999999996</cx:pt>
          <cx:pt idx="20">13714.58</cx:pt>
          <cx:pt idx="21">28386.489999999998</cx:pt>
          <cx:pt idx="22">597.76999999999998</cx:pt>
          <cx:pt idx="23">21668.32</cx:pt>
          <cx:pt idx="24">47229.230000000003</cx:pt>
          <cx:pt idx="25">173328.64000000001</cx:pt>
          <cx:pt idx="26">100715.15000000001</cx:pt>
          <cx:pt idx="27">1054015.5999999999</cx:pt>
          <cx:pt idx="28">3782.6899999999996</cx:pt>
          <cx:pt idx="29">273242.16999999998</cx:pt>
          <cx:pt idx="30">41336.630000000005</cx:pt>
          <cx:pt idx="31">10563</cx:pt>
          <cx:pt idx="32">1254</cx:pt>
          <cx:pt idx="33">252102.67000000001</cx:pt>
          <cx:pt idx="34">1089882.3199999998</cx:pt>
          <cx:pt idx="35">269013.03999999998</cx:pt>
          <cx:pt idx="36">32080.139999999999</cx:pt>
          <cx:pt idx="37">699.31000000000006</cx:pt>
          <cx:pt idx="38">16855.029999999999</cx:pt>
          <cx:pt idx="39">420051.95000000001</cx:pt>
          <cx:pt idx="40">423415.67999999999</cx:pt>
          <cx:pt idx="41">276218.72999999998</cx:pt>
          <cx:pt idx="42">2618570.6800000002</cx:pt>
          <cx:pt idx="43">94678.470000000001</cx:pt>
          <cx:pt idx="44">147.28999999999999</cx:pt>
          <cx:pt idx="45">200643.57000000001</cx:pt>
          <cx:pt idx="46">228094.13</cx:pt>
          <cx:pt idx="47">1605289.29</cx:pt>
          <cx:pt idx="48">175315.66</cx:pt>
          <cx:pt idx="49">892273.85000000009</cx:pt>
          <cx:pt idx="50">203471.28</cx:pt>
          <cx:pt idx="51">502961.48000000004</cx:pt>
          <cx:pt idx="52">1013967.52</cx:pt>
          <cx:pt idx="53">117705.7</cx:pt>
          <cx:pt idx="54">273324.70000000001</cx:pt>
          <cx:pt idx="55">578986.91999999993</cx:pt>
          <cx:pt idx="56">558042.55999999994</cx:pt>
          <cx:pt idx="57">72.859999999999999</cx:pt>
          <cx:pt idx="58">348528.33999999997</cx:pt>
          <cx:pt idx="59">176297.76000000001</cx:pt>
          <cx:pt idx="60">3077</cx:pt>
          <cx:pt idx="61">18257.459999999999</cx:pt>
          <cx:pt idx="62">9776.6599999999999</cx:pt>
          <cx:pt idx="63">470107.32999999996</cx:pt>
          <cx:pt idx="64">1463.5200000000002</cx:pt>
          <cx:pt idx="65">95580.290000000008</cx:pt>
          <cx:pt idx="66">14943.879999999999</cx:pt>
        </cx:lvl>
      </cx:numDim>
    </cx:data>
  </cx:chartData>
  <cx:chart>
    <cx:plotArea>
      <cx:plotAreaRegion>
        <cx:series layoutId="regionMap" uniqueId="{C551826A-CEC3-A34A-A058-BE37016D9514}">
          <cx:tx>
            <cx:txData>
              <cx:f>'Compiled by County'!$B$1</cx:f>
              <cx:v>Waste Amount (in Tons)</cx:v>
            </cx:txData>
          </cx:tx>
          <cx:dataId val="0"/>
          <cx:layoutPr>
            <cx:geography cultureLanguage="en-US" cultureRegion="US" attribution="Powered by Bing">
              <cx:geoCache provider="{E9337A44-BEBE-4D9F-B70C-5C5E7DAFC167}">
                <cx:binary>7HvJktzGsuWvyLhulGIerj29RQDIzMqai8XisIGVyCIQAAKBKTB9fXuSokRSlO5Tr7qtrxkXlUQC
ASDc/bifc/K/3i//el8/P/U/La5uhn+9X355UYxj+6+ffx7eF8/uaThz9n3vB/9xPHvv3c/+40f7
/vnnD/3TbJv8Z4Iw+/l98dSPz8uL//4vuFr+7JOn8SltRjuud+G5X++fh1CPw98e/YuDPz1/uszD
2j7/8uLpg7NNYoext+9H8uK3Y+cffnmBEaIcM/bip5+/vtBv37h+cnD2lX1yNkqePjz/+Mznp2H8
5UWk0BnGUhKNlUTwF9YvfpqfvxxSkjKCJOaUEkTxi58a34/FLy8IP9NSM6IJY1pzOO/FT4MPvx3C
VDKppSIYwWHy+3u69fWa++b3N/Pb55+a4G69bcbhlxfixU/t52+dnpNzRDDFTElFhaSUMVinff90
D1sBX8b/iwlGytGKbt93V8hvl3PpX9kif1swe/7V2/nBSkTB6/tqLcUUJ5LCekhRxZhA8Ca+Xqtf
+znMuBhgrXY0yGc6DqOeTDbSc0HnyQzd6tKeOGt6mV14u9T7wMoqKXP7OLT01eSVcbiZUlw0lRk1
etmuXZNWmb6ptvYCR2SOZdHf2lK9kh7dyLz4GOwcDC2VM6KJbLwtuk2Ql5VZhdv5itsd08sNHztu
IileZkNdm4qXg5mc0Hcjza8i1d4gTgtT62KXuWIz1Ja7aOCvNjGlvhoms5T9HheqNtssb3TRtXHR
ZotZS5eZGa6zq2bxsq+GawJ3YrAfLlFVVEYSdxhRZ7ZqjptpesvnER7d9ZdbTyqTif6i3qr6IMYN
GZflr8uc7Kmu8v3gZm0YL69EHxrjIhHiPvMvB6KkaXh+Mav5KMbG7ubKc0MdfAmrNlW4PfZVtmsU
euC4/rUc/RERd06bbDePkzWKVR8EKdZ4XchubMchHVpxl8/RceTtIdDiMqDq16lr1H6cOUonPW2x
6/N01vpDzSU3oVeNKbG/91N4HrpuM9XSH92Er2nBrglhu9Hb+2lzt0LxAx55l4pxPrZoSu3IUNzZ
iaS2DWNKNHpVVXVplkjcDRNWhui3GeHNjk7ty6bLtRFld+z6cjLriN6gcn4eC5XWzj/1jH6oNn3E
3fXQG7n2aZDVW+SHq7WRbxQmR5TRl7Idy7jNxnTlyMZSLfupxQax9paFcB8GF+JN2ldFNu9Uxt/0
OURtNCBv3NrVSTbZ+yrbXnZR+WvO8mCKsnwkvTjvlJ8TJdmx3bLCqFUd5p686l3+yArv9rRcRiPW
dd2NQtDUyqI4MMnQncxKto9GXZmFRJdzxytTlouqr4J2tRkV/7jKyCWumq8GxGU8eOkhSFz3K3ZR
Eau16nfT6PnVNDRPmgZqfJWZppLLx62lRVxUrjUNyw88svqCcQmRI6LLIYTXnWw+VC1jF77ZYjtm
uWk3dJyDECjp+IaUCU0REjJIm6g6Q2kWBWHWWbg3g+D3UT9oEwr/XGB6kw+B7HOsiWGhbo9F7Scj
o/xmI6Q05RI1HzfLyjgvhuwt0zVtYovQoZ6rWLZ+vu+aPvblEiMnut4IzuWHkWpXXjk/kSQqmyCS
TpTRfEFw35P7snf1saw8ax/klC+JFVmNL3Et5WuoRMG4Rg/oosp6Vsc5I0683Qo/vvPVNsTLtlWb
KUVBVVzTKdUS3vPUjyie5rrboUIVsWDreh6wKy+Hvnq95eGWiMmZceBvs2V9U4/8OprJzo9LtnOz
ux5nPO0LO5CEubDERcbfbkPfxNRbGa/WZTHFWXTerdHLcQhRHDlnPhXanz9j4W+V9nONf+/btbd5
8RsY/v7xvx+8g3//dTrnj/88oekfn/bP/gRkw/df+uYcWOa3dU8Y/M2HPwHy10j5Pz34j/CY/y0e
70P98c9IfDrnCxLzM4SlEohhwrUUHLDwCxLzM4alFkry3yGYorNTM3ICK0EoYgLg6gsE6zM4W2E4
pJUmXKp/AsGY0W+AkTMtKCFSKCThT8D70/GvQBhFbTtl0zofkMriShfJxLGPkQrbUYm5SSo+lxcU
R93Hjtf9Te582BeNb+NSuAfq9HWUcfZ62aqK3vKwvRlKWu2Gshh2opalKQqpd8HN7+hY3yxy0geW
N0dSKWpsv627gYQxzua2NKpxa5zJYkx8g27bwHxaz1OUoLBWu6gSbby01Rajun5FRenjNq/QNUB0
aaraP/ugHlqeIyNZ/pJzvqQE6wuxFLd4K2YzrlVrhpk+IN5pQ5jvAJeXx8XPv8qiaXd+akIc9a0+
bH2E4y7fOhNqgC7mOYvr/hjVWWsqRIo0bP2Vd93LUq5NzBtZxoLkKRrEErNufhdaexX1YWeb7Fhw
9C4fxKtK9s/Utu2j7errLuTJOEE9yrviDpfi/VDrKc4W0ply6p7lFF12WTnFjWzneBk3uZ/mbTGZ
rK99Wx9aDaDhN5dugdlYFLU1fC7SgUfczDm5WZ1PeY1kSnz7QNyYp31H3iOr3naY7kg4wcIkVsOi
zsfMRjd6W1Km1oe5sx/4EnmTz/oq6uxRjeUzI9GaCLuFtNJLFy9SlfEUyu5umKe5fK4yqbmxOevs
9UjX/IC7qDBN0+9zsrHVrJGupOm7Rt+6mraNIS0uUqgpTaKjWh3WCeAUhcCtyawtnSmaUQWj7Di/
AeRJi1q3T/+pUJ8mBgrt819PDKb381P/4c9F6nTalyKFzqAKUC6Q1BhhLmAu+VKk0JmC1oRwrrim
X1UqIs4opBPV0FwrrRmGmvelUsEcwYXkCqoKZtDu/6NKxdC3heo0LSAhoYDB+EG0ON3c14Uql3lX
aYfH/Ta6SSTNCZKXAfvyavWt+qBZOV3z4MOujlRUp4trjhUrn7tN7/GCRW2Qs1t7GDta3fEwnjNa
lRygPvNJ7VwVV9C8GUoUdNfZbcQd1cZDBzyYhecLOq97TM4VLDo9TRnObGm2DUGDPHJZHzPRzmNS
ZS3iMRv7lj00Oc/jtW3f4caW5+JTd/CpUWi4ro74U/vQfmol/hPen8JbAQT+dXi/HH86+qIZ/hzf
p/O+xDc+I5hoKhjCMHJipf6Ib3wmNKIac4ZOk+Jp/P5tHD5hMScQ21hoDUF+Cv4vEQ5YDGMDUUoz
BAMzwPSXRuSbVglohB8Mqaflv5pRAYoVIwDCAgMUa8U5jORfRzhft7bWiOQHXY/58rYQ03TbOuwM
nsm6n3y45p2YElw2dQLYtJfDnBuhlDBZF9IwuZttDbt2C1fKkbd1Rw9rSy5qu23GMZZQNzyW3KVz
gElPbO7oNH1Fme8PRdTLOMvGIpUCcW86659X5i71moUdQpF1cYOzpjBjkGu82VPRr7Gv7llVUjOj
DJu2ttZg1yR+7ROW0RDTqtZmg+H3rWvbGmDDTuUJVccKnijK2uHShTnThg7FvMcwbYm0DH2UmyFA
V5xoMeI3q510ivuyv+I9tMcwrMk2VEeEC2EoKtY01GK5snU+va/mYbgXVb3s6kWRi6XM12s58frG
iU3G3q0o9m0+H+bZ5bcbRwyZCdqDx7CgYd+5Ouxg2hevMNb013VqpBmtH6npmnziMNeifeGivSq9
f0VXoRKJnL/hUAbC5T9P4KsvLNX3/fE3TfSP++z/e1voU8X+6ww+bz7Yp+anezs993/O4tO5X7IY
nQHWEI4gWb+k6jcoBd2xRkoA5iDosr+QWvIMum9BNZcEMAQg648slmcwySENHbU6VQVI8H+QxfS7
hppDny8VFkIzuAuONSz0dRZrB0Ncrsm2R9Q/q6rOqSmhfDyGoWgvKzyy/AILn3Oje989z0TU9c61
1ZqgUeh3Ot/eRyO6nVhWx2Nt5wvI+3uHVja08dwgZpjIy2TLrT0fMxfuGuKbj7j279BCSb6bUey0
R0nhPI+SArW4NJ3POmiwAN1DKhY7xSUvNbqvIl4sD/88en8cl9+E7v97899pm/86eM1T9aOoPZ30
JWrJGQK6lAARCewutFYQFl+ilpwxrjnDQMMqhCB4fo9awB5onwjQUYA9TAAK/R61cAhADChYhYHR
JFLSfxK1QN5+Dz4SEA5B8FINaSDwd+CTZbYocbe5QzkyWe+nXgN7VshuR5uOpXXe+vxQdkjWO9Y0
TZR26+g+RGs+iRRR1sYdid5GKANgys/LbkqatpXxUmc0biexY7jBMWmJhWEBHcosirtiiLvW7acx
vAWepDBhIZAow/kykpu82+7qVb7T2RCXc/1YWnIcYTatWws0anAX45jHQK5eOKgCMdNlmkvcpUNP
jxHvLut1PWwuIqZYmzGmurvidrkm8/AWFUCztDw86jZ/OROUIGs/qCg/0MZdA4udDLqZkpU/RMN8
URdZPNNprya5s7R/F0J+W5Ty1iPgNXlzESSwrvPIgGPqgZFS5XO9oas60Nm4LatMbZvHBbVXfYmi
eO0RDIgeCWB4h2sU1HC1DVMsF1Ttszmju056Zrq8zZOlrxuTFYiaZWMfgbuBaQ2xbJ+HooilrONq
5vDdAO1CsxtaEi0Hauuxv8LDc8ZXuKmlhb74LqdbhNMhHyPznyz/PEMBYPxNlvfP049nKDjtS56j
M5AXNBA9kO2fm8UvaY7ONGALAJME7PpMAX0BJ3UGExehIIXAcAN38keaE8AtQhBHCPL/HysuWMKd
fd1jntAJChA0shoKCtzpd5qL1UXZ18WE930/3/Ouny/6DNq7PKDbheD3SPjsnUPtmuA28tFdAbx7
b4oWI3WI+izz8eSmak4psd7uclVB11fQQt9wN44VDKEjukAFrdKG6NGwJopZDtpJN4oDKkl77AY6
vuwQBl2ly2bDVvGq77G4ztexs2kO4+mvVuLtRvtCn5c1NLexzPFCE51Hkp27eijKpM+qXsUTMCaZ
GYZWV4ctKuvxIYjGXhS8PjI/XkQEOrwKFW/qvEslUblpZpSbCVpws7Hlaqr781DUN7h/t0IGq36P
nGEkHflgqD4uIs7HKe5lcbPS+3qRZhuOwuKX2s17lne7PBMvdUGTxrlkneZDw5tk6Ig0uIJ2uByH
mG1dEwsNRFTYrZXfCU8Ty6JdsQ6vslYdcNgu8zr0QLjIKzb7GyTwwxDyZy3snWq3e+/qw0zDo5/y
x6WBq1K1Ao80A0kv6D6TcjSbL/ZRw+OVsXtWNOkYLNBk+Bj1CpqG8MhO+N9w9RRKTYHRGmOsutpk
pX2lh+iRZPC0HHU3xRY6M0f4tY2yzmjeWxOdxCbZbrHYlueuzNNy5jeOLakcoN2X4jIvspcKyw9e
rXFZUhiwlQpxrrq7jMr3hZrv1KZhDMDvemXPy2GNZ1Q/r0BtFTk6n/vsda39ENe829vG3Urqn4aO
3Xd1eTVG6RiVr0WvU9kW7zReZ5NvVZ8Ewc5ltF0jNsTe1+nE1jsX8dqwrYUWB0990jSFiptirKKL
hi0LTps+hI/Cd2+hZ/Ig+axh7zVa+pd5zpipP7dW/ymQn6dwmFn/ukC+fAZR29fPf+7fT7PuHxVS
QxEEJZZJLID4hmL3pUTiUycErTj8P1Ofae8/SqSC0gi9CTRRMIR9zTOpMwH9jIJDWHymrf5J/36S
t78ukdBRARWgJIzhlPFTj/VtA+827f3SSLnX8xruprFZC6Ojij123fqwVcKbsRM5TvlaxJbMUYAY
bUHqc1N93tUj4LtPBemTDJFE+eWVdUXcQojmtDM25O+desKVOHaleDWQMuYt3yMQj9mAYj1VS1wr
ECBHkdDQJVPnYh2OvMxeLzI7J5OL12a4KyQqYqKaQ6deoxyUJub8rfYY6G9p4xmSIZ69jmvUJQ7q
XbfoO1f5veP+HrqBiwLZ61nA1QuZjHOVRDBTeydTGy0Xyq4mL7qD5G1KsU9oPacrKZOyledkhZ6N
BlDIZeIcgS4HmbatPqxamXbs04Xz5rzNh8gU4ye6nJcJ6xq+XzvSJVuAYQbyt64dWDCY3QVQaFm3
3EXFEpPNXlaqhHFGpjpqgXNuHzB1MH9PUDag3PLoyvcuxvMCkxOy75CdTB5te+9CUs+baUCH5uRX
Z9ld6z3MPzrpQp0EFl3acojV6A50ru+6XO5mQW9cyS8RtFlad0m0ADqA6p0uE2iruo8eLQCdtSDb
61clXm5YRu58AReLghHDet54ZzI0mM75XTmAUq1Y2Ds27LVefwXB9JZsINd21QSlt4uL8q0j+t3S
lyaaQloImQ4EQ7gwQ4CTNFNRv+/qLuVjlQRdvnG8hNuiO9aChCfDs0VjzHsCKrrb2zy7BqUPZErZ
37XLdiFrfphLG9NOmmJzifdbWmu2azh9RZb8ts7rtAUhYV33DezoFrDpVwVVOUoYGZKuFeeSv4tw
k4D3wXBxlePSFsnA2Hqe1XzXzWin9UiThc5XvADBsJ+mpNTZdVnnh9mqu6EckqnKL8ptSrL+1gWb
BBztJfEJ1tHNKt4uliU1AYZ1FJdj9pZOc5sMOCQAIIdG6KME2TmTr0kxCGOF3AVBk433F22J03UE
bwSFSSLzpurIbiMHMjVmJh86VZiuvdNDaSxklzh1MZu7bsqD2x7RogHSIUrFIwddq4ywsXR5buuL
aqPHwA9j+zJsr9n8NoOmYNWHiPC4rd73ku5XCtrvRpO+fpQ27Lq1iuG96NmZmWnTTtRU+mGbynPs
6yvcFfuh5YeMlodVXVEdzudqusvIcuU53JKY+T6L3EXB5NH3IRHYfSwZ2g1qjAvfXlIPo0q/1gYP
a0LKV+OIpZFofbsuLTFTnj+tfNu189QmbRjO+XS1kWPdbmmH0ZHD3WppaSyHD2sDZWahQwpbOxma
kQdpH1Q7pA2bjsKT0bSQsfi0hXGeFyQuyYVnQ226QSRRlXd9LGnrrzr8GntlHxWZyN1/UPEzKsKw
/NeoePtUu5/M89P74ge4CGf+gYvgwvpEH8EYrvnJkfUFF0/qC2AckoBMn3nm33ktAWYtQCsgtzB0
xyBq/s4QnKQZ8HcpTSmYvBR4vP4JQ/CJff7OrQU3pwBgORZAkZ/0ma+E4igaalngbNyjrmwBDlSz
j0Cffl0NFX3TdkPZna9rcJPR6hlGo5O9RaHQJlSV6I3vlwYAc3ML0MXFu24W6TpUkJ7rB8T6/NJG
EHypc6gs9/UKom9NlzcNJVUbSxLphIQIkhmMc68bupKgoIPVtjiqtuqWj/Mqm+tKT1F0m8/tNCel
UzVKQ0aX7WO+Evs+67A7etnF/jTTO1DEj+sn9WYDFhkUZPlJ12nBEnc+f1J7SIbA91I06Jh9UoIy
0IQIaEOoa6EOneSi/x9T45v4xoj+LeG7q31vPzz94JyvEwJGX5gtwQkIRoevEkKegW1BwByLQRX8
RpCk+OyUPkxTuAF0knL+SAh2xgkV0EOCkCiIAGr2HzSKf1JrBOUgRkI6UPBQIAwP+3U+5POCNtX6
cCAk5GNcgzjpYkYKfckC1YORvG8uKxHABqqLSSVflZAfiEUnFvnbbISMJ6AZgRwKzjrQVr9Zfagr
0fQeD/s2bz5qqzJD8VQatmw6/fuVvntO0F1PK0HbDXyBkFCCvl2py/LQSpgT92ufP1SYghWw3rIa
jGhMGL5W4FlEIlKggeLiM88EVPCPFbHvOvHPSwP9eXKHQiCw7x5yzG1HshL0GZCd3majul1kdw9M
2Mdajr/C+xX/5qV+2rM/vVVOgFMlsLuCf7enUEKGxdow7GHPm/tA+2uyZjRZm2KK6bQ9owysT7Ze
knxtVRqYsvE05H2C5PZvHv1PPM3prXMBziAChltEvqu2NowTL6Z12M/KjwmCeduwArwbkfV5zIvy
499v8mmm+dODQ0rBCKU4kid70tfBLHRZ5WAZg01e+2WftzgDmlUVn7Wtv9zPH75fDGkDkQSvl31y
6X6FIeWAc49ZO+wpV32spgXsRk2pY5Gp6HweaB/nEwtJBB7HdM5yF5cTBil/ii62DQxAf//MgIx/
emaY8YAHghwCWv67zYbhjm/FUMHNTCNKCzAY7IZ+u1qnNY9zh6O4HVyzL+RIwMwY0L9JK/yjDFYE
vBacgv2KfR9rYz5lhDao36+YFb+2sj8ZePp8vBks5tBrCi9E7ANcwESrjmBOEF3NE1S2FUxenSyq
eI7W+WoqaJ4ZMo4Bxzznw4e/f0s/uE0NVjSYvSUUYiW+y0Fb4qHtetntxy1zHxld5d3WFK43kUD/
R2tBeCCwVlJY8LsobJt2G1vFuj0ntr8Da7rY+RXc2GU/Ao783oH9z8qnAqUdTHdISjDGf7dSEcGY
yxuwnosl63eBbVPKhk6nY8btv9noHxQxcBYo0GhArZQQ+t+mFtmyvPQBHspSlCfZ2LQvXd6RlKBh
M2hxoOj5Yv035eOHuwY8BhNYgPdGf/d8eY4a0EuAWVsJnmLHl9mAvYokPSLDv1kKOtM/J5LGAMPw
qwHw8kPF+vYJVcV8yDcML5P1MKqDv3jsY1uweUu4y5o6Fj1YUsVcjTXQB9Mc7bqxD0u6LZK6O6c4
JJel+abPs2GtH0k71UXSN5UKSVvXwpox64onPwMFUFHFh11e1HlphgZbMJvBI8EAJLxSiZ74jHcz
RXS94FGh93bt5ZZ61hdgt6sK/CAC2XBSs4WTXYndIlKq24K80TO27lmUYPYA/zFBorhYip5mSW+r
vng11B6v53UDbTv4a7FjaQTK6tFtyxLth1BNwzV3TVBXbAxrdicGDMoMfI5m8OX2Q7WYwHTVJE01
sfxKyYbLJHDqy13gXf1yirTIjn0T+QPuqyYza96T3ujCPrpBUGYWcEOW5zKf8zZWwfsKCGW75qlr
16a/LCcmBXgBdTvX+2GYdZUsE1+XxE9rhi4cGJrQDbAHLUlax4vGTFYp8iSHrF+NzMYl3hTYQF62
HNrwvR+Hcr2dMzm9bCzrwaEedVreI+9UnoZ1ysM5VcWy69Si4QcMTS5aw9p82+JhKPW+6QGi0jpr
BviZRURgtO8Grl6VRVeDHOg8jQcG+oMpW5ianQp3uAcmaOLt66wl9Rswb6H7sRGzyVy5HKK1rFPa
6ZtQr7umG3YgSTb34DoEIr/I02pr7J6wak4qXbldHqYjBS8rKI3DE7g5mOGBZEkoF7pzlH5gNJrT
qQEWa2C93IthRqlmVuyZ3rypgTczZaPziwGol1/l2M0JCyvw53J62jrBDxMMFGZaVsNt/YiQSEUk
uluuXZ9i1Njbis5bHJDFF8rVxRWdYT86WVoz2Oxx2Sjf8wjfWVu0oEwu2XmmWRUvZRWgqRgkEH+M
J8MgtzuwsZx3IxuN3VbwV27VTYXBfTmz/lgtC0lgdunSZQRPTFlkU1zJyl3MtEgs7Oxtptg9mPKX
FM+q2G1bv8VrNIYkIyvZb+D+u8/yun3XqAFdNoVUCWgvIlnQ2H8UEUgW0QhkgwpVvZfe8/O+1puR
TbacU2TJ+bBKlfbLdCR42Vne4l3F1zegNXRvGpsBbche2rC+4UvWpDPSs+lD9ga8/jnoHJVT51OQ
zW6Kugwonuih0io7Dhm1ici9SlHJItiHEy9Y6i0pirG9t3003XY5CBpDWAAX6XA5rpk09bJZMJg2
8EuPuT0oOtqDHZw7NE5NH9kwBrPaeZuqpJrsuK1x8F2zUQ8aD+rzLPVWjw+VV6ByEAie1w7m5yWR
naQVgCkUiTIP89sW3v11N0OUlWvWGFXhcxTyNY38CIIO3tQF/OHTBRIizTjh63Cp1jkHpXktejl0
ZiUZA4Z1G0j/NgIDLipzIBsjAve8lxHx7xe5Ve0BzFIkJA4oK/hBiQcn+WUUiRGszVL1uanXiUfH
zFvgHDPf2UPfw5syYwVGsE256aHA5XJL6pI8ZK6p7Plcij7l/5u9L2vOE9fa/UXqYtAAlwfe2fOc
+IaykxiQAAFiEPz685DsfHFeJ3b1d3nOvuiurk5sISQtrbWegTBvzkEdCzY6B4U4so22B6gDnGfu
JMgn0dar12J2ipMa9/mXzgQpXy8iL0DuLPdPrTX8hg4qeQnTAIQu3JfoVtbJ4KzmKbB3KGrKl7Zu
eRVNpXEfKytaFOo1uwgrr/6ch9W4MpmZth0ylttgovLzYPB7JlLYte685jBrUsS5rejeo755AEHF
J5E02bzpBjRugSyGzacMiNKXpqZqoyxpPonGy3eyTbpi79tObfLJMQ9MQ72FKn4cVxwFe7fqoXso
osIjLFYOVauUcxZLJFz7HtqWlQDZYE2yLmw3CnVTuStrvRDM8nS4By6ZzuuA5VD9hOmY5LF2aBPG
JerQfV1lxbIHyXhIQ5ndOGVWROjF9t7G4HWS+yqkmKKowaQ/AQcaj8rVcD94th/P0iRJL/KgCVba
qecz3QXBKc0ofqtf51vq5Pxm6Dw2R0h6mgOvs+xCjgYUUlTB63HQ7CJtcVTXaD/Pm7m3ajNqS8ut
ECK9KIp6EMAZMnaBQ9TgUGF1OfObgypDegGlT/3cDml7RecWMGOO951LNW3nqZq2QYaXSlo6nRBs
zauatfUzWyrMuOJzPaxUI/Mt3my+Y7bEryW9vXRb2hwAL4an82Dq526q209Dhvc6C9F80W7aQlzW
Z3itTVUmhzTV07YPO/M1HA27ADhKxmjQYXphc5bXyHfLcvo6S58GFjfw6NMi8kc3mU5dXMv1agxl
GpMsaJoorTJZIUL1CVrw2nFva3diFznTyV3Ns/Scgwb8yFOuVl2fzVnkkRng6RAgX2W9763TLmgO
4GMkq5T0w0lbYvI0FPYuIBJxMU3ynV/jp2sH0qE+bPgcZQGES1EFTOuC+k2xh5IN8rouHJVc5WoE
1b/s8BeSAUhImo5Ft5IzegPRjHN+roLKPEwTm14CMZivIqUMbMup2LuAQbDL+6zuo1p67AZQ0XAP
9LoXwG/wkAVz1HXQtfWTLzN+Q8IZ4G1djQCleVm5kaFV+6loZnsZcNPfO7VV1/my3F6bBKdMusl1
QwFLuYpMm1AIx4uQZGQXwJrc20Bm06WTkunFmXW+JZayKvLbILn2Skn3jZNVp5BG4jeCB32N6sDe
oTtpvs7jQMlhbnOTrUmZTS+iTvsqTvoMPXrCXEBhFScjsG+iofOiElScOCc8AUKNkitCH7uZ9uUw
8Axzx06aSdMi9HKKnYaYlV0USmo3Lt1ZXxJfOm00TAXW2jFBNkCtqYMqDk33ogOCmmlwShk35di8
EC3de5rW42oYjfuND7LvYxw9ANJdMb9oT9YtxBoVGvqtZP03DyIXhjUT2Pt1jdfCcZObrTMqFwgA
Ut7b2SvIddg5iGaCD99sDXC7S6p63Tdefd4NU/3ZyqS5crsgvUh4k2+7sA8g+w18AN5Z2K6nAOe7
Imn30OR55Vy1JDCI8VqVbK8njZcX+OIMNXGyqfukRRBD73VbpR1gtibxg8cZSMF5UtbpdiiKYUd5
iaXBtXnqt1T1ERNpfslBDtzUFTV3LcQ8UTtnL12q8b9MXdcQC9b+MwtTBkSpmOOaTnrl+RbilcHn
WxfvK3IYoysFrXIddX45Xbtlay+RhIzQ7Mnk3itSiGCIvulCejYIhETrODlqmbZdjYCszhv0f5w+
Gw6yrFsMq/iFM5bueSZKxA1/zrfWycmZ5aS+qCaW3PDE0/vQAg5F0C3nyK1AF2nQHd+zvDsM01Ss
cpzNMycd29MqFdUhzaopQqqPFDD0xmis06eQZc1eicpeKz34X4eCHprccRHSAvzLN8264i5kQx09
sVbSB+TbTjQ5Vj+HY3ehQ91tMkm8fZNoYUFIQ0I6SD09BHZMr50qGzfC1juui2YVjiRPo7zRu2Cc
nyDQKj+rUsyAajRekkegbJQcFU4spolmsVTK7BUBg2tIiHOhSlpvoHVkJ2XS2xUtvPIK/yHWiEHk
tm8I2MxjmF73BoP0LBGXvRNWIGb4kNCIhD6FecjvuemKXZ6LeyudctsPaYY8EKlcVOaTjnQ+Zmd5
gMaNhlAh8Wf3OXOgHh0C4mw7z51XQd77q3HAYTR11kUjRKrrdJr4CZIL+iApA0Jo9QbHCQFYS1Sn
KW/CbViE4cugeu/B1tQ9D8tw5qu0pLd1ZiVwOYCNDLELUzPFvcuEuJoGrBIbjG02Anlh1HZQ6abW
1t/mihQelFtdft5IbIO8KlIwTWxVI6zVwNlpCazW1rKNCZpd4dx5cS84Enqayic5WXVIx2rXKZBE
IgZoV0/SXs2O99DlpNzgKIKoN0skagwKsET05yVlyV2hAOdaOmwUQqCM6qDLrwOnnVeq9IMTM+WI
Xk62BnVIRcpvQXOpmdZxNoZuNFfFDGBDD2ecQQGKHI0oHDheHerUyotC+hkI83IucO7aCmVpQSSO
UarH4QxSLcC5HuVb8IQrXDlW48aaa3RPemDtl2HiN6eTZRJVnRhyFfWtVIdwzJ1rBg1vK4XdJUMX
D4FRZwVW+cRUo0DU10U00bEDpcl0p+j7ToCl5c61JPwEVWuEOuep1VC0lRmbwbLkoPwK0GKiYQCp
3k603WtPPLsz/5aAhPyIjLV4LEypEbQMuQOmTDb+0KfrTvTl1cSRsRRT66qIht0cpzbJaqRDdjd4
5ZAfiK9HuhqEY8ROKNfFHUO5viBjqkC6moS+QKdIO5EXyFSDg1QgCGmXyceylNWV1wTlFc/RR47y
CQFUZmP3tTCe81xBRfi1SRyQGTyCX9jUzD+wVuqbCZKM8VOLjAfrlqPIKTNe4JYg3N8XdYAbJbT1
Z9yW6J3NheuBlYSG5F4nuXeL/BiVqSozekiVNV/Bi+i+mt6giWAAX70oWqGrYOYueXSMdJ9V1uKm
13Syl6axyaOnoMWOaZKTMIbI2nwlrCZl5M1DKNazYtVN0VgEBpPZUW8ESGR6Q8MRHY3eZtgeGdAr
G+mq0DcZ7xXIDCkod6AM42fC2hbtSshQsRWtHGwjoF1gBQwGT7mWzIHwAKAYZkU9i0FlTitzks+s
Q93oVIObxWM95ukGySt+80wCq/d0RPtxldFwIlsyLSlAB0A6Ad+2DE9l5tBqxdsSSWuRcKwSgbyD
x4Xtk8ehHbIsSvs8hPwwZeWL1/cYtW/8yV2N1A8ff7xMNhBI0H0gmiDnGgcwCCh8VkeoJzQ8AyCE
8htuVIxeEF49LCGqG+bmXrUtcol2D5+ROYlKWbWrXXSBLryGWXfTsZmdTG2nb6BABQ6Y0tnl8Qgq
e4pzzNAPaWtHyRMDQuKwLSegk2fh0A0vA0dvNOo9VmdnnLjZrZoGb1v1VfVQuqG4UiJskrgGOnk7
ZrWZdhZt+OQCinELMGdw8IzIyvHUkHBi8fhkK7LpR82KGGuCs4vefwZVpE/xFgfS4e/PlWe+5qhe
FjEmMuLJDOYbaCey2IZ92wDACMtcbh2Ve+D3ODg/0YjlnHcV+n+HMTcEXEXdIaNjGa3l3uEtmigt
sBW5qHFYi6MO7Bc/S3B/xWXvgF5cBX1Vgjhj5+IiG3z4FywpZCEqYP0FgKg7Vzreuim0c+Cmandj
2ftXZRrY0yRT+f0MXezd6NHhg7b629YjDTyQ0kFmB44AUPT3bmAD7SycGWy3HXtvWIup5GssdrGa
RF7u/m0XF0NBKQVgnIIvdtybbn3AA27Jui1FE2lbeO64qInAWwrc5gNo6E+zAsgH8RgUIpz6Rw3V
2bWqBsmy2xbWIpvx52bVgvEad1b0+/dn9RaXoIGPOQGXAFzJvsvEXoEkFox4VTC8wDCHPGqYvCsw
GPmLhegxrRIZC40quUkSFdcO1R+s3lsgaBkcgMiCr6KdeTTPzmZJ4tddtyUa8B7aCtm6cmnzARD0
9m0y6Ns9ga4490B7PhrFoJ9ghibpty062C1Q0yUwMNuIYS3rErv6/Tf6tgXPwMUOkB26HrbJcQue
NYPnZ27Xb9OJd1Gm2m+AhV6CFDQutyhPeCLrD5rib18j8zzQBYBZuhS61SP4DgdMjoEPqbxEah1X
SVhgsUK9fn9ey2v6HbXDKOCDgFcOejh43b8fNdonbqUa1W/9fJgin5DTlJiLCTpeJOgl+2BOf3qL
r0c7WjSoKtMmZUUPPcToog+VR+lQglaE4BxpNJOiVqnn9yfoAeJ/M8MA5BYGI4QQG/IIWpgyxYNx
xLGD4g+lt6bFPeiOyZ7rOdj1OgVjrrkWAxhtTYHSlHdOcECasOvTVm+HPhzW6PSgBzmK+ou1PtlP
HBwuL+maG7CuItwZaeyqZv4gMC1s1OPn9h0qHJezQHhvdlxgUu7pDscIIhWKvImM0MFby4Y1Ib4T
5Qbt3HrxavHx9tZeYemjMwt72btBfS662Y/TOg3RtPfTD87CYkLx9tEQn5cTzvDP8uevwosMC65m
VnRbC72nl2RslbcgYDYB79amSc2dzX0ZOyMPi5Uu5upgK9memgTX7Kq03YCCu4oUBe2umSoH13md
rBK4+kSVl04nae8BNMeVvoexkF41Q9etRnBJY0A+4X0/5uS+G8DIC/28iVtKxAbuVMA20XdY9+hP
dqo1IKIXfQwoLoxswUCdU3f9GJhzRSc/mvxZbVofLMORLEWcmHdNDvh9okh8bVIkp9CFOg+kbYat
rBSJoYh5UeDwdwEECqFI1a7jWXeB31xt3t+tbw8IygqwXnDqIeMVxziYNSnrYaOERTfZOVE96MGB
s3dze9vPCXoGfen+6yOJERmCNYPpzhJvfl/LEH34IJxVt4U0Y+8a6LTc9EtY0dPWryjcPPin92f4
Nm4HTCDaoOMYhiDlHIU1k4YDKri+Qze8qCNvoOMehY6/Drx2Wr0/1NttGoCzxgG1hYBP37Cw054N
Ej1P3ILBwE40ady9HnvxwQv84yiUQ2IT+L6Pd/j7CyxRf5dgQOO64y36TI0Iya5v0uDy/cm4b+MY
ZhO4bgAeEwDSY7Bf5QTJax2aLQQJegXejtxwW6YrJGZAJBIjkFJg4zvCTw9t8NB66VZTlX8Ulvw3
Z3+xb+BgA8L1zYVA9vfpNo2mcz4Is6W2EOuxCYtNMspug1oyBymYznTvVjZEX0J/K/QorlUnx23K
nOGsnEGcZUonH6zAW72sh2cKIXyEbteDYOkoHgUTdtHEwLmRaMjXqA8D9owL9VJQU8H2zPmqi8E+
QNWbfTFt3KHvEUvtZSvlL0hmajYA0vWq5VREY+6CpSuAQcQZBtyispYxlan7bapcSJ4ScQN4Z80c
qVechA91INudOzDnFG3LYjdr/SQG54ZPGCilbh/XY2jYBwH47aUNZg8YFRR3A0ibx7QTWA0IBfYi
ROeyeKiSrRhksSKzk8FugvkfZAjeH1cc4lCYBS3uBsf5XEoJQSfFN2gp9tXeadk6dPoRBUvXnCem
7heGef25YAiURUOmC9jXTDHPIV0Ig0qvRFV8K1w7oIdtV/MMexs0zGCUBvr0VPVAg7qc7ViajYdq
Ks6J032Uuv15Aui1gsQKOcZ3n8LX11XitmE5BSO2bDZdp62oUYrR9C7DHRHXAFdXiXGheRa8Qz7Q
locpm5+CXNyalof7vk6S2AbtsM4cHV7pWejbgM7fZpZUB6DY4QZ9xGmFLj7BTdwVmzaHf94HZ385
VL9nacsG/zWDoxgzdgCWAX6AW0VkekhmdII6ZquVJM6qy1tcoT38eKR09iCDD2jO0f+NK9ffJNe/
6bL/3zQeCHBR/w85aPES+81L8+apfTJ6IRD98Of85cG5/NxPLirk2wsfkLsBXLl+2GX+JGd7/+Am
xPliEHELbFCs70/RkvgHBw/tFRx4NJjgLvCLiwreNjhf1AG1TywuAf+KnE3f3C+oMjwHlQBuZVjj
HPOZqmnO0VAO6ZZ2yUaoDgKBiiWF/ZSHzHyZgoTM61wNFU4+2gDDpzAZWHrro0m+8kMA/VPqqdte
BytANjpbt8Ym7tqhMz8jaI9uKuMP0GiAECkiNbjYrRVJTlJ4cW24kvNOK1pHcpbF49iWZF076Sc2
e3bXB0lPoxQSzeeM2XoGwc3hJxUAQYSX8nNOMp9FVoBzIwgsJbeEWQr2hxMoqJ7astqlyv32fXH/
4xR3+ePg/f/oUMdx0fx9l5/CoeDtDl9+5ucOd//xAXKCLoZqy/OpH/ySH7gwcsLFHMKK7scW/7XD
w39gHreo8kD8YihFX+3wAL8QRrbYkzgE38me/4JtDSXf72EUsjwfj4Y4iqIH98Bi4PHbRTAqwCFJ
DVIXcwwksG02JdHiELLOS02cmMl+Xs9Jp/2TsnCK9KTjgOo2KjRIJeYu7jlR2H8023hpxQtoZkwu
dlljbqc0fJl97zIjwqycmraxG5oNkHinWmdhB3yrG0486HP8zkWXOvNd1D/ORkDKU/CmWiW4CtfA
M+qV8vhOoFW0SsP8tOlYFQ+gbkLhBR1zMBS3UGidN654cSFhCoQ+lzN0zAbut416oEV2mALAw5n9
4kzJBh1TwAgSafwk0MmX6YYGFVynfLstLbtG0xeMGjOcywEMc+DCqxnWItBZuV8kgd8o9x8yOZ91
bADUOgFmmyn4orDBmuYmj+Fq8zWz2V6jqaRNcKVJCsZ6wR7QGLnsRh884+TgeA2uowEI6BROKNZq
9IJKfvD7gK/aEZCt7LtP7TDvbFVe0OwFbaoJrgReBcZE8ag7dSkpvyNT9TA2jG7gH9hEzJ3b2PLi
LO2wEjW3d5Vb8Js6BFiewQYi9nP+teXmwvdhj9nKEHQHmYHZFE5zxHBlrosmzbfj1D6qiQPiRMAB
tqPkoUwAxARuOp5lIMJFXjvsHNDw4KPnPiloAWLYN8BNQlRffAsakqM5JNRrr5egTw0ZrMSKYWsq
DJostrhVbnjsjXmzpqK7Nx6gXKdu/Ae/B4ah4c65cyoGaoglftSNBV8IGnngn0DcmO+Nmed5XfeZ
l8EaNqxkHJS5etEATeEaIWGeQco1A6/2cvIHb/rEC1eNByr7Rq+GbhzXXAV58SPR/m/gWyLV3wNf
/FRkuq/exr7lx37GPvoP/OsYxE0OyNhgsqIG+Xm7s+UKD1DRo15a4iL+6D+3OxxYOAxb0FjEBe7h
Gv+fy33xZkFJA97093bxvzMUQnw7jnwcjFWUjgLpO+TRAgO9jnydnTIH/FG7M5UHCRMU+QT2BPOY
bQY799jp47lXI4+c+mkzZmUQc5NdD21yCXL7fvLsXTuSK2XFZ6+EYCFIxc6fq8dS1teDzXnUZZD8
di1sQ1gwM3Cjphp+1eClE9mAOuwUEGqyLJ5Z5UeGZMVe1e4WAu8GDYBmh9oC7POKneRug2pClhnw
aL5VIW3Wo0r3cOiEubaLhjwg3JOac7DfQLECsx9mYOBpVOu2Ga9TGmBmcr5xXdAvVdNsZnCdIsMn
HVcNA1ltGsEfDSXdwOs6npz5aztUxWYGM1V0LV3BF7cCHjfLFdBNOP65qf+1A+vSh49LGhYGOmgw
n92RAjIe4RKdu2BY9vIGFN3PVdgDTQZPDnbFD6PKURhpubZA506g48brhLNlNHpw847gDNYcqJvv
kr6EFniGZaUJ3Be8bLV2ww6Wx3N1XgAPA4erviz1iDZV+2UMoD8FC5iAB+z3s92MXpmFa0MFPK2d
uwqg3+SyU2H1FlaDE+IjfIsDcE28invQEWdPcDxVPcTNxElvqJyq/ArONiEWdnHh7BdDznGx5vxv
qvRdr7lowv4eMaKn6Q/RAj/yM1osIQEWgvDIp+gZIbt5HS3gmA8NDXRnaP4fWznBDBPuLwBWOAp/
pF5G/3DVD/+B1z5cX/BbkUuhx/5vdGlH8BE6jygDHNQiCEEQbH1n67/q705BCz6FsdOuCW+kRNtx
AsEQJf/kJzeZ1LD/27H67tUL+k9O/drJH6q7P8QovjSVPciWHBYsfYhXo45Q/RgYo9ld9t34FZTA
rbd4wfaLK2wjrMnPUyMEi7o0I3capyO/8ghY/zeeKhcAoc5gzKtgdtSfpG7rN2iSazWUYAmHLWzY
ywBMow5AvgEPGta3qGbAfwgyApt4bW4dAnaQnYHJi0Wc2SX+5x4Z4h7c0bsS4GssS7S3dasQj0S5
AYkDnt50g0ypiJnfqtXIRC4PnBkY3fgVbAo2tiC93iUt4/U6y6Y9MMV1kdGnsnHKl6Fs6DmHf3sZ
l40kEVrf+Ukw9V3USTHvC545156B7b0sF2PvOpX5uijSdk28bowILfS2rWDeX7jmpWD00nEJ6P7N
HZ375zDQ+8HtgzVJFUSzC4cuXHpdNggugqZEHtLXD5XO+13LqnEHrug3h6X+dgBp3k+RORo/3RHp
JaeBO9Rw8hr1CaP8nCLjaQxSOgaG3NQGdxzEq9bpNFjYk7upO6dcJcJHE2RwoKUASzpqk9AFl6hq
Hkw6bEETvIJuB6ySAMbLvoiGFhNmFL27sW3Jl1wEeTQWmq/Q+fKf6748F4jahocxoic4db7TwVLZ
93okkbnR4GYA8Zb4NgIo7p06BOFlXVXmjPauSP+b/UAPDiu5pX/491j2fwrIzvs/9DaWH/sZz75b
08Gdzl/kST9cE39mP+htwPE3gIIIMlOsGn7qZ28DQQuQI7S5kM4d6WzDxdEcEc1FXwQwKKrMf1H5
we3uOLYs7XlY3IEE4y1m5UvEexVbpMyHApbQ+Q42GthOM4Xp6fwIDObChUkvQ360BrUILqgVbtY2
FFHppxANjg9CyF2dNM9+mp6rInuAq+8mULicJwn+g0nB9ur8HSglZ26QPCCbeUyCEIZWpDgQT61a
QWNpnEeP4PMDY36KNsap15rTvpoP1LF93BjylJDgnlfgJ6YCDegiu27hnxGVC88szafyzsxgFcPe
e9BO7JpqD3MOJ4waOGcYUNP5uYVxuaX4UETG850Bt3U9+nC780XyRflOAuabP8C7Iu1XFYB5aBpC
g4otjMmYX4DCBwqtCkGz4qhMM1dA9EAxcmPAosvHfRHYmIGoxV2LyhCVY1BX96DOpJHbo08kvBsQ
6SxaQNXGQ/Talm0VRNh2KkqpsgeBHkykE5Gs506Up00b7qEIOXMYiYBuT1EWDvmuaMm1IAO+fgLm
9AqqDIAcY8Yi6oZfhUBZZ1xkSXUHilCBL2ysRG1Poep96NCEjYDYD1HnZC6uJ91Gbd2QFawCDkkT
xC7K5z77ghI5AM6IqAiOEdCSrhmKuIVnu18056oZ1269GGCF+TcOWcekdRMpEoLMl5QgbBdrkast
2JURaKOH1svibpwJct76Xlb0s5gHd92i9vUVBAQaH4SwhaNRhA542qr/DBwfZedEb6RLbgsJPotp
Du0Ic5sRUR+6kI229jZowC/izUZOLp5vyD9x0V/2pb0IE5AMwXcOQBgbLvu58aJCW9wHRQ4fFl5s
6zn7xKfiGQfwGvTXvVvIZlUPMnaFTSNJsZ10eGLcnoPi3F4EeK5t1k0nSY01TKY0B8U9v1AdVEIo
53cGgoWI1vymTeqHUhfLRyvGnSwcMJ6dkcSzO4JG7DzBo3rXz+I0dObTzqZwjM/CZ5DLX/CYaWTB
/o2VFiwOqwbuY6CT90rfEqft3duu7uG7VfUiewG7t4cjjxc+zamLGgKNCnD18FWKF4uanuFkksK5
cY0Ly5TazKd9i7q8pCqLxp7spHXWnrJn4OutuVYPvrBbqK338NfftKk4hTAhbuD71Xos2+aYga7y
VUj7NfOHzezI0zJILgfcUrHjQglXpjvFxL3ooZyYxEVbFNeidZE/qAk9Tw2KcVhcT0VQrE0F5ZaY
zb1ByhLDfgBIJnRhpXKf0h5+w/Apxvc9ptvUhz1jSV9qtELD3FymLLtlCgzAPDhxFHtIDdz4J7mZ
W2cPuQCIs6H8763149ZakMe/31r4zEvbm7dJ+PJTvy4t+HFTMPMArIBu9rufqoBPNaKXQCqKHPy3
S8uBCgtya8jPYRNM0UT8mYTDRWxJS4BuCx88LzC8/sWldQTyoVnpgeoM5S34TeCuLE/3+sqyNYc/
SqjkDgzDPXK+czN1e9W2cTGNm1ev5o+599vrcQF0kXpjtMWn4fexeA65ZK6l3FF9iYQ0coDTwmhp
vkaQiGp61vanOXtAqrghQfhjg/5d0b/k9a/ArR8T/TX4sSuMML6hxs3lznpZlNsa7NXzpvkWZLAh
A1Wy4RwfdjqH0G1NiqcmuFb8P2fkr4+AQuzdJ1gqk1fZgcLAA5i9sF+as2vSFLdjl+7ef8VLg+W9
SWJDvR7Ch87E6Ukqd1DwrciIiY5NxP3LrvTxvZHL9wdbtsZ7gx1VUr3xeTlBsLxDknOOO+4EOs37
JlUX7w/z59cWgKVKcQxwIn6fU9q7LuSdmBMV+oojpOo+PH9/iO/srLdT+TXG0SnAJxQKyDohp0px
AyRMgvb9KMJbkl55+aUDT3gH7dYy4VHv7NDE+2BvfjTD5Yy+2hieyGAGZEi+qyCjIVOyoyz49sEM
/7z9f83wqDVnfV8PtcBbdDoo0ILidIbwLwKhcO1rcsNJ94QO1grV/xXvyKqAxV89JkCZ+yJ+/0n+
FHBAjwPUiD4lPEyPdg3Ylqi0LQR61J+RAiTVOUnRtWqMfgYt+fH9wY7pbd9PPfhGfPkWIFhAx1gM
jMZhd0qRkft+hwQRagCCz+XNDuTFcu2C+FS52VlJdKz9IgbzZgXRauwh77XBy/uP8ofaAKXGryc5
WuSxgpK7F32+m0OoQWaxfG0L7bUpVhk+ihPO2yJzPjigbxosC03l1ZBHa16NKoDfHYbMGyQhFTyk
UQoY1FVRzYmMIHlf2Tk7wcdH1u/P9U9r/Hrg5V282tBEqrb3Ewzc1C99CP0WSHC5/uqp5oOTc0xX
Ol7fY/oqvvM4pJNFcu8VuzSjMUCu0nuA+dcOAlgoKcMIiXXIHhS6zu/P8U+h9tUc+VE0B1u4tq3A
zqLNUw+YL2xuICmJtfqcdR+N9adI+3qso7Ae5l2mswaz5OOz03+ekgtL/Q/O5UdjHIVZlftM4Wzm
YN9DPzbg/DtPjXA/2BkfjXJ0CtLUoi05YBRI07vhkswA8By5en9pXGRbb26m1+/raOPje5WtRFc8
34k22IHivGnD+d6G+qrCJ/hK1kOcNsa+qCBw687eH/uDM7d4xr7e+g5MWX9M0A9gQA/zjsF34x7d
/sbA3UCQZ78297Dw+fz+sN95E8c32Kspi+WVvDpyuZMLSGOwHfvM7M2A/pZX+bEnEdEUrPFTf+XA
+z4f4L5pjPsEpSJMsGUPIBKRoPL8ywTuHQp/9YPnetNu/T0GiaNj4guvnDOJpVDplWkejbsvlBd3
/MvIG5gD5RHy2x3J2pUPsPr9sT+IuMeUSXxwkJE6XWIDf2jMl7C4mgCFtOxhaF78pPng/HwQ8/CV
g98WAA7dk8FHMLEAClJZHrXu09D76+TDmPenbOHVSgdHKy2C2RrWYqAMDYwOvYyoC+xHEeejwLpY
2r3eT40dhS2WVlaenQWLcZgHFhuaOMoDElWgBfySkUtnOvOqT++v2gcHKDiKdciLYRZlMTBaVNHY
3JHkQqdTNEID21T9drD4jo+3e3/M71Kfd07PMSigdY0joDEoT5zLBkzKBLyKEWJ+xp+5AmEPtsfo
sqOpjNH7/rZG3gQ/nzNTOluf2n0V+LEi3RnNYQLLhkMAOJ9WChao/MIjyd4PIL1K0ZDmyRnkMZGE
BPl/s9tRFC5m0D7MhY5iXgYJnHSXmNfk45nV4qaFaYMqvSnCp5zWxOQxqbqv77+3D+7A49QcFgba
g+AUqvTSbt2Jb8qyjufUv8AXImD9oU/eH+4vmxIVM2oBuG47R3fURPzK9RvM0ZP4Hgfh8GvCxx+7
Yo2/Drp/McZQ06qIzfguJACPWpkPwuyfD/mvBzh6yXyYHBiWYJ/U4hnettuG4hW7MZf/l73zaI4b
ydboL0IHvNkChfJk0UqUNgiSouC9x69/B+rpZqnIqYp+s+2IWUxMD/tWJtLcvOZ8F47Nz69JC/kF
muXI2p8cJopfKgFxVwLJxpNg0F+7lvKX85P5+bd7N3Eyl4bEYzQfGUpev4wpcsfB5FbpTUsrbFk2
Fw7HS+OZ//nR7RSprd6wB8K1WNNBWQOH0e/aMl2cH9IlK/PXO7JSSmFuxSVWhMICkAPqckJqxbqw
Bj59LCJV/vfHOVkE/gAS0FMqBpPd9IlsTyTGxRtN9JejcCM0xNS73URYoUlv/PH1/BDnr/LxoHq3
feJZazpuhJwwRDnXtp2Q3LThdOG9/V+8p3cb8wl9NI25ArBFpq9zLelvFk34Y3LjoTGjbUTzRS6H
hUdcoRzuzg/swrc7deQB9DZGAlZgrTQlhQQ0huo7Tb5wt/yXA+TvoZ067X4pW36hYgUc13agFYSq
8wdZMw9GrPP1wm1UazuabimWkBA+5US9sBE+P0Def8DJ7daOfR0m80UjjUv4iFxnoev131OAkufn
85Ih5fePqCWKEpGLwQX2ipXu03Gk3/slTQaX8JCfniMKNcOUEKENNQs/Ha8WFJXkKOqYUiv3dlbm
L4LKuiYp9OIP1Zc4Kdzz4/p0nbybO20kUsZSz9J5j2uB6GQpzdv8gI1G0/SF+/Tzcb3fpyc7raLA
VMlrDLWeuPTEdleYo22K1t6CjoHc04X1f8ncyTQmOdHeen5O5kJLJ/xe0Ck81Ba4YfZYfz0/hxds
ne61EMFd3Z9P4zF/86Mby38xzbfOkqA6XLD0+Vny7pV82HA8MYxqJp5N6g8thxA33kQZ+sHtiAbx
SDdETeA3WEvR2/khfr5M/v56czr4eFVSlTBBa2L5D+hYVckDrSxOgATQeSufXwUqFXm8TvDJT/t1
rTSGr1RyVOr+wWqot4xXJoVubdTbrbELA4DHt/Kw6LRsXacP541/ehUc2Z6n4OiYFuBFiKKJbSXo
74Yyuav6cnXexKcL5cjEyYUK3UlQagMTo5Rci2N9T7hoE4Talpr3e6uqLrydPz+ej+zNv+doSH47
UTwXcpbkWr8wm+46G+9LaddXL2JnkizfS1q997w7E+zs+ZF+elweWT7Z7UMSJaqgzMC6btf2SPuQ
kLREO6IQ7ryhTxfmkaGTfa7DoosmH0MAqZ1s8tyWyFQVXfhw87/lg5vwbuVUoFUWytFoPCaSCqyr
OhI5mEntG1Ag6JXvKgtKMSriZnDJdZi31Tm78z8/+oDkXYfO0LFriD8US3UlyaJlL98Mk76qCmWb
eeOL5A1LEQxdSXdf3ECy/J8m+NR1HlNAf2rABCsDpQTeNZxEAr+XXiKfRpiOJnjenEcD1aQyNinY
CNcdAgGZhVZe1jyO4bRP6W0H8UPFpU5DX4b7WVz4tp+fqUe2T3Yl3KBBH1p2JTAnrvVtpgKXHSny
pLwCdKoNispttSXzvD4/tZ9vkjkdKaPASD3h74MWOrREMwAW6zQFF8Z1IbxV4yEvp+V5O78YFR+X
0buhk9ml/rSn8p5lVLvxNSrDy2RZXwn2y93rXra/EX1wckewfXs/LiyHaKUt2f7WcigZtmEYbMU1
tb0+8vG+bV2Ygs+37/svOzl0fUtg0ucTMamj22IMr5XU3/u1+Xh+Bj49eFHR41qB4SHO3S/Hyyuu
9LLsfSbAzG789HUMv3v9A9wsR5Q35y1J80f7MNdHpk7O3MnvQB9S5LgOq2WavFLeC8HFzf17Q+gd
UY/tCEpLX0qO0BXLYAKha/mL87/h0mhPDt+kMhufhhI2U/jYD6tQ31XN9cjibi6di/O/6dxgT07f
bDLRlo7YtnLX0CUGkSy+MaM99eP2ILZORpXI+aF9ul7eZ/c0LJt1dNcPMQazEVJf1JFozqoHCYGP
/83OSbgOxe/eCLp5YG26mWRkpWt/2fnypRv6wgSexlTHpPaEoWb9BzGwJA/h3qjdWSKXS+5DmfYO
ZTAsBOUxMqwF07ILpJwbDo5pqKA71sQ7tUdcNPXJdhkXpuDT0+loqk8Ojaq06swXWcgyAH6lfQgB
ZUW6SDvTJZD4pUk4OQRyDEDSZhIMK0SX9QAD0pY8dQHA3VYQ3wqbS9fNpWV0ch6oqSJo8ohFP39N
qlWpP6m9htBD4E7So5L/qCn9Hbt7i0JBcaLB51polzHUyvOL7NK4T46KVpooFo9x5hsE33z9QR6R
l1hLxStihT1NHuetXfiep3FuwJ/e2BWMuUie0xmpmN01PexphOvOG7owrNNQd1DKSVX9WtNidm2M
FXw2z3QqOta8qFr6KoFEmcbP80Y/9dDmTttZCpAs+HwsHzkQ3gRQSUgZnSg9EJ+tCAWY25pCa8Ha
K9Eu/Hre3OdOw5G9091RyXVfWhlOg7+vyy+Z9A3JMwlxPzpcrP7ehFySX7D5+by+D/Fk0dIXk7QC
9J21ou5bs6LqLgFaWC8Gudp1HuzU1/NjvGTvZHkaVVz0+XwGZgiu6WINUVVbZgVCcPJco7n0hksV
PZ8/WN5n9Ve389FXhJ+H0mCLSepKF3UUu0bUbgZZW0zhdNdZCJR29DFII6I7GTKI0s35EUvzkD7e
Z39PMf0Yv60i3bcCMWuZYt3qF5Rl3gmeRh2td5sqv9QfhwN+6UOD6I5aNodw5tf1ZrzKtfGQApdH
mPQKsuVGp4Powvr+fGoMyquR/JmlfE+uWs2MFaU3Eg4L7c0KfmjC90Lf6vLBGr960ZeGXSXQB6QO
X85Pyacz8m72FBzS4qFNAU2M62Z8E/IbuC+iXtthuEQG/MIQPz2Uj0yd3LkS1FnN75n8zoMTGZpu
qElXZpzenh/R5zUsR3ZOjwqfOueyZ0hWSGExYrXDrgLEOQBO7PVbUTyEyVOpf6WB3VX9azWkAzi7
cLdeGurJVg6LDHi6wsdUEmUr0y3CFVf0D+cHOh9BHxbz0ThP929DiMWKMGLm/mNJX0ohJRe83Uvj
mI+Qo/0K/cLwu4JT0ByKO68UKZk1XKRiLpi5NJKTtZ9Csi6A+JP07rtdEzVXpRpvz0/Wp4fd+2Rp
J1ngqmgGBRHQ2URqd3ECK4YWHkIleJjx91pdnzd3aTufcoECi3r5LGMRSvQq+p62L9nBaSV/DYZ0
yQFDGXaza/qcpATijd10qUJv3kxnFscvWNjRl/MCn6WnYV+D52TIeysG9fsAB74UV5Q+m8qz1zyb
pfs/DnteUEdmMyvxB8VnjxvmOgXspd1nCsViyA+Ys8berdVktlR+CUvvwhK6NOH6ya4fG7HLgLRy
kJVPLRKeyZNkoRn6jKKHbUjNIhGSRdwu2/jb+SFfOEBPKUc5jbZNI7KwIoUm0RTdAmQ5rDy9sZRx
NYrN//hh9ZMZLuQGZrfKDKcW7eZR/Q3SlgNFbVWMmmsqA9env6SM1Rljk5aI/O78cD9//75vpNOn
dpYkgpc1EKyAWFIvc1OHizEmZFQ/6dJ3EWXcSlhpE9pXS15ti1F/Pm9/PgrOrOsZvHK8wCjQUUHB
sq5lfddoyyR5GCokkIIvpTkC0Mzd2liet3jhcDplkUJtNVUPyuu66b7SK0IR+oV78WMb+FzzczSl
J8efQbVElHRMaTzehsXPTHjwiy9h8aRI25H0stehE6Rvk/R+9O8ztENE9eAHjy0oOlgJl54Rnx6U
JrLbFtQZerNO9lGuGGI5TfwYlDOdoSy/mGJEK1C30rtyCeTbHQfz/3NbHpmcv8DRoeHXot5o6byF
/GEZ0Hk4KbtJuJRK/NylPzJzsnOEWROm9TFTCtUVa9YFdQEvetwKerhr2bWa0K2tERGbMVmdX0Pz
ff9h1R6ZPvEHkPozWq9lUvs4XQXdTvefU+iVuTpcOIA/MUTnhDU37CK2TuHH71OJ56v5OUUDa6Hc
pPrXnqu02cjmhTNPlj+OB+7LTNZDVZCeixMzYSGMKZoquHLL/Fl6CvbtttgkB2up7ZtNs7O+q/fF
elpNP8v78mAuq8fxwgsfKvrHn0BTo47KPNp1lEaf/oRII3Iu5D4FV0NTrpMuWnZS81MY6RxEUjBw
867vOR/kp7A3rpPC30kWTWKzhhkq69WLlTFFpp48TGO37wdAL5IP6hRw/LfQnxKIkw16jH771FWz
ttDU3wp5Sz9r2HU7xQBVjqDOkupF8IwJcuP6gFxAlo1U97cjQUCRpgjI2q5ZFclKykReFEKMlIPy
M/CUnVVw64s0ST0XU5xtQwTfm17T7DEIUQczYhBmWr7sJnQ30k5vbWkU7wLEUFCAkAsI162wEHyk
zEt5gnczhHgTMvDBokILACqEljp1ZfaLPp8JN2h6WFV6RfXDMmtoPgb3Hhc6l2JEtUcnbmgBm4Uo
tWvLF1Cp6K6QBcxssbVuzTK+piSQx2B9G8vVJpX6r7WWreokrReZDl2vCXbJxGPIGodVLI43uSyu
et4pWVY9F0N+RS/9ugzahdFLz3Ph0ZjHyClFmmuAY6BFa1pPWkhRJfeYADansqybsBluYe8+ZnWy
bGjGc6o0uIJv+DMKEqjvNKS7TW+usy47QH1DXkr/os0K2Sbt5GDDeTNFawooV2aN0IDayhtVnJZm
irBCkG59aVZ4U5+N0hp3JFNco7V4X0nhApxQSfFzKHGx1fVySsODqVV7rzdiNyvr+8CyUrdGhcvX
TDdVxZWQojXjFw+6ErI0kg4ezUy5aM2NVwyPeRa8WpIh2PGQSLYqew9e4f+Iy/SxjZJZc6gTVmXX
fxtFbVpYA8omYtFuhC51gE1cB3oHOaN0LLn9nmndwg87+i57I+Xrobw8RdbBGsgFU8EDz1BehOK4
MhIaZZFVUBrf9UqVTTBe5SEz3WjPyMi+UmT5lufGIg7aTTYlV2bdX+lKe9OM0i5TqrdJGi3bMNPn
VgLSY+oIQeJhxDn1Wo2iOMMYoqpuraus3FdBe4uLs9NKGmyRYoHLuuwK3y1Vc9m1HdD7rr1W5Y5O
cKqWws3U0Iki6ihA9GbCIIJU+Kn3hJQ1wqMa/58crfa4mL7RcXyXxEFo57q5HQd6gktlFv87aMgT
1H76FGveN3jxyUauxGFjZfpeok9nlIHUivq9FOqHJifWZtIRX2XNeqjyfhOr7avXFst+zAO7GvUD
tPqdVUlfgtg7FJJ+LQ4DMNLqpmWnILhyFU/NTiPhp7T5sy5GiFaqCzlTryPd2ESev6Ol+nssq2sz
DpdTlyzgRth1ZTktzZpt8WDNajsRDY557N3S90qBmOGVtkGDjJj0B1Bz6wZidCXIjwgKb5GBt3vl
pRJDZIDiJ2i9Bzxo6CiTdC2o01VgGgP73nodNGmZDerSKukF1SppJcHwjgN/64dQSQxhgQ72tjO1
LRWNzkQzbsygg9q6VcR6XzSqq/mlY0rZl5ZMbdPNmoHRCr7XTQKVbSo80C6UNlfNhi4CN679bWaU
0BiMtYeGgI9OgaKzo0K9usvj5KqXhSc0sVAqMb6gp+gmeuL6ssFayR+rwXtrs2aRprPqYOXQTLIa
FdEdgHyVgb5Fhu1qMEbgBdabFForTqCb3EfTcjQ2SSM55uAhsISSgYb8FIp0ShxvrDr4bnTpUuja
Ze5Vqzzk32np2wH5m6li8IoB6ik7qBbHYkCAQch2nM5bIdV3SEE+JKHq0GW70Go0BBCoXGhqtfDJ
mOh6sc5941ZNu30mpQ9RqziTrF0BSHWRA9uVVbfR0FlUkuw6nKqrCFKyPGvZlt6eWlaKAJt1k1o7
GBT4RvF1QXSjbooKArl1WxTlbSwZi0BOV3mi2bJEo7hYXSFHdN+3lCEn0XhFY8SyHMQrqeoOUxk+
TfX0VRYJyhf1zg+l+6LMVjlR+UIIryVjfM49pjvTF/zt1qvllaEIey/Xn6PG/2n0ynpSxGXa1o5I
BiocoKqGyaJq09VUjMuqnXZJrP7wK28jsIVoczJsLROvwY8tRTNf17qJDMdwnybZa9nrdMRZow1D
yZVAZQga3br6sCgazdbVwG2ScIGW8UIvohuiiUtr8jeGMnEv1AVyUDnkTuA+YNOaXj3Uqb8NI1jt
KqIibbQKaP1N5NyR5eGOBid3yk3H0JslXDEXoO9BEt8ysdi0SFJmlb/zzOox9CFdRMqyFov7wK8X
tZkuamNg1/ZuIMR78uRQiFJ0XjppbSTlc5AxIpJxpd7rZOes+0EsXU/sEdTO232iJI+lFnyTo3LZ
o+Ttjarbtfld1qAZIg57nG231xG20/VlotI4PjaOXwVOnIlLy4cBF5lMbhGg7OeRxWndNBBfhEGh
Sr8YtlSDb7Wy2plS/wXNtoWYR3dBGC0gYTwJkbGeUIitR/N7E9Gxn3Le6cFBwK9DaEY61Eib2ZoX
vEKXq64jGcp4QQd36PENKcnbg59Dw7Tzr7O8R/7DClLHSyZxZ4i5uJBS7wpf9ybrrH41RJBHepEs
Et/JVORNoMfpJtO9RV1JTiga0S4NZWBsWWzrAVfTOD5lSLatEg1cAXCtfO8lrchNJtEN/jQqcnUb
gGP7TwT0X4zZTO//7y3RdvX842de/fjYFD3/3XtTNJxRERFvVMNBu885l3eSh0rJM1oZFloIKG/j
KL9zzCR2Jv8brA4wonPM5K+maOuPWe4C59kC4EOr3z8iE/3p8P/+wBEVFo+hQ8SXFWiTv787/F6q
JE7xaB3H5tdMN8OHDpU86Au+udbxztReN5YtvQheKR0CL4b00JjwrF0/bR/J1tl60XibzFeb5czF
AaxPZQZ9d0lkPAR6Py5TI+fZFEhwZUTxfmr7n+qQXSNM4IoIv5TBXTwrRwl5tyEPhrxmBMZxylFK
PSRQxv3AczLLdKZBfmyM8glezaomV98nRmfH4aq2EtvM8y1FRtyAFfEU1A6HgykiTmTt4qZeVWhv
GleDqC7E6p7ILpunXgSo6ASj4fhjvPJSeL/jt47jtC7uKUfnipVQmxztoqjZ58Fy7H4OXu8intMt
Iq+TwPGoiJ71BMamwhU77SHMCidK7oVmWIBlRlHowOm74M63gVYd8MCcWCMJ70/BIkPaqsHds7Om
5bD/ik6VowrPdR8tkQNdi8KzpQ6HUEbPwXopwRB3ebI0UT+lQd6OkmJZSsW96SW25HvrCj+VNlM7
84St1HwpOOmz8WkwCJp3/bLoykOVXUvmPkAlN6RlQfYVFHOS66b6kvv+yu+XedNuDUueZVGJT4CG
sxH0SyvFtEv9Te2lhZCqK16mrlzB6jBtSLZr3wwcpJPcOg0fG+QS60p2uYRXrW6QbRG31HjyDDHC
h3Hq9vEAz87TF+V86xDNN7zNQFDdQ/hNtspF6ZlriWVi9IM7qvVKEhFYgw2aBsZOKeWtVpg3FGMs
6No/dMUPI8WBTLY59wBnO18ocOqohY2ib1NddSTeTkqhsILSfdVVS0lQkM1ikYbZSzEU4FPU2o54
HjhZLaOhOyXrqoCaOaChJVg/2yH6yuK7qvTQreE7hYJ/3w0G5SI/O+Et1UwUPe4rxBEMq2BDLAtE
eis0vATf0fNNy3tPE24A/juTbmIzXrUmEXHE5+ApFfH3ycSZpNojEgnKNBtTOcBKQLoTQcDyodWu
QN84HbXaWQnIqnFKvDmEsJV2TYk4LUG3pUUzX7A165+hBkcAaVNpm2cPQX3I0r3SaDNYHV/2JrOM
RWRcozrNBF3VvD795DEuX8Qeysx0U6Ff1ZiHFGXqjoKq4oc+/ogJbPfmti1+eDwb5LBcmNI2wM3x
yet13beIxs8oQ4zZutbmVG7i+DqCmtnjoLptsUdWjStdJF792rMVvHqXppZTgo0BCGGLZeVoarJV
+d/6ARXmkJUor8vaVfBLM+gjgp6tOmXblOJCCNHbDQaAQJIbtZ3d6smiS9tNMgg3BXcnBQjRVwls
SdJYLrGMm0BrF50abipBW1ggZ2lIm+k2Y0kOCeBNqOeEOtNrv/jSzK9jKFhGt2hSwy3SrVg/j8FO
Lr1DXW17egjN7GpKC1sxwm3jP+uGttVawPaisQ7UZpfmX0HVrFS1t8tEcjXvNYpfpULZqemLINR4
pxa80+AqaXnuNW7oUSQuSvu+RpTRjG+CZNrDNbcziD0F5B50J8sd2zYTGgev/NGAhhr0yas+Q34Q
bv02mdEtHJhNUDZv08wA6oPe8bIytSkloqTeL10ZUNDY5RCDZPFek4QlsuSwm4EKDe1cYiRSOZb3
ayEfnR78UAGGKFWmFcUtewk9R4A2JKtVni658TRz0boZYNTL0qoscoccn2MEb2PKg14MnA6JVFA0
2bchBf+ofFU5fKeh+FJF6tfGl1Btzr7GUkjPxCtY6kOYqz9koEmW0VBgVcyRFP2W/odlkI67UEWm
d4weEKXfTqNoIwCwofDW1nzjTsmDFVp3i1+3879uypxx/u9uihM8VzRaNG+f+Cn84V9+ivQHKDHo
Acpc8Sj9woq9+ylABQhO4q2ov3Dqf/spsvEHwDNZg5aAUoSOj/Pup+h/QKFmg6FchUqXoZn/BN7y
i5hy5KZoM7gM4hmhS00ibniaFQtb0UQ5IpNXKJw02mMeWOFL4COv+LUS6/GLbvoUF3u1UKdOW4qU
QeRd6y2QwUsbJ/+FXe/0MocAHICa8thfGWFyEvq2iBDV3pi0lRXn00Lw0mkRmmjlrZMYppAp3whB
gXi16imrMs1fMr8CkKG3VBTLBNa4nguEduQ/yx3+Xapz3ciZpZp8xvmc/+ZolZrciajrzPVE1Ise
e9NkPmCkq/xDuDt/r9Ff5F8FkIgG/QdRgPlvfveliYP/B6Wn/ZM1+qvV4n2NmnNYHU8dGB5rdP4Z
J9mgJjJDtZQhDLEMDUQa0ftL/XrYiENw6+cx/NlJcvyp0Z/NJBZ2ctv0m9Y3PEfNvc7xA/Nb31n3
nSika01X+4VeVqNt1XWL06VPvi1aQbLUSvVn3xTNBtcwhcnYhnmj2FOXGYQoLOVF9Qf9sUqTdtkN
IhRIfQi+wGQChTHAO7gpCr9fFzhps4y44RCfSQ9WX47X6WDKO12rhmUkh8VjFcjFvd4i8kFsuXLg
uQm73FCXlP+8SbNbrxdsNQWJBSqy+2hyLWJzqhtMFAPYQ2Sk5bLM6WBd9KlZ9st0fh+gFthD+xSo
r3DDnhh9I6E/YKBA9YDMp/lnIv/fPTTXPp3ZQ3mShG/Vx8N+/rO/tpH4hwk70qTcmi10zOmS/uCI
t0hA8cT8Ha0t639oksEnMoHZovo8Xzp/bSPtD444ZB95jfJq5ab4J9vInPM/79sIuS6Z32VRKwir
ixepyFY+TipS3TvGteQPKyJeSfRI8VFYrb3IzOufU1YOX8eWt+RezsJoQ0jze+6jCwp5v1AfEq8Q
NdrTrdg3kJ3EVU5jBYB9WuRNtCkToXlgi1T7QcUjXfamFEf3RaqEN3msyAERV98O2mpIF6YwmSuo
+JqPjjSvPV/e5G2pfCnLVOh4eFGOtijMWa4e6IW5UMRQu+6NKgU3mQtp7+ieNL5qY5EfApCFDlS0
vnD9ZFKbtUK0ZivFYrVBh9C7Ldt4XNQlvmpZiMaqUMX+qptiaVmKSrFWswGVSRGONmHw7GESqVT3
4mk3daaygGLf7SpP6jO3GaNH3Re/WEZ91xTmnRbktJ2I8RJD9cYK9MEWejWBINt6jhElpTsqyooA
rbLpg+QqaKIHr0uetcCzR7N9qdWQ13mpvVXAcJdx57uiJ+4TwFXEwutrsFRh869z9h+sHsv77G5t
05fw+ZPtyt/9tV3lP9gJGsodM6T6z8vt3TeDkA8en0zqf5B77yGkGUw/y8KhijHfTe/71foDZ42Y
FCJINM4ZdLL+A64ert7vG5akAj9BUkxx1lc0EAf8fcOWQFkH3Y/TNVA2AJVyN/A4hHQ1NM1P4pIv
9YyzRDR638G3ZKeuI1V+HuFeljMAUylUNNq7AZRsSS9aUX/NO/O+mbGZIfzMZAZpthA1Wygd/GMe
N/Cjdmip1StTj26FjkD0qEo3mR7dNQrpqMLXbJ8koeoVyQJY+J3QVAiXqwYqxqnsmOoowMHM4UK3
4yybqCFZkeUO56Tte77gtLUGAL905k1p9kqySqzwrjWRWFTjZtug62MbYXs1Kin/Rdl3Vjzx3o9c
0yqbBSoe10MeyhQNEnFOQ9XOIlK5goGCcRf9EEr/4OUiSY5BWSWNR6YkMurHwotRWoaVb2uJIRGg
r6tbH+k11+sCfoSqhyvBiGun0Chw6CvZp5ijkHJGr42IBHTimxomTXWVKX52gziXRdiFlEALCodm
aEl5DnXvdgLLuGiM8CAPNWGuroTb21RuKatuAbmjz3j3QkIn9SqViFZP63YkBDhVtJDwVMvbcaX5
1j1JTdXxc31Z1vB+qMmtbTXInwcx+pGUZUxkjcKXNNYdqTTrlR9OsQ3H5bs6VC9kOFaK1V414laq
/KXRwV4LgjlMKD/4ofwma/Ja0FQ6uMWEPIk53U0JwQA11e97oVqpVhmtvCh5CHONynU5eSYC9toQ
AcC/X5RyeFdHke5WVbwr8NdtLU9XIqrb6HhN21EW9kZAaE4YzV0rsb08GreRoLNJVB7aJHz2Yl7D
cU3MZAoEf0F6n65dofuC3jFRkD5XXc8fvtZ4XolSZ+gvldqyVoZ7fySW2MtxvRwbWXVUqVibqRcv
aq151Pt2kYLzXfZhNjiWr6TUhjdOoOtPQ4RXBF55zkbtTDV4LccoIQQxQoMtCNm34ibp04Nc5IWN
pMJK9a110pdivjLFvvuhC2LRrUg1VHbdTPaQq+V1IYiAzsYhNL9UYgFHVayVxThm2iPqsN0qqYKn
CUbxovaq72i3bNByZIGp9JnGN7nHVoyTbFlMqmz3tXFbhI1uozZ6Qznia2zob4Jab8G33qOM8qWo
1UOTxrHdDdDfM4nih6QcD1LZ33ZT/aIhMdrUQrccxMa1yvzN1GeUDrTZxTDqteMDdrDR+lnGQULC
Bgczt9JZ0ipfTG0RrVshyPcmpNtfZ+u/LuEMTf3vl8zi7T5v8k+uGP7qryvm1/Mf2jgNjzoYlt+e
VZoB7QBZYwu5KQm37y/cOFJqKs2RvKgQaeEuIX/xl0c4xwXwFlFboRBthtj8kxtmtvG7R0joAdmW
Wc5NRjTSmivfjsrMIikwkskiDp1HuFwECXnfl38+9ks0qOxg6rwn0+uoMSnFW13Lw2I9qtQK7QKk
IlCiNeVpU7LydDiQGQ4PMlB5vhs7I531Q0xvcnUdcJb6K1zw75qjDB8VMdyAM2suHMK3T5Ycf/TX
kpP/QEWWgjfJ5Mnw+zNEgVaP6g9JM5j1+i/xn78W3ey70GNhgVrA4TB+z4zxvDcUUTTQ3ZuTZ/9o
0X1ofMYvmtU6dAkNNhhMJ6/5rNBKdCQG9CaM+rZt20ONKNfQkHuSh8FV5fLKNFJckHFbiurmaK5u
/nzsHIt3sN+OF/xsEHge+UJ2jqay8H9f8FKQSOQ/6hysJHkOBeTOlW8u/x82eO2RkMdT5T+/2wiR
XZXFrM/X+G7cptaqk1IH9e0/Hfv/ygL+dChHZk7yi8BmgzytMaNO3l0e1o+xCn01ii+MhnX0ccaO
zJz4oHQ4oDdadvm6kQQQ4aITCgMdbZYTRYFzfuI+1I3PH+fIFI718WmkeAXGZlOjqjmiX9sJFR5j
f1OWDx31POeNcYaeHdf8z4+OvjKWhWmgnImy/Oa7WtPrnfqZe97Gpbk7WW2G2qA5lzAglfq/vPKc
InU95VGSv56386FA+WTiTirAk7rvBUvBTi4Z12EcPKph7qoSCd3MWutNj5zl6F8oN5U/HRyhwjlo
geznacFr7ZeBBFU+nwtefzbL2jVX0lJ1tDWL3g6vLEdf+PZL4LwNTnKdPJNW2xa34+7Sz/h4mvDU
Qg1cVglcmuhO//4d2xDpdJnM+rrfeivZ7V78R/lmuMstu36qXNJS9k9rPRQ2DMJrsnT97fmpP7lB
OVAwrxuEVlDwFrnkfzePInzLNszztWXZSuqobraj0mrcF9+zx/OWPlYY/27qFD8+VkatNBWmVCQB
bXFrXsm3tWvYqCa65Sp1/Ktspxd250R3wir/1t2iSHRh03zcob+NVjmZbBMVsU5u+Alj+rNuW0Rt
yIjV3+XguSwudCd9XF6/mzo5d3S1yuVqNiX1VBVQmlc3utOQIoi9C8fOx5Pgd0snx06nKX5QFPMn
HPGd26fWeDj/5T52M8xfzkBbj4cWErmnDSqKnBh+X6fsT7d1ohsBhY9r5SulxcNd+DBcN4/mXbUM
NtZBdy+2GH48G363Pc/z0TmHRl2sJB62K3/R6oMjC+hjUDLilbdtaC3Jtl5YI/Kn8wlnXaT4RSal
cDKfwC3SvBnDfL2r9pNsK7Id1rbsSvZgv+VP7bJxzdd2X9nh62h7jun+pLbNubB6Pl6OjProN5yc
7pE8lVI9JPk6oyxB7zSnCB+EqV+c/7DyPJSjiOqfu//IzMkBPzaDWBlJxH64LRnMqr3uXUKP9sH2
9/CP22W9kLb9QnJlex0vs1Wy0i78hM8GSlpxjhHJxBx+dXgcfV7VrMpcH4VsbY6la1TTHQWkmyhM
L8znZ7vx2MzJxs9zVfPNwmcVBcGuySu3St/KUnDlS823l8Zzsu1rTaibWA5w0Gax5MAW6ydRv8AY
+ijgxn48Hs3J6hDAdvRjyqQ9HaIFB6dbO9byalik9oyEeU1Xq3H5PH0vKPv452cN2r6m9X/snUeT
4zi2hX8RJ0jQb+kkymZKaWvDSFMFWoDe/fp3WNOvS8nUiNGznln1dHQVBMJdXJz7nenhVkYgOvuO
fTFWkdSmbE1kptjAi8GORsvlhSX47SMaIl4TJi0biqf/fQG4XPM8kQTUU+psregHUD3spC68Uvun
XZk1MttYIhQ68Lgz2VrWj1q971qy0AtpqRuzsKZrG2QlVbRQjgx0iMLtsfcH4ksyDusS7kNt+Ux6
ycmHAFZzrwpEzMnwGdPRG1NjYZlNM+LLQp91dnZRzrNKgU0TfgqrXyTs0QB9LfT2amenGwPuYMgg
z8lIXKkzKWIYs7Q/4xYDWzmI05uFMft2fk/dgLXqdOtXdIgJvx4GspBkyDRrbD1A9a01HkteCH8t
UwH68KVz4Epx2dQYLo7IXAMmPA+NyiAORr0gbF1kP2OUvFbDIwTShzrpDxF0vjmkW306+MP4cXtX
vv4l/253Hie1uBa3cYh2h6K2zNjr1M6GGPl2I1e4CV96920ljwZlRi8zuKPKLtLcTiORQ1cTlE7o
GxWVzXgEcorykEu9XUKuyDWy0SLEoRCmdbQ9EQU6qYr+W9/wHy+FV+cp4gxklZA7+haUd5kYtb2G
vssJtzQBjtAI/m/3/HfPvq0Fk2CuEhnOn/NnxMYw+pYWA1sj53qIwOo5g5LWWj8efg6ypR50O1jD
oNHWjrH1iYc/wMy8z0fisMoyPp4P527h95BrkxqSXRk6cEgD4Cj3dVLnA/RYSteAj1haw+aFbHqH
uOo22aTHZB88FC/qqnPgnGWhVsxCJYVlrvINqjY8cqgWjskrnx9gVkwMQ8ObDab9158SyEPKkYdm
6wa0GRp9ZPrp9se/Nu0uW1BmyQUTmFRTL9ECvI9szY4dyGyd3jIjL3DuOiewUG3NffgAL8z3bwEA
uKSQhiCcMwFoVec4QAqJhCgHEdpFzxgJrHCy6kMIW9IlJMqV8fzSFPn6EdVOb1DTFDJwZ6P7hCqO
CR5mWOJ5qvRG0Fpvf9GljslfW8tzFRqlMGFrQXQ6ltoaXpkrHrp4NF5oiXy7qs6+4TR7LmI1AcYx
g9zEOER2mZue0wfNjqgNeo7gVh7kt8Qy/WLL7HQd/ij39cc/t0HCGJqoglUNHbHiJP+5bF9KVbGL
UrSvyzGsBUNb7RfSa98DYnQRYQdKIKDYQRZxNj1z0tM+LvoMfgzQZNtAx0NuY6yYEziBl+xcPOgB
gdtYkY9qy1XwAWSydR/YS+fcPLE9vZx++R2zURWzvkjaZsigtHfhlpn7lXVM7mvBhsZ6pViN07tx
BUm8FTzHVvv4j8O8WfOzkU6lAkpUBZ8hTXZlgEWC7MDtabvYw1lwlILVT/UaPazceofyH9tH8Yvh
Kc7uLXQDt1qb/rDmnuAvfdvfW8xs///ybWebHC4iRicYaDnCY4FbbaTYMmxE657a2LUP8/Ttu/kx
thZ0/bgKUcvXnNrt3XANzTG9wyyHqtgOc1daMWvw6tQSvdJCNtYy3KVA+AqaAfMAmWYCI2oDbvdT
rHCx5CDnautw7DAQZPeDb6bUlKite7t3mQvXZUdzbw/Ltb3rsr1ZUBxCRafp4KmsUauG13K8Uitg
AuL6+89ps187NhsEvS47DD8aUvDWWJrwQi2PXISvfPd0u0fTX/RttC++4Ox0DaFACPqqztZD6qMo
ytIkqLrvWbvRzA3M4hem9cL3m19nh1Fp5WZoszUv0kOXo5y6KnZRX27GqYa9+ksc8x/DpYXO/eYm
XUyPImAC3mnRXB9oHhuYo5sMSqNtB9YYB4I1yZZuTUsdnE1IebozRXKTrYO8glnnoK9FnmxZmRxw
KzyH6dKOfC0iwU0Q6jEJ9ApkKL8ugCDOoVAsq2wtobAh0Q9S3C3cKa6E23jZ/LuFb0MmhCaHn0wG
7rH2rArsQyS9y5FOuz0Pr4CyMeMhrdH06VVLnTsjd6XGCU3ybP3En0aHeaFTup0D4YUdWv9FsAPw
N8TXCCcnnMPXj8bg3YvCGjQVo5QHNYQ/u5buO4bSLOWf2y2KePP409RsfAahD0OZlhCmducYlbaR
D72cmMI1eGFlXRumi4bmV78M5rEpQP6YePyn3KEcoP6QlQUSz7XJdtnG7NTNa8TFrCvQmeA9Tvby
Imfxanxx2cLsYC16g1FQALJ1ZzeuiaxicY/Km9qqHlFLYusragMi4Uj2c+Pk1mPMbRQFGf/FHn/5
G2ZLuFDBuigqfEm18GN+P6J6zKjWQnSX0R+35/y12PSypdlpMtIxY4nMsrWehV6QZG7cy049yHuu
6guR29V44rKtWTwxUAFkgAi9EtZhY49ehSnyDP5Dv1VXsHXZcF/z4A28Uj4GB4ZAC1TY7yk5REyX
zc+WXMPoyKQcA1t66rHRneppcLVNsNG3sRft2TraQfHMrfjU+ardHsqNsLDml+bubCGKUcFoJaH/
sNeYtEbwIecLTVy7OV92cp4Zl7QqT4UObWzTh+wwwNQQ1d6OaZnW8Cs6aPfBij8qbrUKj9on6CXu
vXqnbYfdcFa8CPwSv/0FJON/cWW9+PC/oTIXR2DdaCVve/wmTnKrUu5itVro9tLYTiKYyyCsFcUg
BFM9W5M9xXAqPjvGxx5CfuAK/Pj+ft86ygq5XkKt8a7ZhpvIu72Ofr9FzoMYiDJlKB5Q20B+v2Ve
dJJnsaTWChbScB/vug0qUaWPzhXdH6PF7VVtPSNRZIdIBZ9+7g54qbR2EDFa+RbIFEvzopdwYQu5
ehW8/EGz1RYldBC0lCMu3UkoWIXfw16GGI7a9Ge5ZWsXTAXbOA3PiQeVWv/YQ4m59HA6bca3vsls
xbUGyihRcoZtzOJvULuRTe3IDy8A94zvuboSO/sjtQ7JK7HqPW6j3IYHIgz/VreHZhr7G79inqxL
hQlymGJuJPlnzF7gMtoZC7vo95fq33vL36M/T9XRGmW7CO6ydeMmW+GYbXqfnsKPyDq5NLD0X41H
V9JK29HNya0CC3q5ffLcylb6cruv8vX9/M8PIV8XgkYh5syFLFvXzt7rt+Yh2oTHco1T6mn02Tp/
Rr33eXhMVq/MypzmrnyLEltZdzt1H3iapzEHSkrgYH6OsfVkLizT6xvgnx83O7yDCKIdXcdX0uhD
VG10aBBvd/8/HN5/Wph+wcUqVMQolMXf44DDu3WC1Q/iohTy1f9oHHTxbYNKWUu0Wje2qu3Sqb04
C2ZLLsY+V9Me/Ws9VAOnqCa25C3dVHg9p1bp1u5j9xzvY7fwFO+grxq8Be9e3xrr6fZXuJrBu1j6
8xxhRItGKCl+B38jqRUf6X1k95veFdelo79C5r0Kn1M3sfTd7YavTz7k71BpAuHT/IHBkEFERIEr
Dnise6upCqfPFK8ZWWnBwXgJ9L3U2mys9WKArHFEL4GW2gtS6QwCXTdAi2bqwgF2fQf506/Z6UKj
rEspTadgXfRSldhanrva0uq4gtCdApQ/zUwdvpi8WtIQsyFopvTM6SAL7a2+7gHudRQngLL8Y3xS
F5L5V3sGZQsSKpqEwp3ZjO3TigW1GSMkkR5kegc5pW1GC21MYc23/feijdkpMIjlkIC/inEyYZGZ
E/m+blXgXOCgUFTE7w3FDuF0H1fywsY//fhbDc/irXJQNFgb4HvWZunirgWn5YNRr7koOXEuLcyR
q3vbn17O05Imyk6jLMCX1CX2DFPXwiJd+nh7fUlXp/xFI7P0Kq05iBMteqSNALIZsoKnISW18i5e
R+AbpR3zhRjYMAOo3VzoT5WhH7u8h+lk8BIVkY+599SDwXv7Zy39qtmZI0WSEDdT16NU407Pxq1q
Tni5TnTTkL3ebuxqvs28+AazQ6TLQ3GU+XTCeY3bFRbfY2fJ30E3cqHlY3aVu7J/u83vYwuJJbQe
qA+V8fLye1guFmY20EztDXQwVITcSsd826nCgmLg+0f82sZsJWrVIPAQsLx1wn4qKK3skMUEyIum
S6/AS52ZLcc4htOZQaJsjUJCm7avuWksnMLf193XrszWXYrSapOH+FxlNdhMGfyWCNsow+UOPLlC
XbjXLfTndxx8MThUEniQNKhgqhj4J0G5C4fm4fb4T5/k60bypUO/bx8XTZhNUms5wBQTsmWfEvOg
FJ2bJKguYgFK0TkgUsFCr642iZJnZXpHQTpq/g0lvTN5gunQBpteh+KRqivdjIHWedSrzKJLjoXf
BWQApYp/GpzvX4Ugq2Wgo0HaPXapVfqpY3RW8IrqIV9Zp6fgQ/TEXdFa/abxw4Xeonb12ie+aH62
s6lhyE2Q9TD9qWK4OkHxWAHIn6RFxarV5B8gE6kHLTMj0CaL2JKNkqNwGoxJpsZuG/HCGpkRr1JB
pStzgDEbj+RDiv9ZzAz2I02PZdQCFMPTtc7xAdWu2bcFgKW1yBERYuEfc1q9l7qOB9yBH9M+Hi2J
61sWVw880L0ImBO8tyqrJCkFOJT1AHpnodOCNL6K5PRlgFWGH5QoMTXoWFm8Th+axtCtskx/dmZ4
UkXcr1MSMCuXUNGWJM0WWgkfr1xg5qh5YZWRfAxMOXLgXnUwO/amtaHicByPngi+gg2n9IeM5SUy
ugbf1UGsWiatVkok+6jxezA6dE8jya5FnQXK1WEz3On6cywBSq0UnFkCRXFXHmYeqiVcUaIRHDWA
Zh0qSdr0TaGh3qd4VfVwpyVD5HUpXtEGGfTRQtOtoimobUoQTJXgQFuZ1mX2aCjIYMBWua3hREok
HgCEyUKrApfSAkfnM6RR4aLSBCy09IOS4EmNQrfFyJ3jAHvOxEyUOvGlSnofgBnRQbkZIJtdVrk8
MSFxi0lrVcl7pu2yEbROHtpE67dgxk4meyC94REQRa6k+IhR/JYLKHBtAz3FfpmDlNu6gZGFWCjk
XEuRbItm5Yu5VroQbvxEwVexhq74taQh/ORVckdK9C2X04eaxRJwP9K9kRDuGIX2DsAJezFCvEkH
NQhLfa6+R3XDnKqFg3RdNdN028KG7x6EnjVXxMlsba+ARolqf7tXmxIVh4qtR6WbpBhv1pwUMd9J
3egJ6ugbQeANivGUqpIrj5mbN92mHXRXitsNTp17Ja1dPTKtfohxylHc45rkwAHk03n+SHjmJFzd
wfPsoeWxw6vEluO+tXNTtUZlrC1eGk4JKBIr8tdc1w5lwx1xTHaCgKpokp9UwXSCKrbrevC6IF8n
AFZqnK4S0KxUtfEHTQL1Etz4opQcBcwDsdFe2jr3mlL3y6relIlx1rrYlRHsxEZz7rvG6uLoXoob
L++TXZLXniQLttADk5O1J2aKVpBGZ8YbVO5poBCAJY59bazSQwSTK1SGeLRmXiZD86tDiCxuU0Vb
MzVxIw78tlytGjo4uc6ORaE/N7r8qCvDgyFWP3oT6vfCWMVxdOAFYJp55+um6Yl1uxvhDVx2MbP0
tvUS4Gh7IH1QnO0mKoCUqTai4hRVbnIHNhVpijs8BPhhJdidEJ9ynr3DSe+UwwUwNPUHNea7VgvX
eiUcwSI5d6z0mwroRcxKEHzaj6FRXxhARpZQx1uJm+dOEiZiq88IAU9SC980gNJY1ABTlCMZD6JC
W+xRTg+WGAdVNthJYrtuWxScj9UJT+BYQbqlA7wT6uE+Z/FjWXXvDYUAJppgrwFAWJ25KjWYW8ny
nhlAXVVYiZCAncScbFOxYXYOnaxQiZNX62cft6suSLaJkO56jrt4r/lGHm97SUGIE750Y/ZTCpM7
IFIc/BlbSY01SXMQqVLk0eT8JAAt2ihFYTEhB2k4XQct3r2F8mcpdX5NYYEZ05dCkDamiaoEpj7X
sKYPMuRXqwYV/Zh/8DKTKtnXc0CkukB7DXXZ0SAgTHNttJNW2DTGz8Ls/c4cvTKO3qhBVmWNihoA
8fAvxJ1pJsRCvSRgb6DEKHiZxp4ki2STmvlRTCBPMRpPosopjMuD2uPBjQ4nQW/sRnuEYdyjqRO7
GIojgzdBzKMV4Ivnjoh2EQnumPio5M1z2wzNFd7AbRrTQ0/wcEIfg8gaRCcvR1RDq8RK6sAG+XOb
E6QWZU1bF7x8Ja0YWn2Rm1Zbx+BZNrkFh7WNFg6eYO7DoLBF7JFmn9lJ9ppBq6AO2AVK5VXHgs5b
stWj+K0iOmwqal8w9U2fFTaZwJZ99VTw8EXixjtMhLY1GLIqAQrYDB0R0DuewkC2wf/HU2YLpYkk
9LgqNA6LRzuuREtCuTM1qK2UsdvANFuQpa3cYffE0cBU7JIB1CkUKxVkMLzKWiRoD6qggHovHuuh
/Kknxqoe6KEBATRIUF1cYVeKsTXkmfHRRsOric+jBKMIahpKu/sRhXqkfe0TY6/WsvQQSDCaTGHq
/hLXveJUkmF1A6A+XMA/gRK/4yPSJUPo8CzweQK+GiTHGSAJWMMA0KVn3mNQchkqfZhZKqXflcKT
GgRPAYNKjid+hgt6a1T3JUnBbKmluzaPACcbZZD22KaUsWQ041Po4DpWMNNSlOgp1eVPXYJ7eIHT
GpMb1c9YUY6shGDGRrZQAxxuCkCXxuUGZkmOmCdbiQ5eL8TOmPX3rWzugHBxzUyGkye7B23ooEWm
XY61M2ohHFrNo4hCGb3XDl0iPI9B4TRV+Z6NyQYW0VYDTByO0J2Yie9hBm8tRpo9o/05RyNFXa9Q
7n0UhQTuTTiDM2nbgH8qM9HWSbpqOdu2MnOJOp5DARneyNjxMo5Bdsy3XGHbnuuHgSi7Woh2RGCA
/hZ+Uio/SUPXKljNSaiBepj4HSltQF/uCYDnINOCjoiDyMgER4+7J97GGxEccZCedxkjXp/UD5lE
PDHpX5miAtktPdQlDrikWNWBDj5c4VdGfQf2qt1DRWKNZWoLGRywYQSXtbCGi1JPM4WDkFaeKHti
2Dpigor3JF9F4Jh1mc4Q+QAlnIyfIUsexJBvFAhdzIAf2rj0AWeEsGnUt7xVEVKYWE+BZebvRJJ9
0gOCV+GoovgPR1NYSzXKhDBfcpIfxthwcxhucWQEqoFgI8VBbtSOqdQHGGT6gK3aYg3MuJ6vGzKA
YKv80gmKepieYWTC2mpk3csDeqYhu++H5DSa0TrAocUYfTbG8BM129uGhhs69r2HdbKHSHpHzeLB
GIyX39eS/5VEK7hR3ihPbdq39Ep5Kv7Q/5enSv9CtQJUkroJeJSOcuYvNdHTkzskRNCooRQQF5EL
6oahoVRaBglHAR7s75LoCUMF0qqJQhOI2qYS63/A3JBmrClURxgKDm2k+nRJJSKCc9yFLq6TwMzE
RdkMQDHWAjaIpClBKye4T2quUoXdipBMwP4tpOloEYMBYlxoWgUkc9OuZWOEn5CJMMIg5TnrwOum
GQ7iCiZf8AAQE+BMo5+1UB9xmAdugADQrhmiOfAsQlsAkBwUthxxbNDzygtMIJzLfAxXQT3C1wWc
cr9oohGISQUHYJnIPrDNlYsCkCfcswnu1zoWRS49kkjS7SZUuUXlgCGZpyubXks6XyPNWSjbfscb
/SOl9U7tZXiLV5XsjVHxYSTwfgM6SnVCFWerEXRgoyYMVxkjtOD01wLrkQ9DBmZo8JQOYoIFJz03
Kt5LtMrDfzoBRx/CsJJxaNUHrjEbsbbbmsRp5OA+1cr7YUxd7PQ/WJvdGZnyQqXuroa6IsrEp1rD
Jt3E+0bpaxBTg1+ZEm10Kj4oPQGhsRJ9tZNeUngdjqaJCBK+IbUaWdRgv6I89qosWI16fNAaAGHz
wIicWk63BXRLPEuPKkvvIBJ2wq55TnLJp6P6JIX9ahiDO2j7T2UbOb2qvYSydpL1Fi9DyWfLzS3D
lQjA/ru8ZWuzwO0a4Q1eq7dNn7sgOVBQs3UDcUsIkK+RtzaqZEDcDAX1LBgKzsUSUPg8iMkHC0TQ
awNVL9XMQuFVHqSfZa/HJULyieolJToIX7lRIMqPjSHBo3sXQFA94cD6TgYYDIQwJdQ8hGwCokGt
tKMir1YsyPNzNKHFxFypThFv24861fo9EcMBDF14IExmoxvsugi/UvyF4Jn0UWu6hlZL/9v1kHlB
Ub6OlOB/3vUOb1X11nzf9qY/9WfbQyLAAJEKMEhomAwklf6whrAfYgsjAEVORUHY3P5sexP+C+VK
kiqDTTfxKP5CQWDfQ+IDGnPc0idpIygR/2DjAz1inuTRIQ0GAsL8jSBAj79ufLg+m4ySFteFRmgw
RUc+xOSYxiP5ULOEvuIcxctcUWpnsWRsZU6TvZ6mPeJv067NFtskAsIWa0NSpV2AtVJrKBjD2tFp
c26wlkC5/tRV2MpoxqnDWmvL2FGx9oaR3otYi6i3e0qxNk29e26xVtOM3QHwcsyxhvuCbfm0qLWu
x10wjA5gHK1irPtOKn7RaSOownTFQgFWJKYLwPJLix1DGVQw3LGHpNhLkjyEI/S0u/QkhN0CcYaO
PIVKsKOkudOxHWXYlhgffqAQ3c2wXbXYthpsX4rGXYbtzAyaQwqNotXL4kOADa8Sag/Qiz0BqTWZ
dsSuos+1KGdOiQoMUdsY095pTLsonNB6h2JjzXE5cfRprx2w6QKVLHvKtA/npNnBIONjFJR+h5vD
WRqMFsV82L0F5KaQZDK4FeiqDrsb6ZFOu7047fs5DgAykMqVCG5tSIZLVjmdEyENmG9OZ0cxnSLm
dJ6Y08ki/fuQmc4bPVMbpE2Uk9znMDrWxuFBRyLvGfEYXgsIAkkXV0nxJKvDhsJ7xu36Clc7rgV+
peKhDSbydJs2Q/5IOau8ootPYCQONuH0k3P1VIGnYw+teMxqCBw0vfjsYsXJeHcegmYtGnVvFVVZ
rQhjsR3BiSOA8Y0VsfZAcumZEfPTkPu3IGCbBCRyG9JJuH9l+cZIQFhWKm1XxcITWAiQo2ICDllz
iDQE0LrqZBVQxvBqAc3cDJ4UJXkglBLkwox3ygVuVeBj4/RxCFxfLCGqfpWtCTsHU9sFsbzJcFll
EnweQlN4VRX6nJToWQzOMTxaQWsWqzOey/28iQ6hESFBmEBmLuUAQeWKDCSeah5R6IWdPDB+sqEp
AUClGdw44LCQU8UWMbApLjcW1aqzWHMgnyuofggvMRjkzEVmbtWMv6ZCs4VJl7RqYoTgfR58wrMG
x67ZUzdpsx81jLPxd8jUhlkY/Gnp+KbUPfxXRPjPwdYp1kaYLiT3sLXFmEgN0K6Fn5t0JSQU1eq0
Ow61sZfaEsYzE4AOPLE26l0qdq8Ub6muBh2z1khwYKp6mKuMuPxGqzKTzoUmebIWn6UgAL18DG1c
ACdMlvSEtAlwl+lTkEJsoQdI4ZXdkyrhLzIA3rKQ4B1A+abUqvpscMJUkRwGj54RqUa7kPFGFhaH
gUKqAfJXrXVWyLR9IlIn0eX7sBs25dicirr6abLUdGoYBzUp4LVF5JWVDKE1F9yel35LR4Cb7402
tgXdRpjHkFDQT7Cp37VZaZEKHkMykiMWyUdYVSHCcJSqdYcwA/e9TNZEST/MMS7sTAt3rTD6QaNi
qihwHUeeoIAqp+zA5EelnZXCdg7sQS+SlT1yHW6mx/Ywqs+SirIvFAE8KnoOJuFoWEOdlk6N6qyS
kqcW5FBoAeweCxeT972IA9z1p38hABXWNcgGZG03EeMnDv8D0rpnmDw5KcjvWSntYSqNEiPoUyMO
QxZm+shlOwauoraQBuAckHpwO/BT4M0Xgt9gmWL/mmvES0gPdml87DTUnXD5neq6IypIyjWdIwrj
BoJoWGeZsjWw0c8Q9JR19yOME7+HcD7oqFMDhU+EwBmwudW0OtC6XVGSgxLc6J07mB2+TH4njvj5
svogj2SXxvF5MPlWz4XE0SI47YTJo4EMRVXq71WKHFIePtRRirS1Nu5yeBAHwOMnSv6aFHXjqigS
bBk/YD0oNrJe+MijJ9P8NIbyaFXgf0V8/IWsyUFpm5UCSwAeljkeCgwv6YGhGPmxjIePpBefInDw
MxzlOULppAELP+9XaqmtecdszWCbFN+QhtFTkUmfEk01X4/7OzMfnrNYuAs67iKSXCVZVsBcKLVT
SV4lMB6JzGZTUA5eSQLuzb/fb/93j5xezf5zRLX72Q7f46npz/x/PAV2I2rsJkUfnn0hZ7mIp+R/
SRreZsDUU7S/wMR/KEewnkKpPO54uCUh5Pk7niLGv1B1C4W8IUOm/DtA+wfx1Ldo6q8XO+BgTSKD
ufQ1miqzmPVw3oF2IxgcbAC2FB30qkX6vHrr2nLhURdR4Pc3UMnUgToBwQk34a+taUYYSIEgpOtc
Uw9yW28y2ECZdDxfDMHdvx9Vb9KTfnfqTzPTO+HF3dgwGxWejWhGq9N7VqpIsBpHjeGp6XY71z6e
pInAnkoavt9cqy6RnOp9icx5DlC/p5t2+5RVWyTBbjdz7atdNoOw+7I7mTTRIWFLvJZ6pOCTB6oC
min4txu59nZ62chsaKQxHbNaMFDTF+rvXCpw7hXJwrhcfR+eqiJ00NwBDJ2XWldQWyGnoafrFy+0
EecaLqLeZN94hEM9Krw2dvBDO1WTwvPzdveuf8O/W57rN0E3pA0qnjElhA783h03wOBeUF9cb0NX
RSDNlMnd8us4FbxuAcfEOLWKYsdlbEnFG4sXahcmvtm3NYTp9lcr+jzxA+9KI+cDWnmKmeetqI8g
8INDC7qkNL8mJgGWAU6yU6GwOKfB1NmglhhMvHXLpyJDj8aTpEyIvffbQ3NFbwnIxUVD0w+5WK5Z
pAddnKEhVApvILI2VuCzev0D3vE30vMqdO5giWjHmtU8lBvtvdyjLPT2T7g6che/YLYLRnjvRB4F
v2AEgZlzBy5hFgK+hVauD91FM7MJkmWSEmYpmqFPzUFaJ6tyrbsoBXHErbCgl7u6nC+awoF0+U3V
AJrGsUJT8Iz0Jn+zql0yP74+PxQcUEB3aMpvMfvFsA1q2MVGPjWR/WxH5BpzlPWh3FJtF7am6bfO
lTOAIYBiDBoK8OKzvpglQ7IJvpcopuGb8ije8ZfBF5/bpe386jf7085cvdJJfZslg5SCuv1LDH71
5dvtWXYFFIKJftHAXJ/C88ispomu7IfQFpF/XXcenKGg6WYdik9xRUJ20mqXpve1jsHcGoEEctLg
vk/T/2KkkkiKelkbcE4l1XFQ1L1ehw+3+3ZtMgDlQGCGjSgHJ+LXJkqlNY0+a9K1YZyJ0ttVh4cv
vJTDY+l2Q1cErhJSU39amnVGVZOYlG2XAlIlnLVV7wxu7MA3dS1+mCsAlOzAvd3iFUX21xZn+1OX
jUoC78p0LR9Lvzyqz8U9t3U3WdHdHRhqTuxqz5mDfIlV28x+2iPqtwRP/y9W9GW/Z6sg7nRAlxP0
e0ieVdzJCFsQn/4+fefr7KKFKYd3OU0Es5JGYxrD1ivemjdjsKQPxq10BzMjK3YMR7GkDXDSxFJe
1E3jwXjNBzQEcklmcw8Pv9slNfPCrPoNHr+YuIpY1yjg7tO1qQP9Ar1vo6+iCPvZwqT6zqxDxHjZ
9dkBUMog6zMdHxdevTZzRl/b0IN0FCG5V11jJ68CyxU23U62gSB3hvXtGXZFkvu1+dnBAOGDCTtN
fHnICewMe1zstNZKh96+tFD/bYApUVhLxf//YSUBoYrkLMFr1mw7ajjNezmocRzlo932gtUxPIib
uj0E+UbrkXwJm0M9IrWhwjJEJJA8aEeJQt1i8Hohxr0+0jriJqSPYZQ4m92UFy2KzkqcwMIRGwm8
9KD9V/fgnN/+1AvtfNvjuyExQ+jq1kbEPLHUVqHE7zk8w8Tx/XZLCrlybBFc0P7qEiD7X5bTKMUm
rSN0abC1VezHtkOdX4Pd+j+49WK4pSN7fFOsjNyiP+pta72G29h6XOs+2SbOGSZw1odgQ9+Af0DC
xe6samHaLXwLc/aEKEtQcUBSgkx6HPgNqXzaqF5cJy7AswvaTGW6PnzfW/7+GOZsrrW5HiZ5he8O
zeuPBJ7vlogyQlO3kp3iDF71Gh8iG4Zz8B9/79eJne2LvfpubmvwGVYnS8WDo6UXVgKFxzNEUcVa
XA2nai2fUXro0iPUJuLCnvC7IPzWT57G92LzaQm0jNBapUDYlMdkhedO6wCkvwfLy9szZWkcZlev
vgvUXp/WYd68tAVW2kkHQT1dOD+uVM5Om8yfIZgd0SmpK7Gbpv4W2p5XeWdskkPtQK14hxyu27rh
NrmDeyCx4LCQ39/u4mQpc3P8Z2cLspNZXCVonOx7T/BS4D6Mk4F0g1OBDOS5bnxv3rH72h5t2OgV
O7ojAIWkh8Xyqmmi3RrVaTAuRhWoL9nkOSY9fyrvzCPozrZi2C1MXdbWKj1AHXPfbvQDfSjoKraa
LbT6tz/FFUDA13GYnTXqCO5GDKki+Kj7h/YdWkaKp3en3ZPKHp4XeQRXV56h4LJNiKqAdvO1w4NR
BV2vTztrpfqtWMHhPOne0i4HE0u2wafzYBa+5qrqJFFjC3i/wTxZ9f0Sbvpq9IvM898/ZDbNAeJt
B8VEv80MtyscsAOKBKG2Jr+grRnHM2qILJ7vUuX/SLuu5caVZPlFiIA3r/AgQU/ZF4SkGcF7j6+/
Ce3dIwrDQUecfR3FsNDdVdXVZTIHvDFtvjxOZaOmg0gYKL2riTefsXDLYcf5VBbjMypMJwL1Z6w3
XkN6G80X9h9a9i1kOU8gCWOPHBTUXYzLgyDSDyDreJiqykKVDQgNleFPzNO6Xn29t9ZkLlxs6ivo
hOqxsNJgzHEeHdJKK7QTFBwxxcgd0eSwFyt1d8VlswG39XXacPsSxiecaFPQ+kZlGxUp+eIUAOpo
/ePuxxo3G7JwpoUPRhCJw8d1OrvBuP50TjfhrsQM4WQkr+EFfdKkQcLZjv7cDwlscAxGff4A4kjS
ehDYpMRVT9tZBtDTFMhZIEuRhlDjSPgY97XqH2HywsqoohDzWoawiDfknNpm4MKoJ8JoJEnI4oSZ
QKBY1LMTG0Tleuz/BtEGmujWT+pLNVe2TV5cExSHgiZXYyXeScnVHA3xtmAnB3kDhh033ojXaM/s
wg+oS67Xjmz/Wpf/F0353snFTVGHAT1ELBYZy1r4prAaYyJC+w2Q0FaL3dShDzR6aQipu7u6ojAs
+hfQngWk3J9OUo7KJOdyCG2VJwbDy0NqcSKGG0AgDJYXwgrvHuONsMUVxJRDRZXzMQ7sR0xVKj8J
vzO63/Rj8+B3laHI5X6Spd9xRaMDx6tfxgJk035/8UAvE/ef659zf+ng6UNkMPN1Ltwy6MoKyudi
KNW2Agnha39EI0+SExzAXYeIqtJ/pSy0yuMikAY2SWI3mZJpXTOZCYMBGYYxQqXCoBotX5s8ISzt
zgwz+lEAHKSgYiLNwOs/jxWWjiLBJMY2+kSvolcc4g6628qW13mHkJJ3eV/u2s63OADa1LWoDVxt
SlWPTog2ewLOyBH4+zNbjUSIh+8HATf7sVA4D6WQYswz3Mp5p/GF27dnAZzKAOIED64qMFtZ3nHd
NZZR/fRC63878lklbmKgQQQ0WBRgiklpNMwRVbXWYJT2Ga3L63Lu+5KbVS7etXWE0jRMa76SgCW4
T1+Ll86RJFV2S2QOxCOg9fb1tj6iF3sXYtiFEPLezSyDtea/Wre8hmVg0oAGNoVXdkQonZr/rg4c
sP7D195qd6rKbQA2FYDyTqWvkXFprH7LkHILs2Yv/Sk6Pmf0bWTg+K/Uw81mY6gkhD9F/JWVMgYo
Ery0X9a3+a4y3YpYKBNYmcH7NLvsUiktiTU81J95p54sEHIWkSXHrTFVPNqLHriBoMjsPcO+kb0s
ICJxXkcjg+UJ6utkJyaSJ7jhmWfRajdg99KoPXeWD7076uJztVc2PpJFqTpqnKroJIjVu0+c249Z
6Fvs8R1wVfAx7QZkZcCreS81sIFgIENv9Up9CNTHVtUVXXDWT+Bu6uxW8MLRxGlcjhyLE0C7vj44
vOHbiRPuZQtUaQamWgxkWCbAgE0aMJkNZFgQcMXIB4DOXS23kkPaibs5y5sPWuKvYk6ii1gGH5Sr
jKpTKg2oJN6ikDR9ZgAuKOqhFe5iK1EHjdrQeqVReoGTIX0HT1APfhGyoBMZU8I+ToQxgRd0SQ10
jJn0pjEBKA7WDb1RkbrdMDqLDEnhxNirj2nPpMBezIGYphwpbJJoUrvpEVNHRqsH+96kTeRZrUuj
d2arcUfSoDZ3736+3btFrMr1mCeTe3yzpKbn8Jxco+v4KVzwgS5/qnSMzamvmek5k8UflEJTvYuw
YU3/GL3FLhp1TFaPTcAqHogJuzkwWHElX0mWG1eS893/byYo9azeeJ+pCs6/MZ2KBJGvVTi/07pe
37tAZ1LH/zqvudH9x01RVL3YTFCjSt8dgEaENHCN/CjIEnXJYpD7DTbRb5JQks4s3FlboHCFpnQ8
njaFMwEDwBpcyUx3FZIUyql1gMLS6rIJOgaCI71/8qyABxnm1tGTsZA8oIrBJCJuZSTwVbNWU6M7
DNvYSI4lrzYb8cidU3cCftucqmNVMFWokn6KLF8PzRz/qbUBcLktdplmEw5itpM/jn6eKQBkNhpD
vsYBbo4eDDaYJiwRpXm7QAMeDKhyzKlS0a69Y4456eK+e2fdSFvEhAMyCXLChrg3aUHP++s0hvr6
gr4K7msLWmx1VXdyLkQQ8fiaGqH6PhMcHJHj23u/OrVRVVE1LmhdgkeqoNmf2FtsNXrutYAQDN0x
qjnwRd0Kz0SE/wsPJcQSApQ8guvOAU8NOk69EDEaT1jvHZ/yQ8piR+OyzEuug5QeI86giVHBE6Dn
/L84uB9iFvbq0QPV+HPA5Xu92sa1URHhke5Y5w8R837eaOLEU/7og4jcpjkcVFigWgAQMnSkJLXa
YoKNu65ryleAtNCUW4FfdNE3AtGlV1W0j60brTpR0w2GUuPf4NXMT9QTr9MuuhCDHWUqx9FBdvgF
w68y/oEESn0vlv3xGYutbXixjtsCFviaAzreiTf5rn4FLJJbutXeN+Uz9YvZ4U4/JCf/QjD/L3CI
tT1YWMugpE3VirCW7SHTBYPZ9vv4DcOR8jFRDXt8Uj7RdWvlhwIBNek+JB7A4sSFOAExYw7h/Qlj
eN6R0StXxgS1hoqgWR7yI//MbHyndEdXOwmHehM9rKvAvdTWj71fPFgwW1IKmY+9R0xp1aibv0xP
+am02lNitvsYM5RW6gh73Ap4aXAfgu6bzak6A2OB3jJGsGmBMC2D0Kd59M31T7tXJWBARQHoZnwh
BiAWm1MWI1/4tI++qaO0BSUgYJZGc3ob7YZUxZ8X+YcO3EhabEKTyI1IgRnQRoV/G7dgBhiMrgRF
awjwGorQZjR/9oqwZda4YqSy72UIYydb5i9RjlFjntaqIDQIGzjbzZqkRbTlCVMSgz8Wdy4HEA0h
Ce2+BQNCGF+rntM4LthJfXhMSlnPFdkdpsJIpt4YGt8NAMGx/jH3Vf17j78eGDe+psdcLviXcZoj
bwofoa0cZui38IE32S2rcxugge+5U/GE8W5rDoHCw0DCKb5XKrnVqOWjlRkBMAoe58TeRcfhOsc/
j817dSxckP4YyWOXqDwC4NCsN8GroGV7ZlPsE8M39f9tL5aANa0fxxjRmA/mgoDdFdTyEdMIn4A9
uYQ2d2avwOAyklLze208oorAq9yRJqghNz+cVrTj68BuDmQqFXlqZ3AAiP8E2usGDQn1o//WfbRG
hUdEtKNfW5TGxyd5z3/6j7lduIOTWoMa92qJQXQXULDXcCe9yr7Oe5veHLTNhhSxEkzzKw9x85WC
kldczOPIGnd4l8z80bOoQ2wL52GTnKU32hyswvpFilzuWg4SW+A2YcCXIC5iCoqLRo7ncEBU5Aeq
EDDIHQHFZF0N7h7AjZCFf5O5TkgGGUtL6+ahkoGG4tHRDALQ6JKHmRm5ZQ2FaZ0QbbDrku8tT6Al
zJMhLOOACQ7VuNnUBOOWVSxiZp2Pfnn5C+X9Wv/9eyu7/f1F4BdGSpnKCVYmoNMlrI98FxvyJOsK
rTi+kuph/1lh1GFd6L0eQKQkv1e1cHf9wIUcUstzNEN/YopFLzcpmCe3mMEdLyEhrU3YwnmE+XYL
ub7LY26+uakk/Oyr8B18YiFhRX8O5MlzkvWfFXGLFaFhTp4EHyZKnyq3tXx1sIvDcJnUyc1MsTOy
p99oUdX793o77ACK/MiiYyozwkCliG2PhDP9euDd6AyT8lTID1gwL6jj3n91uNePeZaUVLK/e+3f
LnphFhLtp0hoQxDQj2K7+SU7DVp1KmN6JTIj3quI/NjgOSK/WRTd+j5NdzAEDj4FFTxMBAGBFZNQ
gWYk+1zPdqSW3Hu12luRy/SRkvoSNQBgwd5NMHM13BeHbjNpnok4H4PAB0D0BQ/6umkQlHXZ7CWU
PpxNC5ly2GgCeghFUhXy7vV+c2ozRMDtTrZp34LVDCYPCkut/g1Wm0DPeEcG9UdlDFawC17zbWpq
/pHfZlb6hIz4QMpJz+awvNFuv2FW4ZvTTBBD4iGPb0DvIubNreAX5gg3xVY+hC5/KOzUEhldfk+s
cM9cRl+twLtJCulJXkhabIRXotmvAXSYLYXnDAQoAWguCzvp99z03gwOW5oe90tMSAjH996ON2uX
FpocFZgdD+bbPCyFLUY0trEMgDS2tytxwFQ76kBh6Qq0b4a4rVmvMDrgzhRAhcqpwilEDHOMyXPg
BZrcC+/+wG1GD1NUkWz6vaDKAGhp2r5S43ICpkek09K4aYKa4O9Ia1icXwrQzLARPGAI8KGasjvA
iXkhj7lIc+pRKqIIbx+S9S8ry4HPj2URwyyCK1Oo7cY7VU5wKWzhBLz5bVVq4YEUWBC8qLy4NqJO
btspwTFRzaaTNKq6FtxhKF1P+ZzRJIEFSrB8gunPqBm3NhHndJFPMtQRSWqj26JKpHcv3AU8zQZj
YzhRPXaf/k4KNGAZ2AA8ekWX+Xv+EO8kcPPkB+Yhe2C3F0DUz4m53fA8mJI7txlFgGgn2g5BAZb5
CLarJ5jPvDs2lC19BGtseQaD20UMVe9Q60CjtT23fW600ZZJs0Cko5l38sZ78GHVluWEnSqSVoU7
U0fPzegdA9hAvlYjvtCbkNAwczf5cGO18iL5UOQeoGfmCx6v79MI2rp4T+NVhHHVQ+pQOwrJYF7P
7AnpYDQCb0l9HPeysreXkby4a0fFz5psVsftc6nSCJkaHR2U4bkH80LmIEmvHpzj08fvST2+UJvS
MQqMiyRvHhg2WPXyuK6r93p1f3zNwnXS+SiJHY10FAMwtDYaASUlHnvA/GBgNQDAnKBJSWwxwCTh
FUrrhMkUGQBw0YXNAqavKiPSB83bv3KhzIANP1SiqgfFF3Gh1JsYJFVoMQ2fqgdgjcmqdwW04KBN
+9wlzYvdm+X6sQ8LP9i1XjOI88MgcnbX4NDOXZ0fKYBFVWA4qomvRbv8Qh3LA5ElgeAtln2rkkjl
E8pK6CV6ZvT3pNDHSAWE2xuzrQ7Sk2SXVuxkaNfmt6Itvcnq8A5mr01wRu4Kg0ygBigebMBovfsH
Uq7yXlb7dlOWba4yLXVZI+PTes08wEslzuu0Vc5sr4Y4h8C2L8HuF0qQKejz3kr09r5EBuUqOgnW
/A6E/4+gXFl4VLHghKFJ8SHAmKmc2hrsDPj9neOdUP02mkN0QY0SzJP5DiBY/T5/wBhKpyqbGP02
x+S11Wq7wyC5zsQqKNG2qV4/kdqP74Aw//zGxfsVwG5p1rHQoDxhjhMLvDExN4tIUaVe3EtovBwi
FAiZjRcC6McHADX7FEWDvm7PBG8OdJIf1lPRU5SlAjaq3qSf9CZ/ALgq/5xZ61Luleh/KMbCh3J9
7HXynFiiql2XFepIWVm3FaJU8/xSZ8p9mP/2WNrqp8pt2Od16bNLWvEQysKBsl7VMwGNNVLsI1//
inirzp7b8po15rogUrAyjy3f+iKQhYR1Mb+/uIP8KdnNdtqO+yBTZcxCqt0p/0VvSczipLfKcuzS
4yRxphaP7VbjN+E2jQ1aVIFmAF4Eecu/j664VdDJa68v9V7J/8eJLvwf508+X1dY6jOt1Wr9mluh
xWx5g36Lgdyqjf2WfR7d9snTKNDICKZyYThottbayQMSl9GWtQmfRNh9bjkaKomF4OOyngvXdKK+
tpNanlCpcD2VzzA8WagAyyfJnB3JH7oFVJ95EF1ghGVwAFr3Wh4r7L64qz/7/fiQ7oC88dm7mBJ5
ygjBsEwQtlCvpmp8NkshLH7kMx3Ar5KmjZecNCRyX6VuFjV/x02U1VEl2zXoqbG91/oz3Ao2t2We
clQ5UGXQxncANuik+tLdS+1G5EKdgnKIS+BZANGjkdS65tUh/r2usfeK+UA0+ueolvemnItcCXxC
pCtM4F6bjA6485P/WjzRl86oVM5ILyn0ZEsC5r6fLLkRvHhPSAWXJj6wYu3yEeCZgVltO4Nn1WqT
PZCeLvcd7Y2shT8fPTrxMZod251bXeOTb/DOcKoM1qW3cqpK1/U9vRuO30hbnNo0lB2fh5BGnwoX
wDChJWyA+IwhnnU5hLMDZ/ZPjQwAo8YXBdSj3UyoTOQqwpwH/jCauSNZL6FVOpTDHIkdJ/PJ/N26
RXpxbXkynQs1i5PzCi2ujv5G/AU4FNkeHvunHN0gBPuef25N3MK+E4CisMNsBH58USJO7xiH40nc
BfezQP8cGno9fu6lxLZAQ2EghQYPrIfScbiPUbxAGfkgu5PV6jUQug2Yw4H5FbyiVO/2W/G8fqB3
y8nfxih+2cyNi+GYALCiAz5iOlAH0DyZqZu8A7fW8o3UQVsoHlUN6uoG7yKGfmdI83YkhVq2/TId
xh1zHvL5QkM7AqqVOZrBjo0D9NVtexrO7IGujd4tQPDkiISyzv380/cRfN1kN6tPS76o2wp6pSSd
2fPogR58Jx8A8SOJ6LymP4ag3rWlgoRQroteRdh9gp59+f8b8WPAcWgzh9nKzVuQP0sRhp5Ga/2E
112D+PV+upHRUZQ3MLPTA0tgUhqt2eyB0g88byd9+t8kLfR5EMqxDgqsZrqkanHNDsmT/NxY/yr1
8H1mf9RjKAkwvCXEFKEKfGMVEbl87TbpIfh3Id23qCX3VOT3jMRLUM7K9E4DnviN2bm8cRZ7sG5R
G4CsB2diiE44sK9S5M2BtY1MAewYQtGSOarvjNsb6VP4Rn8KtmC0bnidK9CqDOwBVl8/QMIFCYCU
hUcC22IZMdAV0BbsKWDJA2jOwfg8I+v0tSEo5hztrzjZZUum7/di2n1ZfrmlOOQwh2ef/6zHj/VF
kTzc13zszX7KwAL1xHk/JbM5hCdeLy3OpTXBvGKmGqwAaBhpLEFPdv5z97Iu+/7T8luBlp2SASgU
JDh+mISiVi5rpVvGpUDZpslmnmrBY/VYEHaV5FD5ReBRpSMA6DqcofiK4lP+KItql6ucW5vZpBV7
kIIKm3maV9j0DinquZ93uFnv4p5uFLHAsCpsM39srdSSdfaYWgVo7LMtQDnAIG8PoA0ErRlaRjZt
rlboZlBsEHWhq8Ds7Vj3ztRxELT1Y/hCfVhTtcXDkxmogYo7HAOyEOJeuRROvxtsntMEo7G9Y2V7
evDe2WCG2IB8pTZFndsO9vDpnSuTfcJgr1mcC6vidcpmzwFpJkUiGML89xsFZTLM6HXzLQA8vLfu
4O+qt5EQHxIumq/26BsRVD7mCciAY2SK3YJzlRZHwZIuU4Lj4hf+34+VhGcn7HJnTiaYR7pLCkba
Ee/OyU5dpMjPzA6caZvyAPYIUv8/YYXCwnVR+dAHYY8Vcof0xGtypYK3Zpe63qE/5lqLwKY/CrtI
bX5jtJBTM7dAR3dnNbt/l5D8tgFh8cqg5ZxnKR4GKKHxPzIxxKTGmogp4nOpb4Clbp4QXux/rav4
/eT4jdRFoi2ZAF82zF4OUAKO/w7CSLd5nokFttNpNBmt7dTWlC/TiedUHvElZ3AZIevyVWFfMTNh
mUiLlCZNOax8+Jiew32CeK1/Ym3G18t9u8tdAFIjqFO07CIhby9sRe19QJ0AhWT5pdjT6Lo9AXVU
MHpScmA+/LUPW/hEJU6GsASzli11z1n6XBYnId3H7SeTPrOxw1fbNiMY3P3LjYd7Bx26oogLdWQT
zu85OB2QmbT22EqmH3iAzQxcVvSN9aOfP/7PxX2LWiyui2pQas/JiDY41cguxwS7vu+evn9/4Z7Y
DOPy3YTNU2oDZU6BVsdC7dJNPenrC/nL7fGPpCUoRpGINY2S/zyR3rnZS+Zw1+FDsR/fFeTRWCSQ
mk9F816oR4QjDn0EyzXy62g5UlzlV7RLLwrh+iYc4pLrOQRmKEYksbMMP6pUwDpVomzGuDqBjoVw
RZFEzX+/cdCV0tVD2GCTp0DHzPR0Akh6WROE3E9bfe/vwkH3DRs27PzaoQ6Cp0ZPyql2BQ09FOvn
eD8lyfwjZ1kqzrp26se5JAP8RQAFujFIL0Yjzi5x++z5v6WmVL3sLUwesu5ITU9sYigYdYxAqhk9
97xV5dvOP4cp8E0rOxCfJABR0d1j6x14wBR3Vjgw5voX389Y3nzxYvsBqjoq4DuDg8ALPBdCEMy8
gHMANBxOEe5CDMdG3LUf3FH4aPK3svrwvHfCJ9xPcXxv2iLXNyZJNbGzBngITzF7yf8WzgzgVT+y
U7L7l+nS/0hTALmzkJZIvZwCdR+9gV2pCiEQ+XkEhmDfqaNWlRl3BD9MkOhd/s7lx4EjzWP9JUr9
lr9QxSIQ8yj9SuiciqMCAFuVs2ernoA0xIEOYae4vE2baJcm2MBfngP/SF4+H/lmxjIV5lhQ454F
zG75+xwPLMB/P+cWANzPIlBefKv/aF0SvhJR9iI0CFKkPlkZZxyDjk+VTIbWg3SXO8GkKk79GDjR
bm5KK+1gU5z6Q+3mBI/2lxfe9+oXYUJDlVUYejj3shSOwPfeDqzoMkmzA5mV1XSFEWSeobCZSTXU
47qGf41g/u2igs4tu1NzWeIHJcTqC9TNGZP9ROMhGh7VqFBrWNwRmldtI4yRGf5lhD8AKJ1kRBfW
UXadhVKFrycbxaExQgmiHQc9bgYXqw8FQUFWb6H5Mxf36SSBvLGbHwuvYG0zKjxMzxFA0beFi3Zj
W3ZiPGgSFC6jR8UCDhcaOyoT/QY6zaJVUw3N5pxYhADm6y28tnWLd1WeB3w8JbPifPaYuuCv6S7e
JmhPYS4g8XDxkSz6jVRW0vu3Rg9eFDPXQKHnztokaPJzhWbtC3iQTJD27dor6AMvxb4DR9s7cXZt
7ZKZt2/hSlt4MVCy4FOpS/s4OJwJnGrGRfv4YNKv00d0ZfR5GLYBUl7qsEca7Uq6sBuvuRkewUOJ
TI53BVNlBrb5wQC+XPGgvPCEvNv9svT/+/v5IxcxDUCmRC8D1KaNpzFtiXsUBHy9fmycxAQ+ihNu
/FOnRXsPCFi+5h1YN0bVqn4W9VEAwrnG2L+R8TYB3BLqGS6zPVDfCVHX7ADXTnzhoFMx8doEDA12
y24o3uzpbeXt2uLqtbRaei+lT3TJHEHiwiX3dVMP8hzn5WpX277qqJbhgpfOe2Yxx7LuC+53r3wf
wJcR3sQ7viiLfDtnKRLut8/p2fQkSa7E4WkmTSqQHcGilqoxmuwV6hQmGL6LXNC3xf1TLPrq+rf8
5en0j09cdieHUlan9Zwh3R7oXb6bXGDDGLJjaaItzEpwgVfcgteuVTOLVFAhHPOyaXlqEzQKz29m
WRSeQQtrVlmrgdJvO8bdKQiqhyJrwEJdEt4MJLGzLtxs/yj2vSjkiNDGOtQn/tKXbi3swB2atiAQ
POOSsNY3+S+Z9u9NXnjVXOTTKp1fKeUgaSFoAkvqs043YvckDVYrfighUDh2afq8Lpd4uAvPSck5
SEPmkQhukvS22Y8VpmlYI/AuNfVRhaBzY3kVaFOAfIIrEI78hLyyw0TnvnwAJWjC77PuPcgooFWR
UMhXo054oS8vdXMKOdXmSQpQbcyK1GCD2ZRootxQRvbGWSBKwicBB41oefOCVxzLEiiho+ja8+f0
ROGiXfDk76i3NjarjWf0m9ZIBQyx0E8RIT2z9oacV7rwZorXyxRmR1DqKrGx4MV7QpJQnRDqDCRz
nu+XP9cHtHow/bAyuM9+qnY7BOBGBTqrHXKZHXeuGAoGl8d6nQsEx0GStIil6CHm4pKaU05TuYtY
dMaie7jN+e0YyISO5b+Yz/eqFgYr8mGPR6g01wqTa1yqCXLzF+CkBWDrfcTsF6HX8i/x+be8hbmy
Ys/H/lxkKdHnb0YHIKza9YO/4SnMn0+ajDSeEunNA6APnXWL/UvTw7fohcXWCnjp+Qqi2V3wC3aH
J7Ea7zH8vp0+BwucnJ0Vmz7hzUrc4EXYwkt8W3UBpPaAIwwYFaNbG/kgbDhDeVEI+Fl/aQ74XuLC
HEoqE5hIAB5QU8saI35SypOcODF3pgJArIZPPgNueeAPDtXr2JOE30+G/SN8mZ/M0zSPlAQrLQI9
OYKZbVdtxYMgqEmqlv8GvRLNHt/SFkbSi+gm85kZ+kgQzDFKtiyI5SoF4HpBAPonQZBAyEd/9GNn
MoNMuHXuX3PfwhdaLDXowABqN571dWZEgS+p1DRaDXIrTZm3YDvq93wGFAUgs6wr8X1/9y14/vuN
Zw+LQogzCuaKkrLX6lGgvQXo/iIs774r/5ayUCO+boOwVrC3dC3rkmxnIdwcRZjdIng5Yd7jm6W0
BceAOhVCQLI+DmrlGeDxyRnChv2lUvbPWpYJ04Hm+gwMUdDK59xATri45hvGHrYYMBi1CqPWu4CA
M01QDnHxGE9lNCIpcyuL0E6CmpX0LlQi2xfGvRJ7Ju0rllxVHwVNDLQJx/YHhgbni+D8glYGzmSi
z1UPDcoAtbkhIPlRAY8n0UgNNLOir1yKyxHNqUAd20uw1ix+5dIIDPPndYUn+U9xYWrgWOHYVsT5
BU4AYO5NYQ7vH8IpOFf7lKCRf2mc+daVxQ0hJIAUyiZsYG1sMflp8ZhRGp4VG4AIiayWKG2yOmXx
H7wDjiOzNLMTwLUI650v3LUdXdwXfhn6zTAH7mFqtwDx8nfI2fq70R2sOV3n/c5JU2PELV44Fa9U
vEEOscWpIqsJZzPVi0APKkjg0EkE7ml0qCQKEgG5KY4xYb0EhyYuXA14aYeR4uAF+lJTejMY1QHj
JngTkxwBwd0sofK6KZ/EtMEia0xf0bQ1FceskAyKJlyDhAUt4VaKTKGEZPbQ1JYJge0sO+PHQNo1
gqVLi8uvyDHFHwwQwon+CzdSz+0YYBSsNdeVkSRmERzGUpJSzRwcAttFrVjfnOgd1ZCucpKUhYWX
Usj43izFLzX+d9LreUy6BEgi5r/f3DWhknh1MncQ1YZsZVegfAh2qOZaDOA08dA99ociVmtCrEu4
B6SlJedK7vcV1oWBPzWPCz2inKYHHvAmic5Rpmgl7RGs6S+v0n882HLuUfIwZxaBqnyuxOjS4bVz
MPyZbBVAslV2olP78bm/Zhbn+Hq1897W1YWk+osbfeinBo0aWDDPODxtJlWt53SsMcxhyM7rogh7
u5xRG1Kpabq5Kl+j/SNWs23yBgA+07+Q0mWEC05eKGfEAjt0mHuK83IvdR5KGBNBOe+Cv9xEsssO
c3DVtWE8p6wktQQiF4b/jABgUZN9Zey5XbJRP1p91B8qTXxvHgIjBq7gqTVa7YSssP5J8i2krV2o
Ldt0QhNIOMXaSBG44wLiUZbdh6xBQhUkuGR5ce8oYTBMINXF3mKaiTUKQe0GQyKOsq/fqPwSwcbL
4jHsPIgJgOpDa+lWOaLF2AbhRwAgdvr5sq6afynG/NcGUan/6WyyoZvSNoLKsFbmsAYGgPfp73KX
ole7sDFKiIfmbwER2nTE4MaRFLsTxS9u1CYOhiacu356I+G1aYu053F6qmgVwMLAlEsPwuwaHE/j
jPrav1OEO4PggoBN+3P5QRFRBVitcapGdJQulNlu0H4qa4oeubUmgp7bDvaiXuqgxwVx8Dkj2NM9
SMablyH/R+cxnfVJz2MDolCNN5U9bY+hNtihBWQnWzEZTM4i7DfjBw6z6I1aHqZd8yDbzOOAtq3a
yh/ko3CeNqgZPoFNk0HXMBhCwEaKGRtGG17iQ6+BztetLDT8kE7vL/nrf5TnK1a7uam4KfMGcX6u
pI+D/kqdU00sVJ4FT4aszriLGIJFK3NttE/rWvuXAt634EVIIXUcZn04CGat5JqfMFRzBKio422F
X+uS1j0qv2zMroexTtm5ZUwBIm5QeuCOJZn8XxqGvhez8Noyo3hMF0AHe60zR0MwGTUwA7NRQemj
Mhqvppq/8YESij49Y95YFvU1T5uJ+RpdUNE2qAH7kKCYBEfPL7uyB8BpKOJcD0jcyRzMAyp+0qk1
PdP3tXm6yhHRpA4EXyBvbvIrvW2PMYwHbHEm5ruiHXcEhKnyiyKEKYSUHKgefxpsLUZM7M+RcQho
tdYOz+mkejp/LDFexmmpE2qdPZqsTWJuWA8XQAL6Uy6lRBUrd1AEpAL9ref4mLUuCU+6+2rNMiwI
1cHeIy5JahQmj3OqhCZIh4DXxjfFjHQFoD7W8KYc1xX7fvbtW9Zy/mjC6+g/I07P5SNlIswL1AaI
Cb+G3UP0ahOE3Q1pb4QtsgxMQg2xEGJhwmHq1EDzT+25h3PVi0vyyLscr442XFZECg/uJ1RuBC8c
ReylA0XPIeakg+BGdTwW+PWUr/qgBdP4ZNduCUu9G5DcCJzv9xuX2IxDnIrN1xG2+3SHdO2Gt8dt
SbADkpjFGyEPwqxQ5pyeF6vKR1+D8FrlOZ1KjdJMfEKO6P6b+2ZRC6NL2mZi4wlGB+hBc+TFx7YY
H/qIsgQpNZsKnVrgUVE5uXIwY+xkef57XX/ueuEb+Qvj65vazwUGqx3lPagUtQFge+sS7vuVGxGL
QMDzuxRD7Di3cYP+grOgt0/bHTrGt8PTuBt/lRjH1uXtQFjY/eIXy0uMAOJGgRYWK2MB6Tp5FIeU
lICeeAr8q6MlpRjwBt831Vhhv6uE0GZjdstLAJYtutIsmuQoN+3D+gbc32J5jkUE8BJ+4eDd6G2I
SrMvZigYodVPDYZdLl/XBdx1oOy3gIUO0aUQ80PCo40wv2IWNnpnxyP3BtypdTFzwPhHRupGzGJD
c1rJZWUmGZCe2ccpBUde/mvcknCDSLv1R9ga4WbysFv88BKIMD3F09fXcb8AdLOQhUIGsjx4Sob9
YnedKZigrz+JL8H7R6mnLwWI76JX6WVdJOGE/uhGwCDWf4oU5aR2k14CsWXv805MSsPePSJOQOuT
RAMsb5lyluvRjzIJ1gwGTlXiLLHcp6B8SpNryvpq4wX/aitvBC4ugXwM+Kz0YduNGLtMU8xgRq5U
prtiyEDlJsvb0a8sqVesWuntkAFFvRJdmCzgdD6pt0lcE9pa7u+AzAtIMGBIW1zYAsJMWBqKI+iJ
blyZDw5JWToiCMcYJtmNiaiic+h5/XDvx3Pct8yFYfh9z/NDAB8eNy0CyG64StUA0vv6Orb1MQ35
57KincTzjiwLmvo+Yc90Ca5JqtSSKTaHEaUxhtoqubDlOVoNWdaSef//2Pu25bh1JNtfmdjv3EOC
BEGemN0PvBTrXipdLb0wZFvmHbwAJEh+/Vnl7hlL5RrV6e7XE7HDse2SCgQIZCYyc621SfQaSg6V
Fg52/8U+yRG6Qx3MtftCOxrGufZVUbImNSjvTW54NHdTj7Nu8fnsLrrDd5M7Oyw1SbLebHBYBMtB
xcpHnzfTMh6KG6X4Ls7kQczjDyeur1ibi3bAoiZ0cIlJoaf10dtrorTtUTdwW88r4dlasjCouP98
bpe977tBznbLXCmZ0I7ANOtikSeBrkMXE7TKIIYCx/PksexZWHPA6d1w9XJy+u4zc+qeihaUERCx
Quf+4wSTRpeTnOGfTKm8kS5ttW446mvXTsTv4+C7dQdgUrQr/C5vbWmO0lod4yTyFmr0GXwDD6ry
+PlSXhvlbCWhgGL3WoNRrFxGTBs80uYBH/sgIdco1X83ph8ndHbcTJFVqXaaUJxDWctFS5fOwNo5
+KVl74th+qc34sfhzhwSDKdpORU2YpF1ASia/Nj8p5tXMALY+E/M7Mx1z8Hn2sx4OUw91g6UCN1c
LuS8MucumMw3cY0p83f7+HGss/dkKyYGV2AsXkFkYpo8Ih6qcWPQpx7soFpqX/EQF9JQGNA2zRO7
KeZ3jtlhqd5kMeiGl9Mxvd/JrXo0n4qXcTmDqKjwUcNzo37VPKgVbij0yk3s4mQh8nPi7LCw/c/u
RvXcDqDRqJFisIZHfag2lVlHTqGg8qvyV+m6Oy12v31+EC4UD08T/jXomUsUcZs1lYZB+zDbq9Jr
SEAXqT8byOTWu/LRgIbwA39RB7nPbizcldCJfCXD8LvtxCMg6EXoy06Utmc3JasbGyWcFKYlqzwL
epfzNXLAC7orpyFM9xTUYmHPC75QuTJ1MmWnnsb2bfgKcVfUsVkIiaX4uTsgz+m3u2bR3elh/Jzu
0zJEMad5sM2lNBbIlxlXs32/WdPT8zDTYTCnOv0JGXkXZNdTP9aD1PKlcAfwLNUHqhVXLoYXVtXQ
dQfdZahG6uy8sa2UCWdl6eToaRzWw5DuHe0adcmlZcUpsRxGsbCAfp+e4d00Sk6mfLQstKavteUj
347PGTjCt23U7rRQPzTYPFAwBI4BXFvoVM83+lf+RoAunpbXsLYXLvgQ0Xz3LPTjs8x5TTJb2fmy
+kFU0Idg39O9bpms3AitaLfiu3VlgS9c2T6OeGacCLBZVcYx+3JrOz67ayGZo3YNssU3seGVtwUI
797yqzwZF8zEh4meWXjb0uY4JWa+3Fhr6wGEm1Ed2asaqo0gT43aB/o0fm99cs/3M7CFEV2xZzBg
1qCdA5LClt7yigU5maWPkQGWwWEQpHFt9Bie61XX0+BkiaD5stcbJHSSdttkWjAW4wr/+qUhZhk4
mf5QzwxKee0ui8WmqHHSHWJ3wNiYN3aL9HZMVxrroZGF0E2wRTPmCLmrK5bmgi8GJlS3bNuF5Co9
r6brokQvYkbypTPVkVLJbaPV+6oChMGIPVXZV3bIacv9tjK/hjsH8PWkUaDRxgYZc+O+QuYQjSax
n47Nl89fwbVxzh1HyVnKc+yIqalW3Qigthw3Vqn+zemcuQpZQB+3E5iO2VGAN/dTb3jq6nX39348
bKd3i3bmDQy9cx3VnkbBGwmtGT3ASe/3EJd8HqJrEKQLceAJJAyldceBfziPZdrMGXqWzvnS1YTh
8ZpBdtD09dhazc24+lfe0q+xzsxFxxtDDMaYL2fQxiTFHih0tK0sPh/kskl+N6PzcLNjcd7mmFG5
dY7pQ/EDfdyk9eT9GOC20ATmQUJGcVWZvnakJ0Zlr2HorHa+mQhsuuM1PrbLJ+7XpM+MlRqNGQKe
U77kziotEl93vo7dshPfymt4qov+7t3Ezy4ogyHqwa6MfElVvsiYb6bXXMylEXC9swkxXcLIOYse
47go1ALHzIjXHYGul7SuBO8Xcj3IPJoOMUwHkkfmeSjkaAo6yCWWqw2BBKNbc9OiuXkzohHusVw3
Qbznax7VX/+FTfN+2DM/zuiQ57aFYYv9i7L9el+/NKFGPfNoB+oL3c8QBW4eu9vJKxbxGzLN5Yrs
3ZUJZqLsyrNc2jDvH+XMjeeG3iJqwilJE+gFAfEytahjUsDdstvMev184hdu1B/X++xMpnrv5naG
09J1z8gTcLvzR+jYmk2J/XPnErBVz3ezIz3zGgj/kuV5P8+zc5rMrVP2YLlcivlArQetfJuKQ1Lc
X5ngJdfwfpiz81dNpLBqHW82RZ6grLVlA7lBVNYBzePJ5tRynLPBlx1e6XS0zb0zv7Ey7Nzw8+e4
Ntuzw0kRPzaT0GFnTbVJ49EfBVBUDUTPY378fKhLp5RA1dOhzLYc4zx5SfIxFl2NDSQKtOS5ANeN
V0a4uKbvRjhzt5xyQ4B1KV9qhgz19AdJb2QxBJ9P49ogZ87WmFrDLDgGcdiwtuf1GNf7ll9xSRdD
2PeLdeZshS2yLnZ7xG4/9NCEFuTX/KDtgT79oR1xC1Ob/FqR+2Kc/n7IM1uDzqTeVP3pgGtruwun
EWT+1oDe/mhwAgfQn+6LBDFvCqp/Z+V0d58v6wUZH5z4dy/vtO7vriwDt3memSoHNWAfkp3yyi9U
hPNWrEu/CZrvcjmh33g/g53EuqHrsfONNciUw2Z3zQL8RM6eh4fvH+XMBOQsrqWWYCWGhbxnmcdv
tFszKl+t1Vs/evNei+Lea3x6rwV8HftdQPab5FDzK07nosW1HEqgsQ2Y4blby5EGnm1bIi6JXTBL
2Ohnzzg6WocC/UZGdZiq9Io1uKBOe3oJv4Y8s0oQMcxN2osc4H5tKZ9VyNDXBJj/Kl5rt25YrOa9
XEbAQhX39paAsr3z2bO2NFbFXXW4RtRz+aT9epgz20TqqhxHDQ8j5rWEzSiBBL+W1bzQIIMZU8ch
yLWg0nF+SVLCthBVtDnai2jq9aGK2kg9FMciAtIEpDwBmpwepa+mf8WM2MgAYEzmIM79uN2zwrWr
NMMBT1MaDfWq7JIwba8kri4lkQzybpSzJZztGnkMF1uI7KwIsD33pIdCV+Cu2J6YC+fEE71v7K0D
va3CVZTdS+azKw9x8TX+eoZzoFtrUyujE2banpoIikjKElJsV8LrC1LGeI/vRjkzy2Xdl61rYKbo
3lzVt+OCTJ4dWju6ZYiYdsaP4qYP2m2+B3777toUf87hN4vxbvQz45WTzGjackCOY8LlKCgcX9+r
dQ0pPQYNNPKlWAC9HTmQIg2yF2OPropQNV6G4+RA/Hj+uvWao/GgB8lNv/hW+AAGeNoNC67suZMF
/+wpz4KqXJaEgMAFe24sfBkf7Phakf6iybIhuIqimWEjgfZxV0s9LQQ5naa+TBZVE4FFwdebxiPQ
wUr/+abd0yv/NdjZdGJ3sGRrYzA531F+yxkolJMfss98UN57XQdaFP3L517q8gr+GvLMM7iFkRuo
9Jycv7rJUv6d8vpKFv9y6PtuWmeWQavJSPW4xs0M11Gji4qJ+RAQ9fre8sCe6xF307MdyR+S0b7i
cf4Xe/Frfmf2AprcE6o8mJ+2gdzOQa6qRw0KIfYDNu962tGl4uh2I9/kUj3PnTc8JqgmXrEXV9b4
vN+SJhKpywy71BXopucPnd5fmea1Ec7iRLDIxiLl2Dg0fenlt3y8pl57Mar+9Qp/dna9i2XklEml
CkxhyAefOEir7dM+8Sq3vGL2rg10FiZmvJ0goID3VRdzmE1gS5Sdn9uTZ5IrI1224v+zM34GrO+m
ZCmRV9NpZ0ixtoxlbe7FtZaNa0OcHa6O5EbOGqzaiMZFp0wXFsAo166xF3Q4PliNc0YhlQ5dqg9w
FF1Q79H2vp6W7TJJfeUVj9B4KDx7NbIFCrfDo7WMb/8t+3Gul9mllCWcNHhfaOYTxUahZ/XzES4V
yt5bxZ+fv3tRtHDGkUzY3LYdgM2KrL/Wu27ZAjw7H83IjeytZ76kt+1CRuWD+/3z0a+8wvNK2eDY
ZQvx2XzZkDfibFN4fD5e6XW74mPOeW+qwtGJdvIxfNok8lDWkT7saLLrCbuyltdmc/r83VI2pQlH
xzBSTe41YniiLBZO9/wvLBnIVXUX1SbT+kmp826QIp1Vm1jYErwGLoLcTKjwmeqKU7kc2L8bhXyc
SpHxIrULDqPKPcSBfNuWIHIAYjWwU1+P0KW8nYNytVgZiO230z10sqzv1ehl22xALRlQEYF70MPn
Uz95k9/ikXcPdWa9pDEW8WTioUpVv0CwPajcbM1Es5CWthd1vkgLZ6n0Mfp82Ivm/92wp8/frbgT
xwXhQJcuocPwglLzeqiu+bCLO+fdEGc7p+4di4jTckPuwWNp4zHklGU9+p/P5NowJ/fwbiYI7we9
JBjGACON0yYBTzpPG1X4+TAXT9y72ZxFBc3EuyavMUymzLCfcr9IC6/jkG9NLY/q1zQ/L/DywUT/
Gu+cI7WiUuaxhghoA7KB0Nw22+SWJECc1StysAK2r/vAfo4XkN956qGJmfgK0MgVxEIYRxG8jMRh
+fkKXNky51wEY8XdVKV4ojQRqELUaL0L/r0Rzs5CPGZ958xY45RVQQsRuam68havbBZ6+vzdZpEm
lUARwZrpJo70iDNNofD0r/S5fHh5Z3vSNl2QNyosVUMeGeqOaVNdMcuXM1Xv9sdZoMBTZyg7ibVS
/dccQN843vRWsRhM6rcW5LzkF1MGlvljGBIvdl/RU/fvnTt6FqKnEPCdM445Mp74TAQowAX5dMXP
XegH/HAMznsjqgbSjyLDKPm9JpGJOXF+fZtARRfZ3507M6xXMkyfstYbfXNtAOsAKNHSOFSvzX23
TVcQN2P3vQSmr0zwx+fb9YLI3MeHOzOifQPOzPh0Ik4c5SDCXFg+FAfDExHCEMbb+qE6qluwsXgT
OnM6P5g27HFaTivQCu8GAOeSr9kif9CvokAuV2p+bQ77bJvrPZrk8gkP1g63phuM89OQJkHeI23K
/Bg4K7HlamfXBzbdDrmG3QKaCDB3fb4+VwzGef/oyFmcyhFP0bffe+MRbY6ff//FwN+xAWf8mTK1
zmbJMmaTjsCH1fxHYiYAxcaLfuKeGH78MwM5FjJjjmWjGYYRCqai88q8ilnMtQZnjeRPSQkSlKkD
3X/uIaK4cqg+epnfRjovyuM2a83JXCJwTVBXrjXXy2RzEOAWM8028yadXymbuz+TbL8CkN+HPLsI
2nYr09zBkDMbgU0bVWAn2hw0g3rucxNpXvBu+MWEzZzk300S3ztlYwCzC1Ap5+k3txkfdKN3Vl1C
7uK6HPzMKo5jAva7qgUlF+TJHBfMjM5N4rpVWLXirm/Qw+QMcqtX0CE1JqiglhlwuaUCPV9mZ4Hd
u0/oFQ2HsZo3qGy+JhaadMkwaRtHdPoXSrJHo+D6tM6mWJoPc2eqYwW2oVoJ4Xi1JcUXSEzb1Etn
8qOc2Nz46BlH+w9yP68yH2TlM6NLf2Rd3oIgWEBQpFPNVyLiLjR6VS4EeLc82sySh4Pu/phQ0EH+
P4EmXpmg8pjN9bbkTeeRxLgvUhANWqZhLSaoEQcgan11uLF3XTML2sw8TGPVerZxEvKY8tWYMNBq
g+OiICAyc/sYTcxMO7Zd+UYmC9Vunt+DHlzgoswGL2sHukrN8gta0dEqZFVpMA/Auxed5imLRKmG
tn4eswVzmvtUpxsty74JSwYNqQ6Csc4zRPO1YMo8NCUO+KznaSgtgbMPks7aRcSt2tkfivxQufGO
VhB04Zm5T0GlEqTpnERoh84jKKq0oNqFBDeVYJgya9CvlTz32hr6pRRUePuuMV4akzURaYw5LEWG
5FMBVIBhbS073rc1Pfbt/NymA3ZxWryi+8uvk+ngVMXNUEAklJVrze1CNI0tGCDLiSt80RWRZhhR
r9lf5txYmnp5sFoI+ZrgFFUcVO2uDcKp9NHW420pcT64DfQJdFrgDoryWerqlmnlDl1By4k1y2ls
wqwHR0VL1rY5BVpT3TVWvIhda+3U+R3X1NauQHdJ9FU2srcC+9B3p/ElhpiuJ5Jx9jLAYJFXYCuo
666nOa2hP+guCzKEp9585ZqbmYIHl7OjqdebWRm+6q1wQuA25ehzqqx6V9PhrQV+X3XzG3WV8toE
qAnN6DzXlTdl2odlxqLYkttCgP8o6ZYNpSDa7VyvtNWLMcVrPXMXJRZsTHQPB+LOVPJVZ9W3lvNI
d2y/l02IJqNdPuqhpuqN4XZHMuY53vxo+26ioXjdVzfZ5K66CU2TVrEdeXXsFeQerPFNQRxZAmjj
ZToP6pLvipLeZsN0dOMy4oUVERyLebY2Vqt3nj623wbQnXkxdVdtKfeFG6/6lHxT9pj4Y9Kt7VG1
oeFmAVU9KthyWRnDUq/UrpIuQA7f01KFgD4ENJ4PXKJZ35LRJPojcAm3Rmpv7bF+FrF7OxtAHOVV
SFqQuOhzMHF7U+XtDBgSorjanMKGpt/NIntqWFwGtKve5EjCSrmNVzRA2dTAUWgZCGIrHWR6on/W
S+drTbRdIdM312kDd5TBJLNk4UjJPY10txoqgFNBRg/R740WTzdp1R9T5qa+oRcQDdCm/SS6B5lA
FFwTgaQiyupe+oKMi9EGIFuwNS/c0beo2Mh2WOtA57Zl7QO76fXtsHDjJLKU9qMBiZtXx+ARtzry
oo/ZS5YZfmqoMO7wFU4adY7u6xwNMoqDNLaUC3POo5kPh97t4C9Ai2zWaPtwwYfm1L5D4xQRLg3L
ApxsJauPveQLQsegnOTajWWkM+OY2hbw14n2TDUrzNErLUrpEwE6pVkDZI75aTpuh4w5WAyrDEYb
uC/VrHuDhpkGbpFmpkgWdckhL8STMqatJgtI/DD5Qx9Ak2j2k+1ZVuVrdbeqGaSVJ+SajGFb6eYX
Wvet5ygCUwgPURqVNwEu6AEIuTfHFnQ10t0LOq+6HIGVGIHEzKFZ5gxvlt1vzawOTaKiNAHnB1XP
aDw8Nia56fos7FK+pHOysKX2anKysMkcaqxLYf2GyIGEplJ0kzROWMjcB94kbFptnfa4P4H+4kfl
lA9plWwYqaPaUEvRyQX2E4rA1rSD17gDl2CUCPuFa9MxToiNpL5c1ejn1MtxC3ZybH4RKFaEg2L3
aBiJOoLrW5uFYLeMYsVXoHBexy6aR/R24ZTuNqlwl+rEfZfPR9qPN21chywHqUps3I1dnYTxQLwS
CbmcA4k0ycg1J5AnQXshziJ4r9eWqJ2WTHuu8q8jiQP8f1jocCZC09ZjXyW+0OZXdOM+EpGuwR69
5ibQWkX/tU/LKLeHoOdxNEBb3XaLp2nqw9pgWzR6r6B8v0MtNBCxs3bhpmRWpyAUsx54o2/7wQXd
C7KTBSEvNopockjCklkvA7SQhpwdsxncqLm5I8yK5irZQ+3mMM/EmxMSTFOKC6R+Z+oDOALcfpED
9pKXOVh7212dmI8ySdauXsNPjqDftuiCceNBS5sCmwn/omvkmbr1OgX1HlHcs4Eu7a3NLPv9BDWk
vN2O5g85dWE16x4ImQML1rSeQVZjV2+zmfuklkBZ9RBXaVjgobgQpO33Or3pC9PLjMKHNvadzOdI
ZAmUN2tw+uqQKjHVNssRmbn9QXPBPp4Cb25qT8g3RmCRC7KkgcJ2tlDo17HmboUo8YDaT+AUiBpV
6VekWY1GttRa6mnlDC16K6g3k8/1HmxmetSXaArOrWU2FqtCi9QQ2ujv4WX1AgexUqDGtDgOuu3c
9CZZc9AOe0kJmKJTHOCVfVObQzdJj7pR31mtEQljOFkEUPaqAHTex7rU7uyqeJQmOo9zugaY8mgk
bO1U9mLo+8hlsT9k2cpKh0PBTZ/ReM1q8sA5KT2EfYnnFm1I9HZnmIhLhA5J8TyyWmvvVvFNnLqe
2xWLJq6eCJFRy9gKeOqDZrQ3LWh0vMSYNhaClcnpQ1vRSMtmUM0YWeyrodoNTb+XphvSJJbeZIFY
3py2eTYthkJbDamxmAS47pm+RUvAYbDse9J1SBGo2m/b6gvl3C9rFSo9x0HTbrtBD7MxDimt/Kas
H9IYqCNbzU8qoYvKSlaznvlOzQ9AhKEhua22UzwHOPBbrtXbbG4WQykOfdxDerd70pL51bbLwJic
qLL0L1k5bE6S3ZDzACOhU3h6x/BG89QNSW+G3WhE8ZQEczVFPZkDu66XguvSsyd3wwoVaGnpd1mD
K3t5CtHEFuC1jZl0ypcN+yrjyvEcO8cNQ0J6is/pdkymFR/qRy7UXZt0D3FroGc61RdZAztbNVlo
iiJ0T/ta18OxK/eOU+meKfO9ybIDupmfq8ZcVzCP0GYMew3yyHYFGt/8qAm+lNpQeAj7B2+eWsQV
1RcLp9+ysrXZ2I+Oyf3WQJA7Z9FQdGHGSJSlxp2Zob5bdWGRJNGgleHQyqVWOm+ZkfUeo9Jr5vip
GtS9ruDX5GDvk7Hs/MEFjW8pSvxev7TrufRtyEhQ3Dxoa/wYOnejtC5MO5gllP2Kzg3MJF4yq7ux
53SFpjHuMaGvWYXMOihkEVwP43dnyvrAAqcILcrcb5I4FIgF0cCyQOsBAGj14E2IpUsLfsZ14k3r
gokHiW00ec0M7LZ16GSAwOdJBMuKq7Jt+SN4LuPCRSQvIhB53NQaLgVW2mt+zjnAp6WzMqx5rXXT
68xpVCu0T8OBtRY9ssY4INcdUgbZMq3cq5geBg4YsW2AjBwezjCK27E4LbEZqhn6hchBkVHfikwt
LJJDxq0c7zmXj03ntl6LtTDQfkFIGzZ5BUsltuiqjlinRSOfgqS071oF7zvB6cvS2qoSuVYGfEPH
bU/2fJHUbjgX2j4Ryoio1j01oPEmBgLcUjJIerhOqOeVAe5uqJ25RuT0CN5aeG23mXYlCM49uLvA
1hCFsmRG0FrE6zKp3ga9f+HVPIL2Mf/aaJAv1jogLLRM+pwOHIkh1JGMbi1MREg6LrLe0BjHpGwf
iTPeipJEzdw+57KNKjmmeK98a9UKkRDVt0kBHeZUfyoc+mg77XGkECPBHrOA/E72KaDorBn9ah58
18k2XdJvYyMOSe5YXpaCJKiVYenqN6U5LxN7BFp2Xnb1/CL0aSWS/l6W6B/N9MdRaqlnTe5RWdwf
Kxht7i564ewN04aBdnyLG75AEV/JIZwlPQLJ4bVS/uhH3Y/zae+0TuRQ3BzhJHtNLXiloqQSdwrN
jZ4qWdT21Za7ThWwvg1HKpZVSVYx5VeqKB/zLf+4yTPLsFzcaKATepYPaaUqoNiNfIvdmqFsvHye
Fj8TIf/5bfw/yVt98/e0gPjbf+Hv39D43GVJKs/++rf7usJ//3X6nf/5mY+/8bford6/Vm/i/Ic+
/A6+9x/jBq/y9cNfQi4zOR37t266fRN9KX9+P57w9JP/rx/+x9vPb7mfmre//nj9DrBLkAnZZd8k
6j5//2z1/a8/AEMygQ9COv8/34/yj584TeOvPw7dK0/eLv/W26uQf/2hOfqfjk1cnYGcCYA195Qj
Um9//8j40wZ82nUd4CmA6zh1/fG6k+lffxDnT2hOuY7LcP+nSC7htwSuB3//yLTAreICa4c0ImPm
H//9fB/e06/39h8cd7Y641JgVj+pX3+leagFAAFhpuWeMJHIcpyX4925HtuizxxEzFKIkCgr6QLQ
sA1Q8gBEyxhqv0ZS2deMoQvUeKp0gXTRO2VWUM8KHQ2+1jb2g21BAaXogtiYlKfRHABqFyYuf6Ll
oivznSPtW8esX3Ne3VQUx9qthT928VOW6CvbGXABLN+GafSFk63QZf7iAghUugilZfzNcsQR+MPe
L3ITiQhn8oXE/RAE8HJythwKE9yCyq5khyZPwlbo0CfqZ5/JyaMmUBi5Free1VlP2Yy7hRzFwYyp
8GKhPZKueCAOKn4DbjhD7powMc5rfUrjIfh67Gr7dmqM9QjnQVMeZo59CzYPXxuySGMMLEcFjfJT
ntRyprcJoTlYLpLH0ewfFUNFsZlvqZ0cZZ+8zbZxX8v2kCq2Qy8pkkT9vI2Ju0RvwkOrJRGrzaBt
moVp9Atih3RuuV+A1YYU+FbZooSbE4DTB7Vk2NQO8P0qd+9o0i7oMEagdrxLrV06UE9mm7gKBUsP
daV8olZFnQfwOhyd0+70QroXwMAOquxWmjbskC+y8KrRuIh0J2KGpA0F154AydU9WstNRss1gqIy
fRtVGbcrlwzkmCsu5GYaVc9BKpWDRC/lK1bS+xLNELXXOkIsJk1fCFsjd7nbxnzfWNbMw9HqFnNj
dUASExHg1d3MifvDyNt7W4iMLRvdSqXXaT3xh86ClDFFFKV1A67OcXszluCNWZQlhLk3fQltzP9v
x37asRNx2/9ux0Lx7bX6mr3+bslOv/fflsz+0zVctIIS20KPOqj5f1ky9qdtWhSZcPRrAqPm4KN/
WDJT//OnaQFVBEP37E/BoH9YMnwEqihXR9+M6RoG/vxnLNnfKb0+WDKg/GFJKYFldIF0wUO8r+HF
1DbYWEhnGVs1K3Zj24FQW28zXPEmnkc5026bpPItpGCQ0pjKEJqy9TOpBqaHttBAGzLRpoN/bDSJ
Rkg2on41JIbkB2R0VIr6qUi/DWhI9qy57baORsVOQVgYxRNO18haaBBk7of6zbJ66NLrAsEU8KwZ
pFAgiDvYghxrPdF+xJoOnkLO2AvHXQzZ5KmCdpLJ/Lwr4ptSTPopqlC+k2eBgnhMzJoXQe1o6LNb
sLCvHdaDkFyMfqk9jLX5xWqMDZSebl1hO2HVNDeZwWwEtbgmIIO3cRJzASu2GBz6TVfdS9FBHcrh
QE9JtC9Mhh4RVlReLF3E74YKBHODfoxnLyVdNKlh0wDK7puGu0zbZJcN2uNAuxtRF6GD+Lfu0CKQ
g1NcxtmypQZaduWyTQa/c56sVPiNgTKTgbS1HGEs84k8pLhWGdOwFrRCEiBDxs4NnYpvtIFGJgK2
IBcO8Skd1zPqyXUbI6U5L4SLBFclCVLjXXtMXWDZy2HbtiyIabXQSnbom2yD6PCeT9l9bcb3SonG
z515O+XsvjGaZ12LBWR0FXoNrBWydIdcDHs6V0B5xTvdBjPaON5BZRhEqs2qHZGpHlj5bIrT6wFV
tTey6j62BTpqhhfHGlckQfJ7HPR1L/uQl+2B5PnazPmDno/fOmNmqz5vkZVz09vGct76yd3OMfLi
ySi2mTboK61Pnx06bJmFq7qjYssDNzQKkvPeaMdX8Os/Y663iQA1h2u9VjVVHmiURhQP/KxKVnDR
ICg146N1otIYXbqLq3gF1VLXK2iBW3H5QpLpyEgRpaq8I5q4MWO5VmzYdS0/trS+z820jdyE7brG
/RIPA/ERbH8nEKGcm6kNYqfCPSu2Ss+Iq0eUoKDVyPGuM4cCRDk7wi90iCeRqt/Fg4EEYwanEY5Z
kXJQWqNeBVBCTy0fNTSFKpy2pppkkSK4EsopQU+CM4eF3SBTomernM7ZrTnCCyPjOnk9yR6QNECH
vUHnJUnAKKfhyzzRlXcFCebp3iwjDVK0iT9zgyz6PH76v+xdWXPcNrP9Q5cuEAS3V5IznE3SaLWk
F5Yk21zBFVx//T20v1gjihlWnNdUJa5KXFITQKPRy+nTMhpa6ixoVnFSo+7b9bLjw43clMUAsi9A
bSuE4MwZjFdeaVY4NMg+o06iyelOrsTLYHJbmIqHfAQ/xtx8IjHikpzXqyJPYkcE7TVmiqlWmZPL
OECY2CD8jExjk+cMUSzvnb5idyhAIdbzgSPrKSIpMCCa7e0QM0yGRyhnoM7kSU99QzG+EdlTrh6o
CmA0UmUbpMV2CssOAC6utcp0JBpcNXmBuYmoK9KhcPzOrC0ygHOuxzh7DqbojcLLCG5ABdSCWWPa
Ems3Q8fWREvECsHbIRDE1mL9Cq7QqtKCr21ELyOj26dMsxuh2n1co/ldR/q2i+55D0Ry0twInb3V
RrPFPFocYLmXUlTPhmpEZWdvSdkVK56ljtZEDvXNDafRKuZ0JUrfaf0AoCQLEYet5pbRxO5Ao52U
G4UFtoQND4ttrpuvoESz0lzdpaJ30eXvmIOyJrQDZxho9CoSPicp30aluVEq79FMy1WSBHes7Rxq
lKFjCvUqKtRvOQx0QIx9VnQAUVcD2Jh0sJ8iSuO974KUYqWrEB7KgAkDF2Coth6Lr2pH77OUvwya
ucWorHXs6W4p9BsvBTtGhqY9pDSEujab/kYYrW/VerSmnXbsmmwfBuxZx2APq0vFK1LHyRF5dxTa
Av850FMPGdDwKi4779LwKs9RBA9h9zRxZD62u5SKZtWl0StvyVVG+ZvC2lVZaLVdRAEG+urKHhlU
0+66SrLbKhyOKkcGufAw29YbohIFgH4sp0q10yQ6xsYg7rVKEt+lcGhtVehrXqDCRZM+Q5IyK9ac
YDJJVeWF0xsiCVZ5Iv2CYfwX941U8n/vL128fAurLP3sLo0/9pe7pHyRdcR8ugyWMBW5JPzVX4Gf
8gXNsvpI34EgD+0Ap96Spo4tN4jwNDhHADqdOEvAQaLfGw4WaLd04584S/JPaMIHZwl9NUTWGIO7
RvGFE2fJN73CEEVcbsyOjGVqtFgVqNtL6HrpeK/cs1RJrbIge5TBhNUVBqhG0EJimSHmI0kRa/ZF
RH8ofoM+TLXDG5KzFcmzyEqKsfwjwAesoeINDJW5T8OWOook5TZA3je9EIVtGE130EBNZkVjppNL
5KYs+pWpR48U82XiILA8vU+cmgX5tkZp3C599RgRZCN1ktwzSUejcZbrdk/iFajsVi03Wyce4gcy
VEdm5neJIK8h17a9WYJzR8UjTsNh1+TDPojRoSaHHduVSfyoqK0bqb7ptHFyyXHj7K4IH2ojV+xu
LEpLlXlIFJbYPiZDlIp2DQ7x5z4qH8GI+FZq/bAqUVOyacgu0ZL/LPQS+9aU8phivWuBb7AIJlRL
vbYbjGZV8FZzowHpXF9TnIrhpmNC0zU1Qeik5699r3ZWR7xVEJmhZdQ18pLkBR7NmqPpwW59oCRD
VnhvEs06qbBCBp6pDhGgVXVZBxsUHxMS5rbiSbtWxNm6000QfHg0WBOh8JXaIOJNvQRhGKovge7d
9azvV13bDVuViOoiF/hpNUS6Wkv878TETBpgTyrL8LCBKUMBk8csv8wq/VvpVZdc8hOUxdvGUpGy
W3UNqn4dZiTgj0cv4Ot4qJHrRkNEjFqDB8K2xGiKFUjYb6icZEBlZhhZxzIbVDD3Ja1vMIZbtqW4
Sx2iFzt9qJBroznGusXaSpY19HkIxHwU+HcXPIkos2LO1FokA1qdzWpXKHLuaNQ7Bm27LgPlqYmV
+ziR3jQFKbaeaKsKqa1mH0TwHXcGyZA51eW6S5Aoxr78F0r+CiXPpsTWyYuffC8/m0aGH/vLNMpf
RqNoyIjRkFKAvXs3jfIXpLtUGECYR2TLTiJJan5B0xT+D9JpskoQMv42jvgrqslEN3X8vpE96B8Z
x5+zez7YRkOT8WUGxcx3UJtOYV0ai2STJ6rndlWg+0+Z36BxpJVNQC8qFTeWZhUUjsq3BjPR6ENz
UHz5itAAWjINH0NSgwZVKpA68XQdRz5wlpj9ukp4isEQUVBuUlO5LyLANGrMSJLUdMV49cBVBdiq
ZrAKmew5PDud06diqC9Qdl3zIb4yQWcYhqoGZAe8kpxzF+UAVJ4CuXF0UV3SlvZuwVHG8LWmOQbo
i22furDANZQCSdyxobstkxpFzTI1fcfMkmIXZ/BrO93T1rqGFLrOQOWoZE6H0dJukqWgEyvlG2Hy
Iw36LS3XanA59A3sEPDUF17hi//yL7/yyAZy8n/vTyBxG3++MePPnNwYBfcESv47VfyXM0FxmZA7
ZuAh0xToK+7ZexZZ0WTcCAreLobkDICSf2WRkbFhCpp3TR2907hv2j9xJ8BFhtzKyZVRCdqwdfR4
yoaG3BAZXZrT3Evg69Rvm0xxiyF4JLW6avR+06XAGItW2CrAOYJH1yw1crvwVGCC4jC2q7x25Lr6
EbbiuqXqRRDVTlkFmkVIsw7r/t7rq7cAg4NAC3aFecTPMRUHpUhBsoQEi+dl4GpXH/Eo5lavaG/a
oLyaUmbriGAGJBYYXv/OEzZQKkhPlMaDWhUPZg9IRzlchRS4oW5AV0mbHEicrhXJeCha+SEt2vse
7e1Zm299P3QaqV2RrnJomO8KHri0q4F+qQUe4i5uLcwgtvwSWDFFipE/Ka9RYbJkYfi22gqU9NuL
xpcwf1cgbImb/NooGAdkUXezzkPnIrXLIL41fDDne+mdKsNsBBUQjxXSJNW+CrJdjehwl3ZlbTe9
l9tdVCuOwYoNLbWXoKt6p5A5hnl4GjA0VWz13AexfGBe8bgv12VNXzFoqlx5urbGsPgbMNZ1N2kz
wOvAKLgi0p9CNd3oHTJSyMH0dq+NU1IFxrzAhIEys5IOwMaDVLU3H9NcekSa46kypEPZ0GNq4Hey
FLRlpLws2G7ofZAAoggb1pxcarlpecqbWVFLC6unsGi9I956FEzlGGXXSKzrgKR2mee+W7U9xlGG
w4pjGmaNqcjVoO7NNP1KqmGfluIRZdIXFZB8zG0GXKDV8rdEVbc99KenxjFJgfkh5VOWmehXU1AT
rVTDwwBkkOsjGgN0yMt2KqreQ9Zc17FeW1XWP1BoXVRWOdqS4WKAyfrWi4CP0vs2QK0YIEZB0psA
rNo2jF9mNxR5OW7QtVTp1wCFYgquYGn93UhR7gf60NfsQcAy4xfAU1xnnXKkwlCLtZcYCWgqOpUr
ey2qh1XEM4kA90X1lSwVnWeFSoSTi+uyeM4J4Ed9gpMrom9BjMnWpooxsmoP4+8ndbCRWB+Ctlkl
q14b8y2NsY8q5AI9D2gAKyuQObISL6wG+EtR2qCqock5cjF10u78EM4QALAq5pJEoEvegVPSG1xg
yopH1asBy01DYfR3HeFVZklSq3foH0iQgf+FZv4vbBy7cf7ezK9RLoyTcCZuHH/uL1PPvoxEnnBi
ED4i3GN4Bf4y9eoXCgIKE0l4GX9M0uwEzEtwWxRkv+kHU29+gXkHSwb+BDH6GIj+g4LhGBeeGHoG
lUAbnoLCJOJUeHETQ2+mXa5RoH2RNEU/hVa7iUfqA9CpaOEaqm2fGBLIlv18od9j/LWfxMK1Q91B
NfHQwfc7fV+Uum0I0QbASJBICZW3uH5s4WOdnAbe2N7P0tNi6OQR+7W2EcxPGMoYKhnr6G8vN2Hq
j5XT/xvqsouUtgWZivrY+U+t6F+SYh8l6et5OWiTm1mOiVor6vEyBmVMOyBC7hnAngfNRmkIpmrJ
dVwjYy/XQbthZiW++pokqJUDV/vae01yF+WcGE4fI0YDTFeF/5cqEgWNtcbZD05yeog6TVtXYF1H
R139zAOYXVDeUqCwlTi50NA0fxHpim34yQ+dk/RQImcKuihgPg99SL83UvWiAFKVVp3bhRFw1n53
q0UAy9aN/KIEHKhDAHpB3lxHb30pYjvViGqjKPgjpOTG95UrLy49S4qrH2pZg7AprdaIidHLSzW3
8PRNlqHtyFOPouarskFOm9d0lXjdBj0GTicZa49GF6A6R12l2VGluFB8BfhUFkZ2ViIOFmZn4X10
qzLap+kD6IK/lWm8J8DW23He7ose/K8lXjoSOCWr17CEjoLHicWhjlidWS0+0la5d8DXA4Hkq/02
yvvkIfLMvdkX/VPopyCkaBAr+0zpXWkEHvoDkQ8xAJhOGPXmZcZDhMEBa9YaJupscA0TzK0AA7Ms
SbKrEzEiinKAzUztGI5VYg2wPqq1ewI8uSV3CoIDkEpZqEwFuZrvUVu4x6Dt7qBSVKDh210BKuM7
tCUHxUBtQ6mLow54ocJDIDcH3rngfkeAzgdAnUCScsRz3uZXZd8XaArIfeNYaaS1q9g48Iyuu2SL
4OVarnTFikwVH2huEjV60wKartMGU+o1AJPWMhGvLOoeZCQNrcrgplXl8l3VgwpUjQFw1QbpCvWf
PUBNHYY4ejeZCoB5Xht3UZJ9pyp4DjI/JpdUi4AvNsP7No8He9Dl3B7qPl7HbSM5Wc2yVZqSo4dy
mGPgTbW9DlNMSV4IZFyrfq3EBorvbbLr9cbcMJFcUVk8yzEx1yFneI+joFqLSInXWj08iiQJlWPU
VOxrVOqXuAl3iRflNuI5+S2rtSCHipblIYxl5SDhJlpB44s9BoFcybBWlzqGt16hHYUCDd8sdOv8
pGH4YK6gUCqDNQYUCGXyMfY9tSReRPSyAvX4JslxLHlktUXrFEoBRPMxSG/lQrKS+qlm/uq8ZfnY
JgQwx0+5BgAlijzGwxMz6cVpo3RwbDYDf46bh/Hp71vMN5FBZf90XtSMCVNBeww+JJD0UIbi7Ycl
AsknkIfP643p1YecNhYRfKPXd/9OysQkg74f/SQJpKCOY9UEY0S4k5VLlBQ/QS4fzktD3Ri5UFkG
hyeQOpOmycggPmpnnthEBJ5Pnnk/UtY4rZFlax/4TbnGtOmAVontBRJz4zoG/VHb7Xslu/253v88
ozEi/HvP6CJLy3Gqzif4FX7qL78IaIGRH48BxSaDu/ndK6JfTOAOVBUE/Cj9/8wm/RUAq1/A0A3u
KsqQjR1hTu8BMEOiCSyqgB9gbA2QAfRfeEUYBkI05IrU8cPwCVOEHZdyFSmRunVTRXY8Hx3KorMa
eVcSVJP6bdbRBVdlctE/CZyk7zG5IR2YVLVuXqF6FouVohZ7ILg3+qCsJF5vT05jxjOaGrRf8nTd
wIuGGB9Vy4+3HXzujUcAJHQbTX7NYp9ZviEM2+D9mkTVXSViV47IZVWCyQXD4L6dFz9xzH5JN2BM
4fzBOf7Z83zimKlFlxohH1eLKmlvSDvO0u9Nlm9L0ZQLOztalBNT8EnW1OIADyJoiKMMq/6OixKj
hIqF+SlLIqDLp68DkCJp6ylYTiBgXOoeOT1AWxc85hkhYLfGXA8DA09AHj0RkvpI+vM2at1eRbaS
hWVtmSgTnj+Yn5wsk90atUFh49Q3+on9P63TeMjQBOMG4CMCeh5UA41hVQGxG+UijzAGnYAvWOts
v9UsRUUh/aAW4AtprRI9/GQ4MPogwl2u/A/J9QGQeurLT6lsxnP88GX04yaT1hM+KiOtq4TElbQ3
D2Uswg9Jvze6W/OlfXpCqYfG1UrFIDmE/82V7oPAKUzkuwh4jjhol5iV5jcLubMRhzvipCZHomdG
JrWAX7gxi+xG96x+uKEGkhvMCcPNYFyEGFgjyD4PLtVERm8JwO1w9HhwyFiA8Y36mFgC29/b+UOc
hHS/durks8bbd3K74IygKEO1xkVbXcsqB5PKvks93Cf9RQMNaQI+i/MCp0xanyROntsEWBe4uWbj
AvHnNEZ2BU/I0qXMSk0BkI+EeQ4Y2wNvENYWHYiugebSINsL/6Vrr7xoF4lvQSGvpO4uY+k2KeJ1
0Cyq9mjSPqk2QyiNQBC5zamDk/mJVAam2rhRV2+SWkV3FRri6UbRn1AFWJs9s2IAk6QYY9Tlhe7r
mcuLYSUmLB1qEADWTcxt0deNhLemdhsaH5CuXBc6W2C9WRIxuR8xRTvhgI45tw9MTJEKkSuLmHF9
/qSVz+8U9k6FxiNFjfkryD180K2Im1LDCLpdepvYhWVa/obYylqz+QbZqx1YFjfFvW8FTmg/9Q7o
7NedbaeWZ1GQNse30pFs6k2wK6178H8vGa/Pij8eLMpM8CrgwRqT+4hZMbWehRhZ5z0nyJRt24tw
hx7sFTBS69aRV9o6c7RN7norbXV+X6bz+nADIBrzw/CiySj0Tye2AMXiBZ7XVm6g+rceD6JLZAli
O2wU4P50eq01g6sBuAF6SFQ6iz2a1FXU3j2wIIbYQCXCdSGVjfhwLw3d0jieceEfVR8cxAxbA4eG
IRc12RgAEsc4H62gvsjsjr4USHIbUriwCVPW93ETDFkbK4Cjb6b/zJKcGB68XgVB25dwtYt0a+yU
N9UJr5w9KuWH6gJKcYXpxbeo5K6IQ/fSzt/6d8beWHiMZ1ybj18xMX9lNSRVyvAVvF95ieXtOsMa
54AFtvYG3CIK+OfP/vPFYwYF9oIaKi7Gp1GsFJPeQI6oCreTnsOW2zV7PS9gDC6np3cqYOIbmq0c
AbSAXmnZuOq1S5HVaGR9igfM3mWgSWECsPslZrWZe24gt6gB04LKLapOH+85BuXE6C0jwlWoPeby
5XWL9tTQYplzfnGzu3ciaGK2EsmUVI8MOC1g+/MUMBGUE86L+Oxt4oBORCgf15LFRWEaFCJkpL+N
PreC/Eikq3DJ01zas3GpJ+pftwgb5FFOrnS7RJZXAeku0ix+ieJo2wi2MJ537lKfLmtyqasUBNZD
jCMqYvjoHgASV318f37rlpY0uUu1CjgbmJqwJPMeKTf0TQXyBaU2/3peztJaxu842brEN3w/H9Wt
Lo8GqEVS/SCCh/MyltRgco04q3spCyCjFNEqUNJL8Is6oU5uajk4nBe1tG2TdFHgk8Gra2wb/FEg
kxInlOEg1okt1SgqVgubN6WI+ml3AeIf6WuQv/mU7dAT9FcryrgytOvUjgBZhOSCjNCKrPvENYjV
01W+RKE+e3Hx1lLA11CImMYjgRxTP0lGqySTuzqKV+ioe/6DbTwRMdG+MGOl2XpoMB7QWkdBgQBC
YXQG+5eJVi2YoVkFPBE1UUBQjZdKISBKbsBfF3lWlVzHGEx5fkGzlvxEykQF2y4LtcSEFLgnCcYj
C4QGNjkg2WbWTt6756XNKvyJtKkWZugCq1tICxXDUfS7kVgo4tRO49V5QbPq/i5oSmaU+UCat60i
3Ni89YC+Y4gaGVBzPrPNaMnLmHHykLX4rXcjQvODqQBRArqWsKr4QQ7B0HTdbbynlIPZQF44rSVJ
k6cpbUIzaEwsyyjsbgC/hbarCo5OZDATeJHtl0tD3WcPbHxt4UjBlZpGKJhf4yloOIO1bXobkZDF
veeKBk6mL+QSZld2ImjyUlU6N+OaYw8734mzfX4c4K/JKE2vF9njZs3Eiajx4p1Y9t6ouAc8P5Rw
7HaQv6NE8ydX90TCxEoUhq51WonFGJ2yMqvbsTtkqBdUfNY+nAiZ2Ad/wBRsMIoLt4kOaJtGsea2
QXfw+Xu0tFcT8+B1Usz8CHY89FQbKAYkA5cmxC6tY2oTkDxK+wDrCKlu5zWIqwBES9fn17GgxwzF
8NMzN5sQKp5DiOZ3VtQFEMRXQQeyyuLmvKRZg/p+LFM+WT/OJTAbQLsAd1gnBrc4u5Pqb2W+R5SG
Thdq9UtDWxd2kE2sQmCQutF6HFIDCvZo8MDBEIKgii4Es/O6wFD0GwdFoq78cQ+DRDOjtISYhB9E
exA8WVC2+UN6FzBZB7qryiIA8Rn6NYAUTC+q/tgN17qxcHGW1jFxvrWM1aUuQYxRlDYdDFtdjFXm
V4IYjKLa8xneGYcGuDRS0OU0aNQRebWWwSoHcjKjXwgt59fyW9D0neNDnsdV00HbMH1Y8541f8Fv
XBIwOfRI8UOWly02K+m3edvvKU3uz9+YefV9X8P02EWXh5zjPIR3T+va0fntgFrmHwhBKkDDv4Ak
Tud9gEGtlQXHiWRmY8m52yfg0TcXcmqfMYp4I5Fr+C1lYss8Pxoy9O0JF7SN1aZI6tc05T0MZ3nb
4GFryqxwpEFeG7kpWX1nrtBsufIEWiN1VtkSQ4U9aIYLjXPtTy7v+5dNDWAWo/coYzjHQf2mh3cl
fTy/v7Maj0ItAXJn7PsYD/nkUY0JOspCrRFuEN2gOz8eLgGZDOU/ubonUsavOJHSR57mlRVW0ZS5
1VHFklDmPr+QWUfkRMTkWQ2o1qMPBAvxCFoV62SdYr5Uj0Z+vURHwyWpFphEZy/YibzJC9tluRTS
VAiM3bzPVZR/vfCPjv79aCZKqeVqijI7VqQqGgDYFz2qauf3bPYGAxmma6ieIpc9MRIE0xwCTrXR
SABP01xy/6Vv1/9OxsRK5EHgp6oHGYlhrNCyCKBks2qGfzhz+VfgagJYgY4q0MFPx7lXAqO1UYpH
2J+jHqKAGE5borWfksFPZfxMF55ocWjoZVxxyEADEMbk5G/8EljLy5E0uL003NpWH6Xb5Epz6JWv
WNUh3lZvA1+FtnltlE7s7P4hXfqnD5qcXwkETdzW+CAAa0oxOIBYAedZLZzgXEYa6YDfe/sTInGy
bgxCMsX4NLqlwzEk5iv/Htu6S9YA8lzqoDxavYSOcQmipHhB8qxPhnYLZCJQ2tX1yZ1Ws0jRggJh
k/csgWOTgDvVWe0aZinZgqTZ23wiaXKbZWPQA7VACoLEyl2cZi96J+7OX4TZ0PZExOQ6I0jKW3A7
CbeSjgAir4BWAt/kAY3gGGK1lEmev9m/d86Y+M2GIXSUViDMKL2bUEoRuJO7hi3FtQvbNq3h9LCC
6LAdt616wYYBh/1HFup9Hcrk4Si6qsg1rAONfpeRFB9YrEgW48XD+cNZ2q9xoScq3vW114sWchIB
MkutAl3Utq9+nBeytFvjR5wICcI8a4kEIQ3Y6poqsMylEXxLy9A+SlADFfR4Oi6MjidDjZ5GSq9Y
fvt3y5jcykjSMWJvPBMw4Vgp/wH2t/MCZqrhcMfer8rY6XW6UUCgJ0PLIUHCuFi0QVjda3AFGMkm
dYY9/nPrZtQyXWHXKP0Jq1Ld8x+wcFWNyVWlnDbomYFad/0RLd7olrS6VuxA9mP5ANieF7agFebk
qmZSUHe5Mj6Q3kXKXgD7PP/7F3TiM/Av7GlXQSdYelSxnV3mWUO+IGRUrE+FpfcTMyevfGf6SUBz
nFja7eMYTGLgjALf+UJQM1sWPFGM6TjhoR1UrQ0gBuOEL6tN76pWf0Muwwf6YLjlmv4wnryDL4GW
0ALJ4ouy6jebWxXVunohYpj1Nk/WO7EXIvONthw1lIubEiywIcYYs8EaQH4Rlxd6ugQQWVKSycUW
Gihiigga6QMbE4LTjqcLGfLZYqeCfjCDAYFC5Ck1vkgHYBpKLIlhSIIKPWkkm3lXYXZAt4GlxdcG
9ayiWtjIuat2KnWysEExfPQEQSoI9frOiYiDXJhi2HzpxJYEjX9/YnxNveF5JkNQhwxlA+rMUFSv
IDUCg0vHnVTNfpy/dnMacrqwiQ2L6JCSJoE8ch0dQDiW5o7IdjmxoyWjv7SyibWKY4z9iX0YkMDY
Nmi3TjfoqTM1cKI455e0IGjsTDndwqolKnjAoYShB44RA012CkBUnRjHong3om4WVHJhC6fTY9K4
H8p21EipcnMD3a3g+c+FfNvL3z0erU0eLHgbc7fs5Mym0IsirjBHTccCZS2zVb21+nJBwpwxPpUw
sRtprQ/Ci8ezCu5b8DnLKlBOkbI6f1DK6PhPzfGpmMmtqtqCU2kUo+Cc7OSu+CE7xFadasNcvrtL
b/2L/GVYKbscNHR2eAECnav0mN3n+/hQH7Lb5L7cBfGC+syvHY2goDVEvDmFauYJq73Cw0Pk54MN
T8XBuDVLqxfu3fwZvkuZ7LDec4WDIBFK0zJA219NpVs4w/lr8C5hXOeJJdGFFuiSAQkKeDwR3GUO
2PxQeINKnj/GKfb8Z3yHlMzvHZscI2KQCn3okAQ+7i0NPAw5Y5jwh66/NE1uuNKD41h3qzTYD0b6
0LPawjDPhVObi8FOv2FiN9HDlUUAkSLPMWxSUAYTqwCBtx2rB1AFL7hCs5HmqbCJ0cxJowVminR/
tuq2+ldxpzhsVegrsHJI19IuB3vNjXLUrwy7/3p+r5fUZmJEpbBRWV9jmRLYcXIhLjw1WoDVLej/
dMLgoPR4EMYXwST0u4ScjA2W4GMl9c3CNo5q8fn2/1ab6TRB6kdeGPijgmbqtgBfClG+oUl8lQab
85u2tKKJ1ydlKsUQHWxaMQxWxl+bpLUZ3/47IcrH60Y8jPTSKmxbAAqV7gelgH/9j5HjbyHB8y8N
uCNUpDnAIzFJpHhRavboAoH7+uaBvBkENS2o+e1MXfVswXosiZrsmSjKwh8wqsPlGA+v6N84aPvQ
77WVa7bLAkwG0BY0W55X7ffFTTawMhBeyDIkijV9Id/zu3wN8jDd0m3tEeDhJEZ/txV8/5NTexc6
McPhMCQYFziqhuTZsTw4vHsg6YL+zVvidyETSwx4MKlwoCOmaAs6ugosXr1VKLDH7h+sBu0jyJUC
m0enTVutXDRVNpbQagUQ9vBCRZs8H8KFezt7UO9Spv6V6qUt+GrGeiDAhkb+bMoL+zWDfAcWYGzK
0mFjAMUbN/Tk6Yo9Q2CMh467tM0emE3v803mpg5/Zna4clc1uLNX3X0lLPlPLvGJ4PFWnAguZUxs
zWIIzjFnppaGLR3qS5+0t39yTr/XN7V8JCG8kcGq5pqJt4+U9ICptYhn2NN5MdNZ078e5vfl/ESx
nyxHZE0dkdHClmuxlQ9Awm4Gt3YwW+6qXjizWRt7Impye8MkHLSOgQTKzMujJFX7rIue024xDTH7
aICoRlOAckB74uQuST3JK6Dd8c6XNzwLbRaC6MF/9OmSAZxXQtCw6qDQBtB5ml1pakzAa0NIouj7
cJ7XqD1gIEe6wSich0sCpFlxldwrT9/KaOF+zW7lu+BppoUWYVYFTdC7bV2vhIymBlAPDn+CEUUn
EiXIV8sj98pHVZc5BwVp1iHwMzDjr70wKtVSB0x2av7kTgGDPdap4TRNgbVcbkuMuUBpNMzk1dDG
biJrWyn0F8TMKsaJmMmD5WdxqYGmFfmpuvymIClQD5j4lRF6QYLyD8riyomsibJz1OQFSE4xywnT
KcxkwDyh7+ev7uyTwTQT2HpUe0GX8PF0mFKpmJqE01GG0gL3KHAXmV2RYzTcddx3zgubrSsDtD1e
KfAGQPU+SkuVbKiFhLpnPagB5nHBce5FsDazobTLId+nXZ3bYGKNLPSaHNWSYVwFBkYE5kj3jc54
v5TdsATFJziS/+i1+f1tCplE832rVlVb49ukDLO9gos0Chbu26zmYPrh+NKgU2WK6yxkiRpSJsa9
7iJrMDqxCZLS7Ur9Fq6wsaCn837Oibjxc06MMsXQH7ByYkGG2+725mN51W26TWwbV94VdcQFOJjP
H++sPTkRODndXAvaAjx48BqjHuMKr8IEG9kuYLNnnQIV9NWmijII6mAfV1V4XV70GVZFPHjylSZ2
RZ8svDGzCXcAqXAtMGsAVNwT/3doSwyQGsrxPVPeOqe9LOzqOwaOPWEW+rZ2yFrYoLEv782t7iwV
oWcXeCJ7Yl8wxxG5da2AQ1x9o6EyDgBbuIazengiYbKFKW1jI1CxulT+gRmUdjK89nK+omIhlzmr
D5h+BtphbKY+JYfrAY6NA8z+cgcf3Gs9eIFcP/oTZJ/yLmSKHDI6U0gyg9K1xQ+O4bbV/R8oNfqV
8Q9aoAEK+ahvpKyKUC0zHEcY2Ky5kMBzXCzhzGd3CvSnRIE/CkGTqzrytHdqVMMu0usQE1ErIVsD
6gbnl/JZs0ZUg4LLA4obglaej0tp66QA5na0P6y+RlZhxxTt9ryIz6oFEehPUtBGjkOZvsFgOmFy
peDIYyRG6k4Hp6+JARD3QvXt85I+bxkkQbc00EeAW2f6cHlGToNAw7l3BC+JnoDN8r4HzuG8lNn1
vEtRJo9CM/itnke4jENlWiXqoFL3Q+C1lPq7fydocjZ6hvCpkbBx4IDGWBuna76xBKTh9PW8nIVt
UybWhflpVPLxgFSQ0/Jum3LhBMmCgVkSMiriycuDstSQyCl2zSROwWIQoexSXywIGX/Jx6zOBwVQ
xo84ERJ3oMjzAihAHG7V9HpYdI9n0o0fJUyuPibSVH4V4b50nK7VzrsuzReQ3lsYytpk9EKwCDPc
2GHIgsFGg+KLoQV3509rpgiFT1BVWR7bH0FqPFEL8ARiakgfI0Dtw68g2r/sQEg7ROYlhl5tmJTu
MLrKt3o/3fCyuTkvfO4UwRKqo6kRvgru2McNlpRekUbCWFcyXgf2klMJibMFJ2XuEE9lTAyfDn5h
TEYdgwNTeog6cZmn3fW/W8bkFGW4lFFfjWEBEJPU23AtsFW64KjP2Ql0ZYKmWpXRpzi1e5FE49Cn
DdaRJDdSEF+hZXU1lMWx5Hm9YPlm9+xE1uQKgzdeTZMKaqmFnVUqVyx/PL9jY/JherPGaSMjP6WB
7stJTECCvAhNH69RyMgzhtM9yi17UoSRghe6eAiU6A1kQAul7Flle5c5NbR1TBo5GLCoqtBD25Pr
vdKw214Dl/L5xc3tHghOxpQFCD9BA/RRqwEvwiyiAIIaFhxoaF74Xriwf7Mi0LQKBlJ0mmjTSxsK
tUi6EDZWL66Z972Snv5gCSe/f6IA5RBhpCMoRtyAISwq4mNRqF/PixiPeKoCQNlij+AuYLLDRAVy
NcQEtwYqwJvkQuQSplbKIN8lhh2CxrooyyeVEPBF+AuXdX7rfsudenOdxkuvHY26BGVDd7HvLxUD
5hTtZGXTJice+EWT/zTqPsgtg9AJssEGJ5lzfgN/ptY+7yBomSmgeghTJnrW9XnASwxIdVubrP6f
tOtsjhtXtr+IVYwg+RUkh5OkUbTCF5ZkycwJYMSvf4e+961HNN+wVq82uMreVRNAd6PR4RzdyzDZ
uY9f86vwynSAQeOXO8PJtuSQnoqr5Aq8h2sjT4tbqSKTjS5m3TLnncxNUGSKFuADLPkUg9xZSd8v
L3HhNQ+gxDMJM+c9gHymINM1j8zYDhDtPkm9rPasm+Bo0XpDthiJb8KddR35lyUvnuGZ4Nne9rXa
Smo+7S0gnEn8U7f9Cid5Wcj0Q/46wDMhk5c8iy+yjODCGAuUCcydUK6lSrgq2RlM0ICIFae0GGpg
9g4RrWrirMBU90XYIMdyLgmsKG7UOz5olZsWJKG6KoHARstBgc4+mDUAYguDmsI6RbGy07VqDQpm
WWcmFipE1MCPmoUbcheGAVB3kduCcaQcDBn2w+VdXboo0cv2j4SZ7xrKsRpFiF3tyB1Q+hxg4XCd
oedkLZ2zJmi2o1y1JdCvQJCVeboRAro79zQ0YQF64xv38fmSpk09U5R2KC2L6RnCRAMYzvwuWnsb
rJ3KLBCL+8As0w5L6Yt4Q9L0oeLW2oT9moyZLatxMIIRDCcPkhyAPFsxzQzQwl4+/EW71TSMNQMr
Bk/Q2a0CfEFR1XmCi6s/aJV+pXStg0mZlVBicSl/pMzb0kHVkKA2gJgZlBKg/wtPrbXWkbmykL8w
vqw6SIFDhRBs8HKtnOCxoVjNymW4qMJnC5nZShGXDUsnKYMARBoYcQJd9m0QQjJAdV8+mbU9m1kL
sFMsHpQ4/ol6mSTGqdW070RFZ6uZPuHMTADnnEfydCwme+jMjWbeXF6CuuiwzwTMzCQyos7SSwiw
XqX7wB+97gHEU4NLbg38GyTlj+ouPPY/jVvDP4Jj3EUxdmN8ikfJXUt0r23nzJowxhiPaYRPacqr
MOlovzoHtaaBsysQNAuayGWYUhletWCQ6YC8I3/LhyLDAnOVZdDwzIQkUVWZ2hTDMHGtlu+tfSWb
V4m9Yq/Lav5HyuyiVeKwV9u4wtupe5PEZ9tuVUulYbm7rB/LO/ZHzMz54AYNwcOJqLwGhXN1TINT
En9cFrF87P+ImE8ZqInNgYGPlYRiTCnPlSutj/79nDGirj+HMs/imQMAeBjIRkEfDm5D5MAt6ZZZ
a5HAyqFYM9/TALQUmHlT4ivYdzUa8/h9aHwEPF1xPIunAq5L4L+C9xflwa9eQQnVaLDBZOfn5c8x
AVE8GOlq4V4+l+XwCmg76OOFGv+FrRUHWi9VUxolkfSrMgZ2r6qEkdNWaNDJJYA7t4pBowI08GrW
eRpP3hKw3wAwB5B8lz9lcb1I8OKvqbgw75yQw0iMw/QlTfSuxq+N5nfjdxztHxF/tU2MEtdjOUb2
jYDMwbZo0/3rzi2o4JmEWZgIoK7CClM4n06RHMJ/EI4SU2GvnNriVmGbFNRfEBLPu08TuWKtjQq/
j4oajbEeHlyBTuY7azmTMtn02bUUhoJUeRjCx/HG4xYoyuto1+R33zj2MykzNR+Ktu7Rm8PRfIEe
yX3UfoR44V6WMTmwvx4sZzJml84AlGPQUWC/dO1W1byw+IztbZcDf7SUMLw9gtpgrbF20eGdiZxd
EEaqZ2YeY/PCJjvUhulWZHy7vKqF3pIJjv+PGsyuB2BcKJ1URFBntXODytwNjbjJgLm2z0KQPed9
5oZ57+YS+uRt6ySZ2ndKDRY4YH4zfwOKfqbuWQ94ihyJcp/IVxWQvjUT/GXBdxzhmZCZw2XgClNt
ZJv9SPlAO74LtkjRZ/7lzVw2qT8rmYV5VUnQJSFNQgpkH9DRrNge68P/p5SZSaVKB+5eGT49FOBX
uW+VY9WstMIvK96fhczsSUdhRhMlFsLMdyT50Aq/lidc26qZNamZ1tujAglJ3LtWdi1LGfh0+YrN
LksBWrBhE90EYcVX76NrHVpGBQwolm5McRg6DOvKa8OPi3c5SKX/K2Te56PwfBhQysBm6T8TjAK1
iuzFRurY/VpybVESyKsBFzGRaMx7faK2i4YggSStf7JUAPlg7tfKwUUDioPLmrwmaeYVkjiINQEC
ZT9lN0Q5GCylhg7SgZWg8XcT8l9O1QQGFxDiAR00L4JovItVocGpor1npNpGcwv3lL6KA0iTXHjZ
DHPPlNH71E0+i3BfrpTQF/UcgNzYTkThmOT+qh9Ek2Q8/HFvxCCPxhPqEJvFSkOFuijDUlBChZsF
DefMlpB2EpKRQkYvJwXt25rsQsIoaFdvVC31ScmeGi2rnLSOH0hsPJg9hikxcuogN+jxWH8OQ9Aq
pbGC2jj/CTBlpFWTX4EebgOpTjw1kzlFRwXfoh16ZTJy0XzOPn3SkrPLG7iAvRxDt30D+Hmqft2P
T6TL3cuqtrw/oDxB2K2hsj2z0SRW21LOTI5nd/fQBtlGtf89dAisBX7qvyLm1Q82KmjpLiGiCm4x
ukDrdo+g5FvrQM+MAtYxdGPMLutIx0F3qcH9ARhpKSwzXCtMTD/hL2OxkXCGr0GL5l9cLQAlUosQ
TyxJdqP8IYkBYpvdCuWFo3n88qGsiZrZf8QiiYsRTy1RR16dto+yBbQyuzh1Xejysf+OHdrgmUJ3
BvKi864jicRqPiYIAcYSs9DsfXXrFpXsTMD052eaDNgR1WYZXnVS4xThaxn+uLxfi5Zy9vNnRp6U
oQzAeiwgzu+ragBigK+EH5dlrK1hZo1G0PVSmSFPaRbDuxhK327llXt/0e2fLWOmw02UFn07pY/j
7i0DDSQqoQBRVWiR/pdf8f8cgViTNFOwmCRDkHEEMWjDoJaOn1+n3TVTe68Dy9dKGLC2czMXk4c6
57aGZan8rgDNWbraS7+ynDluDliwtbq0ISFhbm2PvqVeR5WyQcPnZR1Ytst/DGVeQRB53bX5pAOS
nbqBBPL321pSPbDIoRz+rcc0aJ6By6liEGFeaDVNboMWAMLCHAjnKpXrbcDWMhRLOwfiCwMeDU7T
0GZnk6htbRgtLMcW1yK23QynP6IChNfpyt6tSJqfkZkLG7zBUDm0hNOEeWa5t0CBWn9ePqJJc+de
+mxB8yMaA2002woLGgxwMiUy+8Hb5qSrnce4tgMrzm7Q1bvLMpeXBgwxkKGBbGdejASopNzKOcI1
E2wfqch2BWj84rE48WhzWdKSo8NYigZqXBPQzvPHGnBAW9YMWF1ihp8CLIVkLH5V6hrm/e9Q9q9d
1LCaqUwGap+ZJzJBAJXIAle2McaY8soYOLVD/V4f0lfOevPQRiN3EqVtb/G1L1XEDx2Xf6mFogDs
CQ3OQmte7CI9FoHtgVXwDul3k5bwoTQD1kZj5cALSLUXRQ8OFu82SZcftIBkmyzNPDhZJ+rGazSm
XWlGvC+UfHASycZkW6jubKHdJmOCp1d5BM9oTkE4+sxKG/zkaCvsU1QwtQC8ZXZYbFqeeyOQTCkI
fA6mFoMgHKAOsQI2RUSkV0JVj3prgPa6jsFcJaUtzYb8JOJoJQuzqB+YNFPQL4Hq4DzXU1SEleAx
RozF913RUzO+VcU9qdfKXIvacSZnds1iDLjJDBJwPzPfRX7bTqxv+poP/N169pdunEmZXbZAux1B
NwkpLFSPQLPwDBHs+kLak5i5tjHu7RxQfUknnSou+SA52TJ7KKkRYei/iiuvGpS9kpsHA/xolWQc
rBa0qZaq656RZw6xIg/8rIjQTWUD/qxjWah+EQU/EiM+Nkq4t2U0neQlo0lGAE8c9T+zkI9UhuX7
l41t6d7CiMw/xzYd61nUYoZphrwIji0VPbiS931HVnziooSpWQdsNsT6izWl5KoFdBVE+CNnr6Ww
0JOEasc3VnEmQ/26iooUE8MDVjGyn4LEyGiu3SFLt6J9JmH2jBMgzOLDAAnCuFOL9yyoP3kFEBWR
PCrxd27Fc2EzHe87wGYmFbYs11RXVoP9GDAP7Mbu5V1bW9NMyUdT6jBPAjFBDVS5fGsJ8KCI98iQ
N4XyHad+tn8zZxvA/RqFhaeLqEMA8oFoJdpraEr6/61odtOTCkQ0oYVTUvJUO4688LNBBhKpbNCi
Cku0Pekrpa9l7YZiG+gRIhhbmmmePARVkENigQovUThIALaX17To8NB+/78SZsqgjlJugvmW+2V6
D7zTujgaaxnaNREzReisLhJKCBGsOCXWqxVslPL98ioWcxS4Ff5ZxszR9IYWEdZhoxo1C8HsLP0i
KiYwwDS9VfTiFVyVLjGzPXqbUSXIfJbFHkeXbEL0jYZOE5sQ5o2GCV6lYBep8nWgJ8+2OjA6aM2j
xepHWQ6vGFFXznfRRn7jdE4Qqhjv+3q+eWXAxCWFo+ZdOA2apIKNjKuaDRkdlTUjWVQmAh0FZxKa
DslMmZQcsMkV17k/3eklqLPRK3T5GIzF0BEjimA7+Q8VzNf1NKWiJj2oxn1gjRQYkgpusrg7sj7f
94gpnQYVOA+d+Q4rMuayoH1X4qih6C0RHsuq91grj22lvYyirahsZfs87cCOGVeHsTH3TS5+AQPk
iZfhc8or7lVFfxjifidsSQELt6ZQRQ2Ug93zyinHlFMtL0G+PJBdBpZvu5Afq4b5oFRXaRGQu8RO
5G3DktIdhtzcNUOIkZ162IK0DEPLvTVSI89BJFPxN7kNHjKmR5h8q64Lohx7Ow3Acz74BWiXJIaR
bTXxsph5VQe62JVdxabNogUcl4VWQdyjBi7Tr5sqooktD5SJPtFBzwDgDDnUvUjaXZaycHSYA8Ys
E/j9UGmdFx4lI1dKG+9MnxO8X9rXhiBvCaYxTGuAwLwDT/tKSLfoFkwd9C3T+A+omL8uC8kuqy0K
gthAL9ym/8jCwdXWEoATLeF88yaWY+RlQKtm4A34VcrQKAK/i80LkrLbKH2oOnUIIMFUvlJqbu51
vXmqmjR1OqbQTu0RfgVur1aVy6MmdIQo3sNcfVXqJtxyUgtaSNUNuuxee8m6NcBhSSuz6RyhmRsu
MABkW5tIlcBsa42BV5fWLgG1VpvZThgUG3RO74NOu6m13L98eouOBJXQif9HxfnNbDtqqy5BjhpI
PJieLVTk1ZKfur4TI/GbbMXZKosndyZsdmdoOapbRQUrB9bvKc3DJyE3gZv0Ek2j+MOsJOJg3Ld3
hdQdw0FzO4W7fdK9FD0CJ6trLWDAsLWE38ILYZp/wLCAjfybNX+1tlUTtmC0QXVT3utoLG3bU97X
bhSt2Mmkln9Z45kc9atCiaQodV5NN43U3YW9Hji6RJ6qOtmbIJgyomjKgzuVUq7VThY0GW4A1F/o
HzGwyNk1ildmq3Qx7GUIh6eqUrZmv8ZNuSZidosOMddzYsNYKusT8ehEzOpd1tMF1YGXMZBkxgyE
+hdjU2n3ck8YLjz8+B9dIwnHjIcctIbd/1fS5O/Onh6hmoLjVxm435pRBa7z4TE18TzlgdSvaMSi
5uFSNcEMj+TFHAmgZQpukgQHI1umR+qi3gypxXZZawEzBPb4fHkLFx21pk7+DFgA8J1fFwa4ikEx
Mo37mMR2gV6pU5v0jZMRDezaptPL+VOuwJldlrqo9tNcsoWOdTjSWaQC5BA9yHMcnD3cD0rn1vyo
EOYoE/P3m9L87NNvtHcQPOmhKwQ4qEgNfV2nSaKyHwbBfVCWfrSRuTcl20mF+Z3TOxMzs+cmAiMx
GPsQ1HeoRUXPfYWXd1ZsDLFybouqfyZodm52gOF0JiCoD3O/qrcxTzzJeLl8TIsWfCZk5pqHkOWJ
Zsvcl+rCM8bqqLTNSsPFwlWDKU1kzmRMM4F5c6YJAWvTXE4hQg2byqlE1dJYjx+kUQPtuto/hjZq
gd9Y1ZnImS0zZkWKHmProiC+Vdr4ipVrg2YLKBuoboLse+KSQ3pwPqEF2u1AaEkLddPGLWPs1ANy
xc1A/OpJtvXSBLV1CFororXU3BplfErCwRt498q4dF2m0JoqChVwsFsBuDfNpz5cm7lZ3HjMGRMd
vfcmMtpfDQJsFVUrC1y7yHdvCDqRyIgeNQx7NVSL0o4CjqRccdcL/FbTrvwjc1547EG6kGQRzL4b
NpZ+4KYMwg0Mse16+UFtX3nxWvU3XeZFbe9IIdl849xxX8gIR220+MxUbTBg+maGFQu7+0iGbAtM
9jUMw0XvTdA/hvQYOv/mlbtOLnie9RzRtZa5dXhXlcLT2xiYWd9xNGeCZqYpGXFeZ3bH/RAwwCx4
GMsruXohbFjx1It+xtSmKMjWMQY4U5NG0/Isa7AgwNjvldAYaCyUI3oy5BWrXNRHRNYAGycWRrpn
pzPKRWIHokLqwECzkKk4qnrIwIPWGoqj6U+XVWEBrQKaeCZt5gNsu815W2FZnfVepNetwV1N5zv0
0/4OUwr1gdubqgNWza8yDGkYpN64Ri63uLUWfB7GfsC7Np/CIWarC1Th8GQZDcdip1hhwM7/99jq
WOmZlJmipGM8kqKAosRor9VK/VjmgAO5vJ1LZ4d3F8otMp4MQK/96kuaDi/BOIFHlYBcS0o/0TIn
SzpXyXYmhoUvC1vaNoyZIeBDMWRqTf4qDLEx0asWZizFKIVYvQekg86xqxVvsWTJQAMDPBWa0cFv
P1N8Lat1jlwjYkuzcngpgI/LkAK4D1cx6RYXpIFeFCAjeJn/hl0+iy3VMrTjPmHIaJXdbW9YQK7g
1xH27vK+TYcwf2rgxY/OIlD9ybiUvu6bhBREyOwS4bgRU7xwqb0KfbiAIIlzOZMxU4RYDXCbqzWe
TYPkCwXYEoPGNuiE9/AOEDSVRblpjCQ4jar4hTHCkdoyuL9tHbzjCAkLbHLwTFRyyiu2N414ZQuW
BtzxfTaI1y0bofX8WkayCFUPgWu56myXjLHTlJUPlB+MPIHWESTbO3D/Oqs8Wov2gTmkCd1LIfb8
NcnbopTtGiecSSB7TyRPQSOXGQdeg3ULeUVzJ83866DR7D213QAbdB7qFlEvp11VoFaYEu2QagMG
JnPmdF3jxKPkIM9l7M02vB8la0XyoltV8G4B4hIqa3iRfdUxIWCwbZziiiUjPIFuGidJkh9iDcO1
RBOvCDiAEjix0WNmYUrpjZue2V7S4SkPL3jdNWvgEItaD/iRCcBHw6HPrhUQlPOYGBHCnIw8KRmA
eElz/w3DOhMxc0i6aADFhTFipNUxwzhW5ludRd53ZGABgGfAtaVP3urMR/BuQLaDQUZffyCrnsTf
WsOfnz/bpjFRTb3QJcD1ZSFCPwdYfit3xKKXs0B9iDemYpjzO4LkIgQ6IFbQRPlH0tovdRa/NQr/
uLxRS24bDKoTzCI4spGk+rpRSDtqyoBqpG+AIzjqcaMijYoXZRFb7mVJC7BNFjAL/hFFZsnAnDCS
lzJE/Uhp8oDU8PNreIg2hhc8cBfDMtcone/4ze1aZ93STiIoN1C4NoB7M5+4yOF/q0AjzMfspBEJ
2oJ0nNn/HhjKmkCIAFiJ2wItfDNTRi1KlvJBZXDjNwZ/Y6tsb0uWeS5g9lTuJDkkqJAzXxFPBrSu
KleelmsCZhdeoqhRqbYQgNdGlvW0GF8ua8CyAIAoasDgB0vOzPCLTJZr2xTAVIt0Wvc7U9dXjGb6
CXNXjtQWriygIyDLOTN7vWa90Lqe+aOqurn6UqRXIr1F4sQJ2KmQjH+fRMfj7I+4mfGQpJPNEnUq
3y4scJYaCL5/IVBeuSUWtw0OQEfGCcM087hXSEXFa81ivqTjrmWNQ4K1JtolL2CiwX2iVDNhpDPl
lUVeVsEIEb1xGMKSxtLOLgF0uTrIbC6dEEI29GoDtQYMjzNJoRHLahhDB2wgxXlKUfWUjwDKYeZJ
saWbspOfu1bZjE1+XwT9Vg3yA0B2PlCJOmha5mlt5aVgzUajZNZsStmqaKEMB2kwaCcJ46gm5cR2
B+ZNVdkwRCq5NDqCifekkt/7yr7mXBxrMErQTDc+Ky29U7nhpnbxbBTmHfjmf8QmkPeKornhprGz
ilzxLJFtx6I9jVHtMl06kDpwlByhGmtOLNedJAIGqWBe1OX3LNTflShVaGPkG7kQNUa84oLahfai
2xh1T4o3fSgebXQfybHpjcTw0PqPsfEYt2HvBkXtAVByV7J0k4X1MWp6Bi4G/baXjE1fd0dVbjRa
m8lAW1tIK9azpAXIaZoyUVDn+iu3iUePrARVy/BGTqncvgbcohNwk4Wex8ueYEkSUAzw8sFDgeCu
/HrrNCxu9EivmF9zZNLVhIZy44yMu7q+Rvf5mzFm7hNs2UKHvqyZqHfNvI6MSZQqV1B6lCq0DKA/
q0KVsQqjq4BLNE8jj9dA/6gr31DETgw6jRm7R8OvMxL7NGDco0cfAJrmhxBVuHYD/tANycFa0Y5I
vSnFTWDlGym23iIm/yAWL1Cvsz+Vtjhwhf8ESPsRqZWtnpd7yex31mBiukdDjjP4paW2Y1mAVqhy
/jyGKrr76/4gkuoGDOpbgIFG+5qR6Fqgb9fB4yOnIVG2qtZ/II2fU6ksiadLFQrurDYoRyMOVaPq
M+xq4yYbwh+FHHtRIq4sVGTp0CbowzVF4uEVvR1z5UHt2Wc/KBgBEUlIk0bsaqn9NZTJT9aUN1lR
4uMkTwzNSyiKwOvL3kNYTqjCgo8sq0HSLDcP3IpcM21ATQItL2QLVAm6fJTNxs2yoHMya7gTReKB
hcmkLAWq6GU9WnKN52c7hfZnYZ6l6xVXBc42lV+j4ThKD5d//lKvGMFoiYb8DEBL0VD4VUBTZ7AW
zhgGYKMHwAaph9RQHoiabEa8z8DBu6lj4agd25cyO1RJudUsPFOicivKesezzm852xiBdi0Fyga3
92OaJjt7HH/gtt1h/vjBBK1Wkvf3TZJv09G+LpPqLor4LpQ1OkjiOLaozgf9TVtZP7CV/uUFfjVE
XMLIuaJZAJ2zeN4Z5rysVWWhieFADcmBkXhxwmhq3AMI/Sq0N5cFLZWCv+zk9CVnR1WWwOFNtRqB
JmXuQfcB2OfCabuDK3scLA2lkzuGZzrl8QmEfUB0dhWf0beI9tvtuA03t7a7SuCw9PI7P93Z/a2p
LGyHgSMydLnXufE297JN7psedwkGhypqOOUmdjPnY62ZeAkO4ct2zLxSKnQFiJLYDnvbuGRPbrOd
9DM8ECf1MCmxS33JMa/VnXxqQVyo0u72sXLCxvnVHyT38sks2tAfFZ8HrgVyEKnCsQlWL2iHMoKU
riVFF/MIKJaZyKZMoF7z5HmE4Sbwz0LGaJtoskGTU1dL+7bJnrOoQu5cBK9JisdHPpg/s7xea/Bb
XCIiDvSuaog95lastX1XRAybLZO4RAmhDalG1qhHlheJIVYZf2PKZg6zPpAkLXN7ggzO0QLAiXZl
xnwrbAxANLxwai0+CR2wQeYAr5ANw7+ftrIUdNujD3N6vs8Ja4qIkEzXxtpHSgb0qJGjkNYxW3Pl
Zf3VYwChVEUjzJmYaa/P7BjdD3mQpxDT5YHpIHG0aVF6cLRCkr0u01axlxZs9Iu8mQfmo5r2A7Ij
fuPKoXPStvaTXG0e0CJie7TxzNRFYkQQRz6km+qxXhs0+a2as/DhXP78VLNukKUkgPznq5penU4P
O0Gp/3l3fDp63j0I2yLq/LrFk3bFKqfX1lyujpgfSTB9ynXOXssREv8NqPBqkB+g+OPbB8v5gWS7
8yOnV5xyx/D9z9Nr7A2U3vWu/4lCA/3saEf94cdII/qiOInH6Lana9xkS8U6C6kogqowtA0vkq8q
oMrZNGCKT0vp4cdhcF9fdyE1vaen6z1ztiv7oC7tg6UC6Rnpa8x5zBylqWHvcw5hYpNT3UcDEVWd
3htcxX2P3M65f6toQulAOTbg4e7zSXhvjL5497cIepyfCe3p/n77sdZfu2QGoH3857NmkQczgD+d
dPisXva05g0lKyChZ+rT5dUvpC5wR/8jZT4bLLRSjZsRUizzXrVHJ47fzGrl2b90M38RMp3AmUUL
KU3sPmhr0BSqfut1u3fi1E7iBu5n7nSUEomWjz4mHwDKI9PI2yfeSH8V+9zdp5vCv23pWjl4wV9/
+aJZJqK2OEav4772zeoqUk2A4629Cn6b7V/mdbazMzeWkqgdQxM7iyBkdN5N+lxCg3QPWD2UeZ3z
9J/r/y3ybPfH5UNdQub7sryZS7PAoWSnXVf7w7O9Sff49b29Kh+tk77RG5pvVEq2ZBWWbymW/SJ2
FoFpHG8xNI/ggrjKMxrcGhiXxgHvxV69sW66Q7O1doan3FXb2EfHnE9cdjBv5W3ySO5qPD5QfD+A
oWnbUnlr79ZwhpYgGb983syrNEJHcx7D50n3YpMeEAfR1A9u0it83c739vfhJnrtXtVDu11rw17Z
GnSyfTWBnKTNECWQfYBL6x2TEofjH4UCvYImruQMNISLEYhTJa91Ewo7wF/bR2nf+LgBRsq3H7eX
1eSyEaAO//WbJBCZMSKgoZghooMC3iNkEy6LWOAInxJx/+tf8ED+KiPozd7uC6xb3euO4mobc9P6
ClZ5J92FNdWBpg9TZ4+Vn1AHHDVY6AfxfqVu5V/+kqVb/vxDZl4+0/IuCRUsFhBquNxyh7gVfVxj
6P7diPl/Wz0e3l/Xm+tFgGrXf6z+anQ+Pg7Przl9fpad02azewUzKrVc3KIFPb68eRn9iV+O1/f3
W/djv3K8y7fon73/HU6eud1RlyTCNXwLc3+cakjm0LGQ3g0OgXyLqvSWb1cGpZcKjucHPofG0/QQ
JdVJqEanx5fq6M7d50/i+gXVHIQL7ZrEpRvM0HQFHe9okQFO0NcdjypS1XILgSJTN711IyO1WLNv
DI5ZmPTTkeVHhfsvKDSWyb1ljNBjPYxCT4Qg29WselMnysrIwJJRTsOmWBJKon/VEixix7Ai3JWs
7t8lormqhIG9y7aA6h82ZaamqOOi9gduW6Rl50W4DMxqAozbDKPaEtv1gQJnmBTRfdB3+qYYh2PZ
FuiYT44FGVtPiWtg7EcFgAkq/Vmrreewbrwh6vwYKbWNomf7UAmcpsUIY9VKym0dS6YfDClCQ4Hx
6UADoXuvozvf7ccQ4BG9cgpMda9MfVRSOYS0K4cXVQFtjxTjsrfza8nGNElTRrJwEi2+DVvDqYN4
04xg8A5j9EyolU4zk92wsA+OwIt+SqzirqqbzpeFXYNdJSueYsvYJUzeyCx8HDNcvPh/WBYW1AzV
t6aw8Cc62t/7AGMElc2cYMgyoKNwJ7IBjyAZxUHo8rXNwJaQRIfYqN6YpdM2QPF8TE+6HCk7kcrt
AWhY8ckgUr3TK9NJGnYElUROlUS4QaK3vpTzkpYl+kUDDky4QY0dken3GVNcaewfWqnb9WbgsjCP
97bUPrVh9JrIeJMb/aEE0D3VbXGFTUOurDT2wpavRNWGYKNIEjrw4irCq5OiyH+TCcD5l02tImUm
Spo2zYNIrX1hlu9stB6KuGnoGOvWZojT+0Qo5say4+PYEJT9Sd/TVNVAB9JFJxtt9RiiKN1sRKZN
SAIQrUnoEauWNloy6vh9O7zWzC4CU5XMy0PNxsLVGJJwpl09YNLpSSn5qcxT9PRlTiTrGxM5QAuN
rHaFmch43A4k3WE05kTawW3U5LrvNbftCtdOUpcYyJYMyR6dEw21G2VrCMtJhsq1pOw6jDrZwamL
a1BzJNCoIXM1Er91NoIOqcBQ81VfqSntVekYtnZKNWFpKNM28m1kRtG2AlyzF9ts3AAvq6HAU899
BIM/AJr2aEn2thZBRGE0ezImvaswsouT5Aeq4phk4dF7agz3Uhff5VAWN2xkTMoC6whL057DoN9I
InxseN46Ied3io5UKwZqkYTF6J8cO4rFPVI1iROR7MbqUPyWolMhY0C+r686M31BwO81vR+knVvI
5RZh6keel2/AZ/GUpP8k0vA8QkXQ81XuyzpEjosV9xnGmTad2DW6ClQfW79FEjqhba49krpsPMNG
n3eKBnOnlDvPbPo9D8fORU/esdD4cawVN5TqVxKRU1tr12nc7JsaoxChxj5TpbwDH3WBTKEGkJeq
fB6rwEf/pHCqRsheYsPSOzl9VzlonY1q29v2vqnILa8aLFXTNqTIR8fW048oqV4LLdgpar7rrHyf
x/W91eUJ5Zi1SbNyP5ilp+ctstRI5ALxLYo3g9XvRS7tZXQuwCDzexRAW8dg0380ZFcs720qTBb6
QN/3iyB8IgYmiqLITrc2YQetBp1ZnbOj3jcxBTDRi2T3TivXVGLZVk4DEE2V/Kiakomv4NfIutyH
SRRsSFQH6FqPRiAs1pUjjcZJjazfCFB+haZJCgoVL0m1RzVONujpH2luRxtAbEQ0tCugp4ZXydja
t4mRcNqyOKNCxXB4M6XRFe1k49g3sZphUs5MwfamVy6pk8TRE1BP4l3SUhJGvzQ2npLEeiyQsFcl
tQdRT3XgoXUqR3T/clu+j2LUUUC10XliBNdKpT1qqvTY6TChKh4ydEoFB0lUMW1q8KQDLqWDNWm7
pgEVgtwYtsOCVKYGAICcWI8edCXA3YlRYpBygzAbI7eYWmu1FyNvByfrB9VF0qDziz6/rpoh2Ji1
Al4M7VqV5GfDUl/+h70vW47c1rL9lQ6/001wxo32eeCYg1KZmkt6YUglFWeCBAlOX38XVeW2RGVk
dp1+7QiH7SoNSBLAxsbeayAQ34EZhThwnj2EJUKLqY3jmsRW7PR9XvtdkageUsJmsMsptysiPNyT
YG8+TlMGy1RNoGsVs/ZJE0VlPGZjqudOWdJG3jJTDLbSJUXzoxj6hK8khafpXSVo0rqdglQyKyaP
VtUqHktHHqrHzmgLPywPJtz0aJ7JPu0BHDMLBSlYoWmBVpshrp796CAS6n7X65qfaNDLm0t4hVBW
oR5fDZYE8l5frKtw6N0+EqnDk+qqxGeA55vkyDx1LDH6XanvYaZwlVQx+LaaA5HO0R7zDPJQRN7W
A1sNEl8BYX8Z53HQm63qhBK7CZVMs+Fo90PrYGOTNjgKs0y97cfpURnKINHbLYNYctjWHrBiaVCU
k+QxCt+WLv3RJyAHQPkIfhYkubD0AvgdmWzDEURSI1PgUBxdmXXmi7p60EW1tbRuo823XUNFvybP
Stm12ByVi6SHvr/yokhxDEZNj9tHVB3MDnhn0C0v0zF7i6L+tpTqq4KV+1gqIwcs/dXQVc95Dl8s
ZbyWDM2NDWvV6vi1CUUtZcqujdrcK/1wURfVKss4gCz66NJyeq07BP9quCVGdgAEyw9z5Zsu6B77
NLqI6bAVOrSO8YITpzHENbyC/ciS1kUHBQPF6An4eLIa2VKrWwEzKo7tVY5YHjpKCGS6InNDsRpR
K6Qm0Li5JK1LKBU6RVoQR9czsesb/Hg6e1pkY5au4MS9K1LAMAkt4MKY17Gbh7SFf2rrpIWs76hV
SW5rJoo3FfCxilv9coxBKtTUA0v1H5XOwQvib2OsuFZrfg8jHJ9mfwG8ww6o1pXajL4Uxd6kI9iS
ApoPJhU3uBvZVUv9LtYi2GWTqwHOhRH2dZaPu7SGUUDMfMWiG3mCRqkqHDSLXroSZtBwdGWl9pwJ
fg+sE9zcxirdlHGuBySvI2+ksXLJE9rstFzmODnh5KB3fPJYbSKLaK0ZcDiUkt9HxlXG+MQvAMoq
nEEfjPKb1VQhtaUJpt7QOkw5X02YTKRl+puBvqrN6jBych7D5lNWc2hNcIQbDY3y01nqkQIYhQ8v
pKSAd9GVJaxUh5ZlbZUERcBYckA19yayocx0rOSc2O3nKwSuK7oK4AMAcsB0wPBmCam2uiQRUA2B
AnEo3AZHZ5jxTZWcM255JyP+k3W/j6OA7qKBWaGoXzmYdIy1sedAHeqNPEtqSH6Uqo1nlfqNlJi6
3Y5i9JTBpOtICpt70QDoXKfNOoebBHAZ0yEzB5xILA/M0NBs3HtuWmZCynpMr2mh7ONKexTKiBNH
6q9HJd4ws7gsAQ9HZKG2GM3UyVqsaJKyyhFUbBmSBRzqKH4ZynjgaDqmGri6SL5fwqod0Z8tfU2H
VlQaIbNTLARzoyU7nHcweScM1hJqoEiq7DYG2cAS7EVH6CniWg5MJZLdUkDkoDZ7dRuxELZpleGg
Hb7lCfdZLK6FEJDv60xXbceXAkIoeCJBbKFZWLZj7SJ9vYTCwFPCisuxVWVbybLMniKQjOu6CW0Q
qC5lAT641GqXJYnWoE1dV43q6UZ5jh91ZIl8amMuSluoao2VjKtB0BDNJlN4JQMaXFiG+ztr/n2F
ALoEQhQghfBQW3KBTTi00X4mAXLN6/rc56EH/C7Qzr8n+P51oEXtJ0ELDkV2tGUncVOWrxSdj9NP
8vmFvXdxqAzgG/wgAcUxrcULg9xgohiNUQdk5F6tPdSAFtWhf3oQ7cht+eModP76hxKHrudaUwO1
BrUfU3dwb3qIBzBSoVPNdzJD4gkHRXckwlUyM8ZWkDd1x1FmNJN9mSMxH9MmtnFv8Duiu7kwnbqo
L7Ux2ugd+mhslvCR630PuyVcmSaXd3EE50d+DxvPe6pSBz5JyEYn30p1RzWZyzLyDIRHYUPxMuhS
jqQsHu+mie3ZBGa3yXJ9VWc1EBfUUXpzV8T56J1+J59f/M+ZRSOSoEEHpBWwqZ9fSZIMag6qDegF
TeJDogjXBMCtyN3pUT6/eIwCeT8Zdr5oMUOe8kudSy6gDS7r0KqqMmDE1bf+XDv/y2PMA8A8CTrT
qOpAHfzzY0h1leIUxABlhqjV7ROOhMs6Iyc3F/2+BmR0jBV40X6lq07Q1wyHAuj4KWd2x/dyUtt5
ipsPNPslKq/D/Nvp1/blqXQQ0EAS/3vARRVy0rVO7WbcORwkcL+6kXr4u5hn6ztnHmtRhIxLY9JF
NI/CL0YNCOgUd6K2OLPDF+3o95X28WHetVM/bL5KxKkpQ9gzqCvVh4CPW6peXaKF08vBEN7E7LqX
fIG68ul3+LmS+3XYBcCv03pJFgKTFtJuZZSZr8YXhDEH4Rms8BfCnsuBnXnWz/WyX2Ni7kz0IlFj
XHKAEyWVuAoMQwD8lYU70eAqg7pJW8ku8xyWaMmZKuDn3OfreIvo2Vh92bczE0muc0eqDSfOM6ce
iR2H59AZR16nCtovCIfzRvsibQmsY2FNBRgYWlS9wZH5kBn0lUj5g1bKpaMP2T3IdasqpWe6govy
9Pszfhp4EbvLilZjLYEDpe/7++qWXMjASW7VVbviHsRDt80t7ibZN2MrtsWZKvWR1wvIOyBXsLl7
97j7HFyyss7Dpp65emVjKxwiD9YjMJAkSdzTa/XcQItjFnYkSOv5ALIetmDU3GmpcavH3BnL+Aw4
48tIi3i5iCypAubaAAfFYCy3REyuUAyIvB6gPHXmkY5G/g+BeRFcCs4VncsYiMIkiEWw8r4//c4W
nVMsjM+PsowryCqUSE0R+pmHYpjbe9QGwdEm28JpV8j9AJ1C18g1fO4oK1QuXcM7/Qm+ROnFB1hE
mEiqsNfV2f0uxmVwxmY23zJczU+P8uXweR8FYqYoBkOqYBlTeKimdawq8KuxIE2SXlllbvfdbV8/
Voxt5XN0zuPz9s9w8wL6EK1DKdU6ZgIvSFXUg9LbzLw+/TxfYuTieRYntkiNulb0VqDwnzgqJA7L
FM560VVY9DYBovn0aItu7q9VArEjoERAT4Xr8OfnaaOQ8RKOLoFw0FbwwkD25p4qVkmQobtMAu3b
cxdwR16VTujpZ3bBse0GzuPMd6QzWXSxC0qVtgloZdCMwwkeas2qRk65msxKrCZND04/67H1+GGw
JVKnQFujhQvcbEAg2aR7Yygahf3r6UG+xmPM38dRFqu+DpXcKCp4mI4BcCCXY27zdRPcpj7fotVi
V8+iszd38vYc0OXYwpx5najYAKwN3fjPEymmroTODgxaab/NG8OBDPKZtXJuhMXSt1CtZkRqRBAp
NAGsuXvtauN3M7v57X14isXqH1RpbISgs8i+YZsNR1l2cOrpHLH36LL/OM4yzqNSUTGwB4L4wnrS
9/HB9AsPnbnYb7ehz1ff44duAw8br9tZkV0OzrmNd3QxfnjQxcrXIzIppJUhumsaF23fQ3s/egDG
9d+ZM0AcQQ21LP2L6UbMG150TdIFShIHSZrdptM5cs3RZQESKOjE4Eh/0fZPxkpNo1kTux0PUfSQ
Gr9n1fQzRBFtvsYArWl9Ue9v1TA0kxproqOAwySbOi4cazyTKh7ft7oClDpBUvNFn16ZwtqwNJxW
khWgeAn2yVV+E66NQ+j3fvmcXo8X1Wa6a/Yo1f0bk4SmONrUFII/iB6fty4rrL43GxxhOQ2MCHWz
/vfw9z9fIfyEICkP9DjM3RbBwRQtZ71hICiF1o2aMdi1pucMEI4dXB/HWISHdEARkox4inIdH6xN
uEm2kBW6UwHWZsBOpcAwJc7gaN9Ht7zOV4qt13YF2NK4Elv5jJH0sd318bMswgj4Hy2FOp4IGo4u
YGsFAyhGtVWdGYbMieenmy/C1cdxFmHEzCSO/qgGU6UoDy8yHU9iTCspLR+TgW0E6R/GqdjUugQE
riT2rQnsNFXbczfVYzkQagjQ28L1G9O8mF5NGCNV0kig05GvhfKja+/z+m4yXkS1Es3N6RPu3GCL
ee71eGhokYqAo4tgGGgCqorTkNrh42ZQUIFHkfv0iMeyBKiOoERqUAsQW/Xz/ii1VIhcRc5FVG+A
rHFCfqjVVgNR5vQ47zYkX6bTBHaVGibMV95PjQ/JHUQOR6MATSYQGyWQN+W6WocbcVUHcODdamv1
slpV3uCMvr5Bs8CBUuam3OU7cjj9OY6u3g8fY151Hz6GIdc9ZCeQuTfhg0je4mRvsHPPenwMwOxB
qAdmbSkDwWTCWkPBkkmLYiUKtMKGp4TU7uknOTZzEAqaBfcgDor1+flJJJOgzadh5sYMjnREAR0u
BsrB6B/QvzuzGY+OBdU3VNFQr/siJS5yaSj4kAlk5i2U5b5T+NAlOrAB5N9JhCCLjnFQnIQcwGK7
CVaZ5hgDt2NCvpMDfAfcyOn3duxM/TjCYo8BDqELo8EeI2P4Q2JoslH6b0UNvCjk/ejWKHRJ8dQZ
KlwNyUVg8LRy0rIPWMcCBZYjlj68Fira7RE3vp9+siOzhBoyWjewasLSW2b8xSTSrGRoWVAFsvmy
Tr/xMkscyRpvkxp5+enRjrzHj6MtU36WRdjmMR4xqu8HlgEb+3h6gCPb6NMAi6NbSJBmaNBvCWqO
2vVYoAfU9EXjQIDqTJJw5Hj9NNIiKFBrIKTOmAiEggmDCgmShBYtPQXMSEv6N3KuT6MtQm4ulUVp
Ie4GVAsPcgZqnFLdSsk5zZujqwF2baAbYdt+CbhYeIqZJwUumOCU9uZhTHK3Klc5ZKJPz9PRhWCg
CQrcIfCry3AHzn+pWbxHMaRhkPDZlM3r6QGOLgSoDeL0hbDvF32GvEBzFNAWXC6B1OtTaTux7I4p
IBv8/jh4V8AiElSNv8SeordK8FMR5VqjeC4m3dHN9qIx2Nls7sgxb830EDQ/YDTxZWrqgWZpV6Gb
a8qQFOutonVqURQ7wCIguQIOIFe/UQMSDeqQ3sYEYDyTV6C7ZGgcQUH5ImuGzlZUiN+hwvA97q2X
opMvScWRfJoQUTH7YnT1KXJNNV7LRr4GRMxVAXuyrOJQtpnTqsShMvCGAMlcpiK/qaEWAqWiYdP2
1i0tk3VDtT30jw2UfXp0ayP5ArW7u9wKX+EPWtqYEwB1J+OA9XcNhxPgtuSDSEo3N2O3aojTk8Yr
Se5qw/ikgBtlgiaKm4GnmOMIhwfltZ4ASTKb1BkzdLRpDM1pubtWdebp+jS6fQ/MiMKciMRe1YZr
TZNSh+Xg1Cadl1fTI4+Sy3CkzgThFPh8YQg+SelTasI1qlYK2yrNVdqWhT11MnMl7GTUWh8HrkEA
NrZglierTmPRQwPYhW2Y0m1cqGIlgdDlcsYSG7BReQcthXw9tdJ3Kw/LrVJRA9gQ7srD+GoY5new
7KFB0aFJEhXbkJMbtTV2fAL0K8J31yiIJyoEPxVk5Lz01ZLv2sLCRFiBzCa/HKxtoWuH2U0jtJhb
E9WGEL5piwRAPaB7hjwGnmS6iy2SOxTY8LXcWpkdNwSQQ1Nc8qZYobX9Wk7tbioFmijJtmfaSjHF
NVPVCzZlL3rqZYwFdatuuhSNjj7iO8kK3UGwR472J7TjGy+POSwdTGA1myF+yKtyL9WRBhym1Nqi
BnCJwvGYGSB8K+21BextaHT3VKuv9Z7uek2YGykDXkBUsOtLieR2KjJJXlNw+QvPLNpvA++3GSWo
YocdwioVVzEMccYEKll9DPCnDphS1R0spvthRh4lzYB/plgraXVJTfZDScRKtYpXK7We+6Yt3FmJ
MZfIphvVTW5oDm5g20RTVtJIPb2efIlTp1A7gMfoLTiVl9CwR7FvTHat1d0ksLdIhhZ2F8mtCVyb
ySxHF5KXRLrLDOIyNvyos3jVydY9PBe4U6F5YhbjJY3GDaQtZDstK69Al70CpE+buoeM5AcoUrq6
ztwOKuODNVyKkoJ3FZm1AxlYx+D9KzTdHIjDV+thnALF6nJ06elandN82Sw3hlYAgglmpZ1kVLdz
AIpyAbRa2HDhqBF50o0udZOwuQPD8proaeWBgbXrR7j8yD27lSv6VikChTFVRbtXl38UeuNnRFsb
kX7B667CpFNINljZnaA4R/OM7BmExnlZP0W5ltpak/rMCuH6kNPSK8S0mcrOLUZIbp0OtEeOJlQb
0M+EJA3gEXRxtatrGjFFRYEeIhhOU+t+JG1U9QZc5DNdlHdDosWt49NIi1JQXEq0GDKUYPsraUX2
WmAF2oaA9ANQMGgtM7lr+5bbwfcA7JZA+N8fahe4cadxO/tg2AY4COkKnFnco8mjciarPnKuffhw
QLt/zuCBOkXpZ3aiosUjU7e5BJxIc+awOXI4fxpjkUTJslpY0Xw4T4SmTlN1dlEL88x8nhtkkT8J
XY/ENPfJEK1sYV1o2u8p0L8XWX6WsVVYBBNlyV7OSiiS6R0qvzAHsnN9q0b7qfNOr8qj0zGXyn+N
sbgYhBGU2OUaY6hGFkzVN6uOfSqfE9E+N8ri2qbxGuWqGe1WdUMwVs9dQoCu+3H6UY5tMFC8AdRB
UDHA+F6sLLUHFouhYC2gpNftBSRW1IysEhFenR7oWCbzcaB5ZXy4TpdKDTdjmHMFHcS/VGQWortN
qwdDf62gLmWQ59PDHUnUwbrFvQIeAUT9wqGvW4paPHw1AokY3mTuOyCC5UsTBWU0qE4PdWxNQ/YV
gkDAB2HBLeZJEqUaJSIDWUOHxq1lJD8qAOH/d2Ms4uAYJ7mZUCScyEoBtqmAib3+342wiH+mAsPb
KsFTqGYO0dL6MgmNc8SjM29qqWlWFQPuwYYkglwohzE0g0xtz7SOj22aD5OxvE7HTS40yqMOVsed
DynAvYUtChWYM8McW15wBlZxawKkEyC3z6s5lDKpzBM8ScWHHYMopa2p0YMlCpzEueFXSXJmAbwr
1C7PJ7QPsEmBuoHA8CI8JyHlVaGGIuhHC7JHo5I7vIpqp4vQnymSgu0jFcj2jHbQItOlzGYkXme6
tI0beRUb/LpgoTOF0i6O8PeGtNH68FpLlBWRKELxZP1IqFXbWQ/dTrPofKTTPhR5g6pVLxpVw5Ui
Yq4y1QaQS8qejOpFmRIgIpVeto2CP5UGQN9SYwWnl+Wx+PTxsRcHRp1VaZMOeNFa0jpDlq0B2Haz
gqCNfSYSAh+CSTv1ipexMKk5i7iKE1AFbQBIVvTprbjBG2tROe5GYDrJsAJ62lMg32pXk2EXiuLl
0KJR2iqIWbMyhXyh6tqTaUZ+yvvRrqTKgzL0DtdVd8SVJVWtvYU7yVBehFG6gqqRr5uqNymjU1Xl
BvrWhWtorR9P0wYRDNjqCMm2nsZ+LOA6DPy5iKyV1shBb1UXLTgwU13pq7asYjtsZ0xrhWtJ2eUr
bUz9fmhdc2zgQcemyz4dHo3SDMAeCwCN3SXWsM4VcQvgoeIY9ZADIIMsi1bd5PQx2RVtpoI/AJc3
AF1B2Cfge/P+OZqkLbgfli2DSQKCB3f6mbkBRup1RidHUqkd5imYDvH1bC7at9SOM8umElCMdbRK
LbI1SnndZJOjDXxLs+a1lOHlJ2cq1qQWNFrt6lV0aCxxGHpjA119lIxGthYi3UVq/13WAe7u6ati
Rft6GO6GrBwdOSvO5Z4L75CfqYSCU96cvRdn2Z/PmxwIeRCrBpwheA1B7xF3ZlkPzlvitbYZ8KvE
Db3Tq/3oCvxnRHOR58nIyiH+gn6kWq8s6Uf9e6LQfz/RTP6E6DAU8hZhC6oRVaz26EANEXjZCUTq
5WrDFG39+48xK7QCTgDM4xcHRDERaOHNGHQ4J43WsLUk/Uz8XagC/ErzPgwxv8kP6QREV820lJCt
om0MDYKLMKivIYTuauv0fvQfh/vpOffOqVYqx+YHZ/wsu69DjW95ukiESaGIeQvxh3GjbLJr1Ydz
k1v6iddttdfOrrzeT25pYPnaKt1Ia7GqV+fgGsc/xD93okW+wUeTlQ1HDk0KspviLOi6c9Tvo6/3
Q/q01NLXIX3QMxntZGuXz135zbTiK1DJ9rIP0olT+ONKPzRnJvVoivhPzqYujriet0pRy1g2EFiE
SM20TyzFzTOw98zMuGBV9k1A/+33l6o2++0awO9hvS5eZsQqApDkfCEZXgy0z4b2jOrlV2TpLJD+
YYRF6ka6KJXbHGvGmJ4Uo9Vtucp9HCJBOUzbXiruuF7f1BLz4Jv1+/XWT0MvAljStGMvU4STlqMa
lBToamfSuUGOZVzomisog0LdBpKYn3ciywFbtWpEyVaH0g5wNTkLwIY6PU3HB0FDEAk2hEqXqp4p
oJ5VCDnHmb9mxwaqx/h/ltZnVsN7k3+ZAsz+DX+PswgrRcl5VeU67lxgUR8A+H9RA2sffpe3IKCs
Tj/TsdTm41iLFxeWcZnyuW2NfzlM3UURfLn57QiI2emBFlrCP4Plx5HmT/IhWAK4YQzQMcXG2lfC
Yc/ETw/987RWH6K15jKn9Nd2OgCGaIKH554e/NjM6dCwJbMuE25ji01txrQtUo6xGZFBQVvP7oUw
TzjziMfy8Y+jKJ+fUAU/LKMhRgnHZCslPTKzRvHBcl+B5YDS51k4zLEBTQpTAkgdAuy1bFLj3DPh
HdiOAR7uSauxXACec1UC1vaQPWNKzon1HlstHwdcPGEr6VUN2UHsAFK4nAwBkPmdTXqIwkXnrFSO
PxyukugI6TBRWsSNwpILDv1mjMV2VXgXpW+yGSTxVimfTi+OhaT7z5X53nb6OdJSsgmEFAWWiXgq
stf31W3+2B30B/NyCrQbyx6eQsnpz+y6Y4eMJUPaGrUOZOLLtjHTohbFeQl1iI7aY4c6tzk6nern
mgV+9Avc0c8E4WMb4OOAi803lOHUyyV6/DBrtmev5EYbbEsLTr/Jc6PMU/phi0NwQOKGZOEck5pL
GH37UdL6qIqfGebYyvj4MIvDDK4AtOdmiJVRgSHNnES5SCF9g46UGV6ffqJ3aPTnWAzLj1ltB5Ie
ALYt+WM1VGEzrcjHAEgCqmbOBLqnXhcuMROn0IpdNymQ9YbkJdRVpZq7YCXZNDnQHnLZkJZAgXvd
tRSqBBpE76BSNZ7jQH7dkp8/4GJLxhmkQC24CwQSADdjfCMgayxlsznnmSX0NeMDpghxBgknxX/N
5eTqPfYjSJ1B09xXxlNEfz98zqAl6BSio2Sip7kI0s1AavhKYsMP8R1k7ACnaF0FNCL4wjtl9Evb
/j+/D/8vemOHn3PY/Ou/8OfvrBp5EsXt4o//umUF/vmv+Wf++3s+/8S/gjd2+Vy8Nctv+vQz+L2/
xnWf2+dPf/DKFnJvV+KNj9dvjcjb99+PTzh/5//0i//x9v5bbsfq7a8/nl8LNCaRNvHke4vZ/vm1
9etffwBzqc53gg9LfB7l13fMj/HXH8Hza/P6Vh7/sbfnpv3rD8nS/kSNRweMDBON6Zixbv3b31+a
gULobMP6CznpzA8sGW/jv/5Q5T/NWYEacvoA+SCuYaU2TPz6ErrHM7AE6oggMELw+e/X8Gmi/pm4
/yhFcWAJCDl//YGUDnHkn00JG0KwimHfYmoAhCNhfr84fIgzaqJAznLS+lWZ5MSTmXyZVOFllqGo
O45IzTQa2rAOrYMISxYcWOWhgVQyA+8zAnvQyybgerNy1Qqz8Ntq9KAZsaqR1s9NpAc5VNwmjLei
qVxQvF+zOHMhGHGdTHQPCrvd9bIJE8Z2bZZ8K2WyU/aQLahz7GygMtBNqyVb5hmUbeI9EuPSq40k
RL0q/W621ncYH0KyShh+pkVuF40r1khvUqX7aChu5UhkwM5p1G3QQ8ZVBEjJCU4iPEuDMGp1N+1a
yLwMKF+T3M8VpbVziztiGLdDOu6sDmDsuE02VlFt5EjdZWbqJQWB6Af1WJn4dUX9KIo3/IW546to
dX+SCr/v8l2aaB4oXxuuA/o/FH7WEOICdXQhtxC2q4uLcTK3qlZf1X3msDJaw51rIxLTznvqdpN2
Ww/NJjXMtQJxGokj/iRE+L0ZXU/xABNesBW0hN5AaeUgNAGBBysgbXKnc0m2aWatJCY2fU+2ehI/
Nn33zUgMXygTWKPppU7Gi7KBzMhkTQdo6WyFZcw2TH42ZdBpTtxUuS8mzSmHxDVldpsZsmum3aog
iYdaI3qLLu+fqh4alMUElY7XsAT9XYxuk6Q3CUJ7j9oXWIv+CAUcMwIJW42uB647lT5+g2SLC0rJ
hloUlqzhijL1BrbmAemFK0zpLkszrzPrq2RqnQ73qdqqXWZaN9U0HiDSeIj7cDVB4IYNQE1AwGmX
yfltHIEST/t4xTq6axtpz8P61lLktZFDGwXiCrt66i4htB5EkEzAq/fionDTCArV3ZUmT24fKhdT
N+4yLbxQM+0Ntp17vaArJZccI99ApZ20rcdjCgIFlMtVaUf0skCblSbc8jIzUmVUj7JsiP0u743J
Tgt1WA3gp12qGRTT24aU69JUpe3YGaqfxWYPRroG1hzkRy6lnEFTqlFJZ4dc5as81ogCjAVI4k5b
Rig/wAXlQeKKjsAdD5ZuS7IpYQGkkI0H1ky+b9M+AamclV5b9L/IHf8X2XXE4f/8O3B+jexJ/j3m
OBeOxPb5mPgV25U/AbaDHSKUlWF3h57bP7Fd+ZNCbR9/B/IUAPwfYrtC/6RA24LUiMs16GQqqtK/
Yju+NP8+tB9mJ2XwrpTfiu3vAOVPsX0+WqgF9L0GhRvoR3zOIUuJZEPNRb6SrBSyMTnYzBAHUloO
/IJFIvDHradcrtlF3RvIxUDw3yFKr2pDyLsmjzzdupyUVLObil/wDGWwiLi19QLLvQfJRJLWq0nQ
1oiuquSldQ/dEwUN4Bxon2dNkRBqCRoZJiIWaunE2GeVBaGtFvEh309htZZ64lthuRvMwktblHsz
Xrs5RNX6idx1VnI9GbPtWOP1MaQXVdDqiuRx7EZXy5Rdy4XbT81LkRpALDGb6hDWSYRvhjQYBnFo
iXVvcch7xo8a4xv406zrRttH1XPMnuTOvGwk2dVIHqS12BgAzUMN9XbKs/WATysgKadAu8IyShep
miPp0DJTodajEp9Y1y3sxlTASkJ6DzMOH/LM25rWvhxBvLRLHWFA+l8vtgrpvVGJnNpsd2N4LXXa
xYBPmrcvcTauKU6ypkfDxaod0SACawbK8OYuU0enhBhGEvWQpM+2g0qBt4IJAcwoyFXbhd+UGPJp
ZjtcdJjOXq5WMrnPItlXgNkZGitxujS8QE/9Xq+KfV5ShxWVk4xIaXm/B2wV4JFqz+WnCjJRSQHg
FqzFegWw86RTnifgZ+JBDlJgS2gFLTUteSys9odMuwcCk81R5ReFWl7TlCo20avUNoDVt9tebv2+
kNYx1BtsiDB5PB8fVVSjTcq8MtYfrExGNEd/i5KNNmr+FKsFZFuqEJihxEsZXZdpuiEGqsssdpQa
PnCoChlYeC9THF7GUealCmRpwU3PVAYETW1O3jillyUED702VbZ6qB2iWlqHONdQvSjtto1cng1r
okODJ6OXwtI3edRcNkUJfU/1aqQVKjTwRLEhnXQL20NXS2JPIuF9TCLA4sWtlaI1MbZ2muoP9WDc
DzAO1PTB1WmFCo+JDhCWsES+QXIHcuc6JGyUb9qQbQqW3yXdDyZuRsCJ0k6BSkD6LcaCZ5LpJgkL
5A6oPkDAwrEFtwB4qQkQLdYynxvmbSqAlFO0IIr4swyzM64VHtBGo61HjQ01iNSRaH4xwXuhiySH
5OwxU6GlqzbfNLnK7MoYnFiNXNJm5moicCNUwpeOS9sobbdF1zt6DZVAK/N5EUO6WsldoPHuOqME
G38qN7QOiQ3k05tZJY8NTS+wxja9rH2Xu3pfyKFfhpUnJYqj5iqMZHLhGJRBpTAyyvZCyPSHksE9
LapachUNqb6SkbvYsoBiCGlC7tV99fIenP/vlJo5GSdOqfz59a05ckThp/4+ouQ/3y+BFILl0NXA
cfXPEUVw2ECHA30wMFT/++qhmH/ivMJ1BfdzsB7fEVp/H0/GnyaccSiAW7KBSgsscf8+Qf8HVw9z
voN+OJ2gtDp32mGCg2uHgWvQ4hKsF2lYlKoyBZ1hlM11A2O8l96ICvWZ92mE2KCEcesOkdnGnrD4
ZaPnW+hMbqsy55DLS2I3Zf1e6lLqyUniT1mFBUquYoISQhYTf2JAO4Ut2Yq8dhpNesoSOBc1Ehzf
Q4ShgV3kMrsstH7WOHLyEYdiqeHmMz5orAxGrt6EIUTIFHFlZdUhrbONqTwzGtty1rxVGZxEDX3T
6iu1R0oYGVuzZf0uaQdGn/RMaYinlbxJ0UeNTegA0gZ6feiJdi9mGIejQ1r9h1Gj4tfDFg4lD+hu
vuojzJma8b6tWCc9sFokL6GW/X/2zmM5bmTruk8EBbyZAihL7ylOEJREwXsgYZ7+W6DEK6rEJkP/
P9UddNxodhGsKiDz5Dl7r71tMbMjGVcojy0tHo4DfczIem8s9Vbv7e5WRVQ3rP89Uj+O9PQ+//uR
2tLayB6Lb289Vbzw11PlwMnCU0h3hSpvGSS/HOqXp2rpmiEjRwf8PGP+eajnyaKsX2pFjaoQYT7n
/Zcny/pEy5nEtsXouXBv7b95slTt4FC/PFr8KkpSC6oj3YeDrl7VqE6VTTJnnhC+jrHcZlOofy80
etxw0bgJ5ef7sWnwELhlbHOfAuXjnp2suHEezOdbWR2v5yg7JkBXEPk9cGjKzkURnjqdfRcV4Af1
snJjZ7iyohqOmxVYp6PK+SqtwHGNwUNv2X5l5pdaZqzzYdqnvRhXQyVtRO+46qzeTX11PEdEdbTi
UooTL8jCh7GByBqU9xQlCDDz1g/lclfZwzUtrNM5KSB15WDswuzKiVo/zZS90qApVof1NE1gjrKT
LNA2jpz7qVzvpDZ7snTJ7RvKVqsiSXWO3Rncv4sydCXq1i9t+0tsmR5LIYxzNYTKqm/F2PuBYvpS
A3NQT2Nf4fyYod3ta+miDcoUliOkXluI/STFgHqNJ5JhESpt0hJmfGz4eZXS4DTTL4XdrvmcjnNh
fmZo6cMQTn07Hc/gPa2GwLouy4YyMWP/TMPUgklQUleFiZeH4AB7EH5BaIO9LTF5WQV0qCg0/WDJ
kpq6zCtFe4leyDMSoHnN1O+VUj2fQ8lXy+icblridTM0tLE6mTR9ZRnTrkIRq2SGJ0Vi1472BuSb
V6ry2SBZV4TgrgbFukHY50bheFTL8ZOGiGzhq6q7we45KEumK9fxShdCIn7X8jR12JcNPE5tuNWT
7hIYzQrHGMKjqb8rHVBhqE/XQ1Z8iyXZM3ttm9HzwcJ2mZJehYR+uXwBzqqU4CpyZg5FAN6o8yeY
czMLM46Bz0Yt3fWGg9g5P9Ol9rYJNd/QIbCOJdzEUVt1NjakOjY9M72blHRLlu92iKcbqW23Td+f
VE227k3yuerBFp6oZoTTSj17HcWppYyAUcPYI9dsnVgZn3FHDhBUZT8Mpn1hI7dPqys5jYGpThiF
Bvrx40mYFrtkkvehk++MYDoq+zR3gXyBqLUTrAfVldLHBDRz8JrNalWkEDArEyoXkppUeLNmR+5Y
I5rJdFVfs954XUZ8Gie1M4NQPtR0+7ooQHGF4cjZxBsjQu9LUbkaVwuvm16v9r26PNDq3NTNHgV6
XG2noZYv2oahrR4F9/p0LJ53ln+bw4/NgRrknc3hqfjWTG/UW7zq185gM/miPEJ/S9d3yWt5vTOY
9OOXeTfzqmXTeNkZzE+Q2+FFG7SDQTDar3YG85OKx4nZH/oeAqHNv6q5/twYlummw7UJOyO701wm
IK+6vVOrVE5XV8uUsw84ZbVatE9tvQwBGJvV0PlOvK0yxHIFJzWpVvJ9NKnxVxFo4/w9ze1MXnGM
FQOZkcxhL7CyJdqjrAXzFyvRs/ZSey5F9AartPVcoEhLrWIvVYu91C/dcykzJek2KySgqBOZesoK
fnJwBUSRSEeS+9rLRA5dPak0RNhZnJzrAbXilcNK1Kxlh/NnlUnddVaVXbL7d2P/uLH5ot+5sR+b
b09Pb9zYvOrlxl7qGoKkbaoX5efd+3Jjq5/kJWaaO5Skg78oeRhrLC4QizKKIYTzNyXPgb4JoqOi
yxQ6sCwYcMPl4OF6fWPPbTjb4cAU1s6UnQLN14bYPDEh8EQc1ft5SpXwWntePwdJU3I3KXNzujaD
Pq/3uGRm7VjowUKgd+RIvhrwhOYrA0lHdlKNk2m6/260HzcaJ8n3brQ8zrryrZEZr3u51Wir6iga
wYxaGiZCfvJyp2mfNMpmEigsHKeoNDhS/pqYcXvqCgoEi3oXSd//imuGadBRVQ6YDLoVQvj+rrh+
Fku8OrcS4Ef/FsEljXiZPO/DlOVKiLbLnKHc6jXkjdQkl2tqRi83q3FtMMpIx+bGyoMU8UgFT9PS
vaEkiEIao8ht7fkqyUfqYa0t1rbW74J2vhuUXl+Foym7fTXdgoWnAyhRfrRdmLnqFOPc0dLHrtbO
SlsnTi+gm6MMT1YRHGFoJJiHMAEOFXslpoekDMWm7vXAFXp81CWJuWrUGKNmzq+Lz6GXfevV7DEp
6YkFTnxtOHWyAf+Nhde+whcq3MgYLyc5C1YhYnmUAPo2itWnLDKu48i6tonJ9bIwJMlijzmQeFXi
C7L+izOPD9DAU6IebLLtU9PrluZSXtep79T5Ny0qH9tpbN2GYYcXlea6NITOfyRd0VDbaCLKiCZs
tz0hB2M1b8u+8YBXRG7ZV5XbCWdXG6QFD4zkrWauPW1sr0Ytxa5oqX5iBhe4Oh9TOCxmFSWXSTMH
biCNAbmsjVb0+tVstXp4kwUljHRQwqkuP1r4DJUIDd0gB6spcUbMoNUX4rLJyrUvGr2VvDYk5CSe
B6/KBxN3UI9829jLZXovmth2KcivYbYiXrfQgThx9NAX6mmN/9arTVjFpi1/rdXyPnH0h1ozLyQz
pL+rZ8xOnWMlaWGd2ZXmZVF4S8O48IY6OY2N0PFVY9gIPbqX41Hfhynnlb6aj3JSEwNjyol6IGkk
ys1duvRMtOJ6nttzuYpvRe4MvhUYq1hOVhw7LC9sIMybMu1IGW0MoTvnaid1HgHE1c6xpsxPuC2V
JDuKRHRflOMqk+TLWKfFknJ4xXOtXua0gDlk7YvhKpK7I2sqWm8p1buAKRb15VOhS6siD6jkB+s4
G9tbE7DmOh8R2JOLca9LIyEqgia+PSbK2YDNvqxiP4xpxfQKcwa1Cvh/WnCsajVd6BHMYmkJry77
M1ovJWzJ+JR6Y82rg+MuRRaCKizlYNaeB12Wu0zHTmg5D34jclDgIvyS0UC1nercnmPw7dkKOeam
UCpQqu1+zGqL7uq000fLt6P8PErKC701VmnfPukcCLTUWJf5Ri31TaUcZ8Uxc5TO7TR7lYzGQ2eg
Q9OmreZMGuL49EipxL4CnZgryRGtqVPqowsdxSF5ufdKidm1sgt07tChK74xyK3MFuQOu7fRn5Cv
6+sl8WJtFA7uOJA8nBE9lwZX9hCfAqB8COLcdnWz9cy23ddkJlsAf925nOnZt/MJD8S1ZuTC7RT1
a6c3J00kQq+ftZu85bjWR7lrkG2gL0HTA501rQ9wlDpbbTY3SsX5fWzLs6SXd/BZJHpV06ZO22xv
6dHXRLWPMjQSfsbCFnbtD6nYv6atwdbzzhb41BQ0mMo3qi1e92sLpMZiaEc9A79PXiZ3L3sguyMp
owpaPsp3KMfUaC/HCPuTCTGU3i06RlTOy+HjpcFkf0JRSwsYue3PV/1F6/aQbM1phF/DZmrDFmRc
uYwwX1dbZE/0TiaLaKu5BJ64D18yP/JCzBQ7xU0fxm1zl2/sXesSmxiddVvmQ+nN5fGNfpRfQWQO
U696yrxthMUWtdfRN3VDT9ZLTurtq0/2Z8v5tbplKfp+26mf/0wOXConHgV71+9/pq1LNVOOPtoC
6l8aHgyOvkv2RdntKjldS71M+NHX/79LHoxclY7uXqMul+yxkCV4nO2z1D6ppJTZ0Ly2pFUwfMBY
ox56910efBlRnHe2FXPJVs+uHQZTFLA7AFkf4JO4ed69zPJnvDo6qlFaEFHVRds4OMdZLkMJqDQ6
UM2JFnW4+z8S8i/t/z++PIXzBho2xPyHMnSgQ+gAk+V6yrVprumPI0bPvaJ/7NrH/4cv7dWlDk7F
tRg6Vvg62qohTg8ZMHnjjuGDwCEvWdCplc+TmXnvX/MAJIvwiptzkU8zlsfUinrp989zUgp77HQu
ylRybTq9NxFt1KbSURuAN+mn6DwHxwfbbF+F2rEWMl+L25WulFuFwC5TNl2VUaZqQJyNws9OgNAo
J7OhDL3K+TsK5h9/6yKLe/3dl6kg8Hn57oVK5EitMW2/e//jWD7iw2/71aexyDNeX6HqMLKpVROR
QnPa1cVpDmV2HowjIT6iVx/Q5f58MwfPS2aESahpfPCz1q2ScB/Xp7QmNol5Rns0sNdV/6UElp8d
5/pHuav0cd59l8vPXz1DZpQlMvCuaJviaXWtqtx2bfnBCvTRJ3nwnNaBU4ehzTUSOfIiIVb0xjeZ
BZOl/oixcHjqPryHD53SOhFCDKi4Vok8oYiOR3NbTp9le22DA+ni76mFmwoocnmTGBxTTBKe4nU4
3wnjIyfXW0u9g84GHDFjF+OQ1Rein2u1li91iiNvNE+0IvdS6a7J7nMyPKrum8g/EtV/dMmDVYOK
cayyikuOlPBzRiGnQn1PPREgph79Ad9un3yUO/PWqvj6fS4/f3UHxUEDHFEqWRWJtKmU06ZnF2Wy
U5zaQ/CjSfGbqvf19vn2k/LqQ122hFcXGwPHqrPlYnWPRGIIV0J8z8v7goOWfqkPO8QQg/SVmB0O
Th8t/2/taq/f6OHySMhcRwUfbW2n9Qo1XNcz/XLC795fdw4MQj9XA+X5OE+dhRb69/co98kYSeh9
tkMonUppcSxI2mrpyKMAPenK5HORKnu5RyOlVsfxh2arZ+PdHwvfq+sfLHxlWDZBvCx8aH62WZej
gM8Z6wSr1q72Ttdf9KHY0kX1bHSOgyrOEgKfynHeZXO5puWw6boLvpZeUT1LCx/Jza3JRiT806xP
65rV2qx3IjK3YPR9xak2ZSy5uui9tEg373+Ub9+avz7Jg8Vt7FV2BoVPsiCEr53l9Wj1u67X/HSw
fLm7e/9qb5Uj4LPQQctLBvthF2ZG30UQJvfHEJOgZheehRMvy5pV0I/rfLpkBPXBjv3m4v3qigeP
XhVyVK0TrpiCP9dszsDEF77/pt686V9d4uCB60lHQ3ZR8HRT0rmdkXtYTXZd1H9Q8Lz9ZL+60MHT
1ZK/5yhw/rfqbDNQvUL3htxgVUE5Uo6LovCcyXJjKFa6/DWVxg8+SWXZYv+46X9d/vCh6wNHLSrB
wtKlYi1FyQOhittaEPw22fJZZIUkGHUnzFE3hlTu515gbu7SW/qCHxS1b67hr/6Qg8KmVcg9Ey1/
iF1noBKQ9oJpVyO3aL9axlnOyE5Wb97/jt98THSF9DCAM7S9D75jRY26PqriaEt02agxAqkeOnHc
F5/NXvjvX+rAqvpzcXt1rYOvedZDbZbThK9Z/xyGnMnMYyEY9RPyEKX7asohp10VyO/ev+6bz+b/
LgtA9/c1VUKg7+hlRpqpDWUs2I7YEDNCrcMrkex68G7vX+7NL5G+L7Sj51Tig8uhE+yYWofRVi9B
7FsXs/lY64ZrB7nfx2dleFuXH4FP3niHSCuW5jTHE/65PMivdsZhwknR5U64NRIAEmJeVabGGDwj
WLA5yYrqKRyDD4Ahb+1Uv13zcP3pa3B2JteUkuZrUY+eIqd7uop7ozPuTJqiLuO5L008k4bbHAV1
tv7rj/nZwIKN3IC1cTg7NNq2lyTVCrdRgWyCQ3wfH1fVrq+3+jiSeAoXNvlgnXpjPfztkgdvOVSd
We50O9x2MMpRR7i6BahO+gAV9sYT+dtVDp6SgB1VzA1vLIsec9mXunvHeCBF1wvqzfsf4QFv4PmB
5FI2z/4iHWIYe3DfmNLY5WC5tgyqNuPxeK1t562zms71XbwxVvbVuMIrsQfworvfetc6pvHrfnSa
e+OEYHHwNIAe8FUaz8K8VzevEpmJkKA4bqOAhBlpHlHK9oLtrMJYEAYflaxvfomvLndQ4cSyU0oq
Xe1thGVBWOArofelHwDV3ticf3tPy47z6j3Bu6tNqeEitlqv9IqPTfsI0/DRx3bwzFuZFUj9ZIbb
OiDL+sic7o14dJX4gy3pmd58sDn+9lYOzhVKF1UhFGnukfZLEFxq1pepP0oUpgNwB+WauPHTxPw+
95+b9MzUBs+iQLZ6JuYK/E1r9f4d+8ba+tsfc/BsGEanpVHL55rL+X0sZRsRdOfqNPpjx4g/Vr71
xIIn0qx9tHUtT8KfnwIsVtyL8p8UgtQO9awjqHFrCINux+OsnGIsdo3iLK6ODYPg22kDcEqg3H//
HT9T+w+uvGAPmCdzZQSwB4vOlEpTnYVTuC1zAp9qD/Kit7nLY9c93tVevrncFO5mt8svmG55whUu
ojX3CWWXt+End7G32nvGuRp4kl+dVN5V8sFX8sat/tvfd1BARFKqDUMwhFsnVfyhPEmUjwBobzyx
r67wB50wsCQ9StuZnQbfA6UiuQZQkYePjNS4Xv78kn+70MHSIOwaiZOsSJtOhEN65/Sa6RVpJyJ3
7mtQteM03NvppCRU9qCQ5CF96IjaWJVqeRY0JRbFWL4I7ZrWoFM9CJusbttGy6L0mr2djCRexSNQ
pdA8n9PBNwMRu6I1YOpXWulGkrmVs9qvquBeGoJH+ueenK0qZ97XOZmlU/iIr4yY6i+NgqBxqu7T
Yt5rxLH6Q2efJIir3dyqB1cuy4yzVZL5rT2FfkLGJzOVUffq5JG063N6dvWC2iTqB3djKps3og7O
JMZFejDuWjBgJH7nx9UAUqptHQzllXERJ9FeFuXDZIoLwbHQrBxjNU/KSd/DjtXaHVr6jY4Ushr7
0yxMLvAzrWsta2taA0pIFClMzQvbzAL5PpgXaY1oAX+VVUSsqZF6uTRJx5nFgVYxnVVYpSTZ0u8a
QiXxCB47KtMk9KMcLo6QN7o0gfi1/Rg8OwQs+6jLlbM8s/cJMsMZvpPQNS+cyFFumE4WinQfVfbe
rNNdbYr9oM8rWUpStx/4TNpi01c0MrXsW5k466lrLzO1S9zQ7m4QrW7qcCClqCQIuKVI7fyeAVzU
ld4ATWNUs/siaC4Azz2qY+07k/N1XAxKQXSW96Wf9913zvBHsaruehq5nEn3sBy/1lH21eQv0Q3T
dVT9fGiyDeaidTBF0PcS2F9RL98Ky3yQIOcSzgwG1MR+U2Jm1DYF8g9JNJdqpDHvz8/sMLgE/8ud
cqfT+ibL1h+KYFt1xlGd86EZyGWb5tay0C/Z8n7JK44C1bUCdccR8luTN9vQZlUJ+UhI7j7r03kT
tPa2HHAHqVovYwaxJBjLnNyzfhVkxk7K24sxTI+bpNlkqukZWnajZ/paOHnozmP/6PS4CksldlPH
PHY6bcMmT6h8l9yqJG2CjjojIBAYzvhZqavziT9RksPzUEeIW8WLE+u06NvTMdTcGuVCHxknibCu
xro+k1UmrHlq7BoEY4qGmSRKlM0QkTZryqedGuLHrBmUShXtifguiEO/kzLDDZXGD2RSpbnvDZVJ
JWCxvMuZL5aQ5jTPiJ+1jNaSH0243bxnHHmkxSiE+5io6zzYJcH8GDf6RTmEFS6VZDM7VeoFXb9L
Q2KfZ+NoNp3zUehfy6Tg3SdHYV9cjV3Mzjh80ePioiyCk1bwfrLwBrrbg6jFUQT7ltXdt0J1Xw0Z
eOU2XQ8thuTSgDPACh+Yu8KB0Wt2mV8b5m40gnWA01abZqbA6kmdht7s5JsiHBvPhmwWdvN6ghKs
JkHkM2pGOTRo17Uk7uOsfRon+vuEcKGScHtD+FbFKCPiWJTW8A1osbk4NPxA2J5QcWBXE+mvynkg
WTvwa/vFZ6O3E57QpnrUSyS0ekGKd3DR4T7IQkS9la7zG4zv42wzr59aJL7tNa7uWz3TzoNY+pLL
zQ681KM2pStbZ9xOrKtcDGuhT9iKZQxM8zapnFVFVLwmI6rOkaeWoZ+J/ilPQo/8U+Dd5b3WO/4o
h9dTVG4yTToNuoQBsXrpKOI8TCApq46rdwJqkGK3efOjLvo3L7bY9f57XnzyWDx2b4nzlpf9Ni6G
xoOR5hlbQMn4a1xsLagNsG2qbBAOSp31Mi5+9iPoKPBsW+cUy+97mRbjAZIR9GFhsPAykJD8N9q8
52nwq4IKbR6AeZwQOhNrft2h0UfFnzb1BfHvVcTI46hMsipHkWEk8tVsjn3nNn1uOEiz9SY8EW0w
w1OZRTYqq14Ww+h1XTSM2zzm9i276UoOQ/ZxR0b205e9nzV1fDqORYrVUR7Qq8ZR5llGODKkUpTr
totgjM2Npm1mfTZPZrmJlBXMzBTqX2n75hSqKcbPYqPOWusjltC4w4e8F/fPX9u/+3dhpf73/Xv8
+P1xeuq6pz8FD8sLf93B6PYWExg3o4ovjB+93MGI/pCJ4qp5dqPpi6b5l+hv4cjgvWbEb4N05NT3
cgs7n2x1AZgZCijk5dH4m1sY9sZhpUpnCd3hs9iBP8Y6GBOEUZEO9SyV23xs1Bvikmx5lVhJlbF6
axaJh5g0tLxvvizC6ViWy5UsZ9hfEquDGwqgM1dEt1cw0eIh0IlVtgDRy0SOxN+HVvK7GsbsOH63
p/xKzYOtrotdUIer2qrO2Kyj3YgT1SV45aSRtNqbkqh2Ta1V3Xmyt2GqPMxqejT3UuMOs/mk5e33
PnPuHbnQ/bgudReIwFNW2fE+jIdqDypiPKuDpNqFhXWXVIZw63rCkdvFHv39Zh3L4+iFGRR8rSn6
UziyBQzZvPYj4bT3dDU1qknV8kB5Hg1FIq8LRVF2duMQepqL7aDnOgbU6psk6XutJzCsFPTGhCy+
z4EVbNJ4yHyhTNdJlNiYXu17RZdODa2d/dmk2nDqptqAQwiPLSrbY3zVEsG/quTLofHFKSxxLDGb
xRHRxeusAfsUzbrljrpzquZYBnM56XHUjGdDHZ8pc437T5QniNxvUNydOLx3IKcQXtXPszl8jSrn
pqsz7aYspJlTdJU7mFfsOD6FNWXclnG7nZAsDrelVk3eXFXytA1MnO9zWV3mwsh/Hov+LRTLUPa/
F4rzvise8z9XieVVL6uEsqiYsKbqiM1pxb9eJRYROqIHnHfKIopafvSyz7EUECiFWImVxVSgLb9e
JdAt6LqMWw7xMAPAv1ol5De6JVATaQqzWuC7VQ9aN2mjpMnQp3RLggqkCFR0fT4x1Kjm9GJ8DUMZ
+489SSdTZg2bvNZKf7B0iNb4rq3AXGdllvpBmdX7tnBCH/Q17F9dn6+QSnbXU0xE49oMYlAyAN3K
M32ibnSSsryJcySVhrxpinDpliRaguM6LKJupwzKd+ZvqJ2kirs7oInr1gbOC2eY0UtGer4dhUMJ
b3xGdy3IPaJxoebZAFLaDI7KIDAey6BXPKlAWjxGF6qWjESyVNFNuvj8pMGpTx3UokNvXyeyeWqq
ldVCrabucOW22OWzUsheimUDgEkah+tGKbVzxZSUY0dipJmm8rFc2/N6ToR5wm8SezuZzoKg+FyI
OvcWCfaqbCHDxCGTy2TG8ctBJEzzy74t9mUr+6aWHdWt8jRJg+d0QIIa5VG3u+OhqE7Bu+4XG4Bf
TmI3kYewDez5cUyrlZPTOsq0ULpLAgR4nlmpI3a5orJvG8AAF4ohVZdNAg3e7+myg2cudmWbSH4p
zWeOk2wUa7wzc7S6zbhxSjvyzJg5VRkIxbPa/Kd05N+qsEDj/3tV2MZZ1n4pmxLn3J9rw/Lal7Vh
WQD0/66BsYbgiJUNioRFzviyNtifFEujQkAk6CgYWHiiXyoI6xPbPC17WVGWdiB+rb+QTD5noh0U
wYBgFmomloE3Ov9GO9Y6cI1N1HbjCF2I7R5vSjkpK0hEGiVv9Vz/SmaESdBMpkhbGijFWRSnmXRP
pmA27K2uBYGhKklBF72l5X0SmtkIEXywGKzptUAj0WZldNd2stwDiJ3sYZ/PRY1CPZYQ6DeFvTWa
1thXZajSoZiKXdiXjgyRiKVnyGnjzJU0QQyZFToE+t6aKx5ZxIxAv0yjvNTkEdJFN+nVWjUlokbV
/ls0kTZjSc3k4lLFPgmRehNBkV3NvGkQ8/2R4Qwj7KRGFV6bZdpRHcjp6l95/eyoWZjU7zwfZQZR
740ng1e9PBnGp2ehFlW19XOT+19tbeI750BGxrtGusYzHuJXbb2c2XgqkBvzCCzHzZ9PxkKn41mC
ms2tjHTxryhF1h97JlsyFToPGY+gTo/g98lNUEqanWgpmv84CtdWal8WsebqBaSdQJyZ7XisQpNT
Iz2l+Z/tAKYdERSXukmtnkvmQPyYuBbL9FOzpW9tBS2l0tN9q4sV3v3HQRtJB8+ByuXpReQIcsKX
rCs0VF7b2dBZmEs7NcOVGkMYup8OOkvTmt/TRDEvBq02/bnN1TUBFOEl9/o47AYlcrwxMfdmhr9d
Bcnppbq2DmtR3BJ1BlQVWIwHN2nw6kKc4PdHqBUlqhc5UnAyLOr9rKV3JWbF8ikJBjeT+xYDctas
LZU2dZ2jLRn4faQE9Cd5Oe5wQywwF0Hbpuu9iqrAFQxTCNxiQOJKXbnXhkgaBnQwidDJPSPqy3Yz
YeXzcRIkoVjDPUPS2AeGSwdxN2N80XKprH6MqP/tUSYHy/9+BvePX/HCvGFqW1728hDqn2yD2nSx
SUJu/I0VZnwyFhekQxwgzxTF6/+2J035RGlK80Qn2/PHKfbVQ8gv0nAE07z54YX7i+1JkfnTfp+3
mSpEaU40mJeBkjrUz68HqGrXTgTEyGDhU6bgCHRcEBEXk1lCKCE2DQRWtZla67gkAiB31JtOt5B7
ZtPeaZrYYFbTz+O6TRmcudaSS6ZkznRqT47pYcYERV1GOvtIFDLmcDDO63K/doagOE0XWp45peOK
NGL1OG1afTV0ZbvO41Bj+MR8JS0izqVBobvQVchoUILoXG/mx0k1fbhYX8lXKPbYXcKVjpTOrQft
bhimm1Lq7wNCUuAS8Samcp5cKHlguiZZXrVpuUllguELO+pueK6tbejElp+KyFnP7cRa0VnbFJWS
Sz4jbyewIOdrIwhViRNfH8GtjSXFNcYQcmQTVdoZ7EWdiDl5DB5lYZjmcZbg3fEaJ98L0fCgWkWW
udlM6KAsd568PM8R/97Plke8aclzw8cTc6z3RCfBouqR8Y1VQ/Al/3PnCBmdEdfGUZkjecs0JThx
2kDx8slghWGpEYUkvHC0lHbXFLkEAFLXtnKnaagzpkEE51OZOl9FY9mb2XBOlTRPKSbMJO2//NuL
n/di+91a9az9+lRmj39uxsvLXtYBgEwcReGsmku1+ZuzRwEnCBiZGA9apeRO/VoHVPsTqEDISzan
naXF+2szfqbKICZZbK8qhkjKhb9YBxit/74O0Ky1OCzbOlXyUjA/A75fCSkyEyp/lRsqFs586k6V
UUN7WynZAzPX4nsf5P2FHMYx4YVh4leOPDZX1kSDB2VkveLe/Yz1tf+eNDKFbRl1+BlA1Sii9BIC
YxJYl4MeNr4imqZdiQyZlpMtVIFRVNs2j7VgVYzaOU1Z8naAtONlGzKbhE+7CBKSZIr+CXyYlCKe
My4yWwVsOsmYEZkPxmoMOWbKLp0sReI2EeTbWxr/XjaugnqGm6Gm1TYQzUUaiFvIaPwtRXdRGqor
OmuXNSMDrBaqaWfYAabRRvhV6UxbXW4+50W5MlXznA3dzw1jN5rV18JEKcO3nHgjZ2TLqe+Vdj4i
YvHODrQj5tluFveeHE4rYoMAj1RVuAlKveCImXTrerHqdoa+ieohOKcUWalhepU4j1bluLU9yKe2
jlVqmfGpAAfl5tTSi8GfFWNdCxVfY3SSZ/XnvJLulcm5b4GCnNNIPLZKCgq1g4YymoXk2ko8efYo
z3By8y3dyM9SBekkqWQPpu546eTiUo3tdebYzaow5y/q1DTrLnLOxjzUdtHUpu7zcUHJmeiN7eRr
jfkod9V2SFD29lNQwV8hpRKtKoCfqdorUX/UZO1NpaILUwjaSevrNh/WdZReRY4KWTbwAmw2Vg3T
zk5FdRGMkd+HkuoOynDSxe2OqFP8s63iRhaj3kZAB7TExh4kNxrTAVZfh/Zt7C0vlqS1EldMWCO/
hCPENGFVxuWuttOtFfU31aDcqpINHBEy75DBQiFoLVKdy7CZzzipHOltfds29m1k4aKego4WLrM/
OyRuWFwa8AfhAnyZOhZNckXcaLLunaBc6xMkGLxJfhq2x5y2HtIuRJVirWBVfp2y4WaWxbpuI9Pt
SK0VmFPxCF9Q5H3HQuU7aUyJGhgWt59dYSyOLswkx9mMKbclXH0u5K0MNmfKpbt5qgt1929x/nFQ
4lj/TpH29P37U/N2mcYLX5Zn7ZO5SOPwNT63A193GPVPWC5xY6qoBH4SMH6dlciUAhkum2QTwmj5
tTxzVqI60226CNAumG8Yf7M8L/3DV00E0AP4xGzgXo5Bc/EPbrwjUEuVBbPkKlw5sCIDBWN1w3y7
+HGT/Kf1Y6n2/ryQwVvlVLi839+rwRzolokKpd3ST2cFzUlLizfNUHmvvoLzH7/wtcOE8K0PLrT8
/NV2k4pglqRIa7foyRQ3rKi3BjWfIC+3J6NjFcQfWO2l3MVPal3egirHjFJj6pdKc4SY3Mh+rKUX
2jQoXqY2Dhbx2vaCoLwl3WwfWhRcjUPRFgejslEMscuqrnD/j70zW47byKLtv9x3ODAPrwWgZlZx
nl4QlEQBiXmevv4u0K02Savl0L2vdke4HbKLYKFQmSfP2Xtto1ZdWsY4o3AqxWScpbjqLEk50fqH
yF1dmyD62JiQZ7a5m4gGNe10P0/SNkWAexWL8Lrr1ZFSUEHUOJuenKVIbaaE/AmhuVYOdjRt0Vg3
1W7q7X04hjBpY68hmSIROUMGIs0Bm2f7SQa/mkpf69a4kwbjSVHGtamGVyXsCA8+AWFplJejxUJX
olTjjJtGm75l2zQmSIRlmZh+RGm+6rvupFjV3spVfuKIaKBSu2u5Nu5qQy/YhqpjZsEYs/XuetSV
yp87Jqtj4nj51G3jGQI39KtJe0w13LrKQLwQwRCqbyQy9IkEmYSkdyc9Dr6R4VCe4hRGtxMg9olG
s0E5P9kes5pXU0SOX7WkO7dMUzntYlSpTH3yMzWXbmf7ogjS3Nf7RrqnxZ35TqBGJHXEpDm0CezT
MTpkMq8WVnIJSXF8noywWgnLzj0HgRML9ERyHBqNWWLW1Fnd19oM92aSseZ2g6vp0TX6A08z7Ylz
PJhcOEcSbyt0drMWXI8VijmngxpQfevtgbNzGV0NBEmQ0s2uKlo93s5mHm5SooMFLDbNgPNaRNl3
CmhD2xW1sL4lQp2PjiAnZms5gY9Tej9p8lWqtDetHB4DPiFVHcCJORqA1RaMbtHtrNK4LfCImaW2
ocrxools9Yxn2C5ma8t9pcpvshOSkEuDb3NNHKMil37Ydcex7fY2xmEzHNdxbmwm2SJNkIDxBJGU
Jn3vxOCGCGpLSV93Hei3LHItvXHV1oSmDL8W0RONRn8QCbj+YUsk3c6IJz9lvLDK+2FXpgl8c3mT
hTVVgb4Z9PgQF8mlrRRfZhE8CDO9Qy4Jj0H1pNFaGHP0QkKa3sNOc9JDp7ZbDaiDPmsnmHNuMZMd
JUwv1/NrOym8Dke0p5qlvKJZkrmhbb+iB9hrhb21+uLrrDber5eVv0vl39bJv5YvFvj3qwrTmUg2
S7PZkuLzIrbtw6VfXxtudPUfF++/HQ/m5b/YTO9y8bN+x/KiHxup+gc7ITviG4vnwzxfpa+O0U7h
sGMpsM540V/76BJBwWkG5e1CMKAX+KMbDzWd8w9NEkw+C/znd7ZRcjT+tu3QcSFgY9np+Z/xqenY
MS53kmJKt00kv4g4vkkwsBIu4Ut1ddGO8cNghPgZxqVuHz1zTre1ZMyrHvEhnRBcramAuCfyL3UW
urKkMdtu1vTkjvGgrw0TeTTkwqKy97LardBcIm6xaPDHq8zO9ma2s/RvYVCd0wH3dmlfzra2DxT7
MDWcGOSJUXazMYfRH9V5XQb2VnEqr9NlOjHtQTZ3ZV3Q5Iz8JuAbPpqrce6PcpTelq2Ur4JY3We6
c8Z/ukk6zV94IEmX3C1d1HAGDj50275hZj7sh4rhA5kBQ68iE/ge5JYNA3zXdLgsaGCu+ozJ5BD0
+2hYD3m0GfX7ulsQjZpbUfi3ZISo9lEbT07dnFO2LgcwTzE9psO8M8x7a4gOBurMCjGj0UrbZkDG
atQ3UlmBPtJW8qR6XZGuJ9ylQfM1Uqn41fncdF+GqtjKIBqG7ouYUzz/D6yj61EeVYDyOaud8BKL
xq5SEmxOlkgx6iuzDzwnvIyp5IN29PKRDL7SxTp4a8uV38LH1iKpWePJUtYJ2jxP4Wg2998bFREB
PqWE3wLYna9HUHnKmzoFuzI9dRb+/ynZpK3ton5luW49PQUIWt8os+GN1kVf7WSFzDfnwITn3Nvn
bNZ8K25cnXpANso9IcKrBOOlHPTs+UtB0m2Mon3sTf2uICp7sAP4ndZBBWbMkp+UylpWokXAO+zS
ahmRFtIVtqYmSfywKU99MX+3w1tNju3HNC442XJ8yU56Xul+G/SJ6ltdcd/VDklYBWs+x+h5U4eU
Qn1a5HDto43RP4syv1DSOFjpNee4OGhXMDpLP+srnsDqSStRypZkoHBYvUyN6Ws7aAr8Td0PzG+O
LA7B/BAkk+EGbJ5RUO80TNelUfmkaV7pWnwhaahOwtu4peVVEpUYnyKI+JQV5hhfKLWEUCXCRFC+
ct7fhHW+KeNviXNXaJGfaSG6WO479ophaNaKwnEwi92iXdhZPjWT28rzYyYUL84s1w4wW9c5Zzd9
m9bHtk2vCw5T1lR80WWxp59xm7UqtJwCL1h/qoPkIZsadNPmhTFeyGbsp1l4nOdwM5hUFoQnlw3i
zu4I63UebC+1DL8zW49RMkisYGUZ6S6qLuqk3cjK3h6qlR3CiR6/hg2UEfg6M4kBWfnVEjOnZThI
YjyJ6CQP1atBpEoTtLj+DV9yJFp86tlq40fODV6qvmKs8jkyrgomIiu9S9ctwAvDiu+0NDwqZOFQ
+nwFRaRS8A36U95w1J8IqJM1z1Jv1OFucFB4lhV6aBQF4RVN/6NRqZQo+z4ujhLD/VU+9qtm5nuf
bspWXpPyu8ra75X2pDvDqgZFrUnRynLOtaj8FJ+gKj+HRnFnykcru6bBuWChvMIkGtr4ElFVOCyG
rYLqNl9pXb+xtMlXjW99zAdM7TwK68lsqn2UDlCerHuzhUlAlzNhBNmTGhEwQhym77WRHjUrvyhp
XijWFzN3Lg16TKLpyEsZXrSowRJduJOt0uuhdVFM656GQRNi/a129IfvNPNhaOqzlDpbxQ7u3za3
f3d5aKK/2OWPP5OdLi/5sccvTEhiRZgCLsLOT3IcmpFwd3Smemza70h9KhR5G/kHVnvZkikR3slx
TEh9JjjrNzkqeL/f2uWtT5s8rUyTDd7GFuqABeW3/FgFDvbMiDpXsS+ERWR7hOhFjldXmQSGQh2I
0nF6OzTWExHZ0mwDwBurZjO/YUithUg6v8FJjWIGthYMPWepKkeFeKklam0y5uhIpSJfPJnpNqZf
0KM7j0Uikb9QW4Sp94s/H5xqn+RYieyp5Htm7WRq7RGZSF8qtp8HYtOHyW5WCw6GU/aYNfaqreKb
fB6kvdWp+l3VG8YmRn19WUiUFVKm6l4ka99aSbyQ8iaf9XG2wCrXV1g/JNcKOkRFGUe7FB7EeUA0
R+tPU6Z1F8osFYpQ+12mJiACYQ6Yq6CbnSN53LWxEujtKBwMQDNi7NDbjrLw0dZOaymtum1Qk3a+
mispWZtDsS8wdAClmeMz4DDj1DHi9Rr133kiDz25cibP/P9uVR1ff1ZcL6/58cXTSBdagMHKomb7
UFzrBMfxIFvaG5d+aTe9K65NG7uyTTvnU7ADTapFFoOOVub/7CWS6HdmCG856h+7R8wPIbICj0dX
gPr84xevkweFcVvYbQ1bNBC+bMnUdno0Zt/LqjeXnmeRgs4s63ATLUduXJUqPo6lEVHFV8PbwZwT
Ov9wSYnq9VZ4My9H+Hw5zItRLVaAaidv4KRvmfE1UhdckPQA+krse3oCjAqp03Wz6NZ2FvKPeThb
+q7J5Xbwe8e5mCwN4p7DcKz17eioLVFfRH5FSnXWiQCzQ+coo9/riQYrZtmbquGMflwhS5CkJD9U
O1fE8qYkWGxMgws04xSaOZ0OosfGzjnnoEMCIsmY6VO9ES3jEFYGRp72hdzfhMSYNbF1mcoD1jDz
piTmrJaLDbuda5nFVQwnOZucOxWWaEE8WkBM2qDaCNfQmhGfFhGjptTD40SsGsiPa5uYtSmeTg6x
ayPxaxEmqiYIbyxi2STi2fDQzYwCCr3xteq5rJXNYstBKbCVrdmzKUnCSXhVUK+yHJfM4NldvI6V
ct2TDTfa0l4mK46+wOC20nB0lOjUkyZX2SBSRPvYysFjTyqHpTX7SDe3LWJu0JThHcvjpsc1M5JT
VzjmTUFunTQ10NdJsovoV61h2RB9k7mCrLsqrPfdrN+OFFytsJjZin1ONp6ZA4bTiytWuUOlJMeZ
DL12ydJDZuf1vOOKlD1UjHtB6t5Sd+a0kVrS+DJ51e/Ui3CQdkxY1jmRfWko+YKcJHTb+F+UC4to
P8cO981o4ieohovOGQ6JTd+umlvKbwqwyQRNatIeGnLDa5boQIW2W4jXyGuJFZSCyeEcQdKgrbSH
sIIbOduvA1GEjS25MdGEjFHEyiassCS0sLKxgjWBlgN3IdDQiF4mirrSgcc5aSg7iiX9MK5nHqb6
YBKLWGu9hR+JiZBinQuCE+0k9lKj+Nb1hYcf66AQsEh9+TARmOwPQ7wtcxzkkoyUhVDGpHHWUUtK
46Tgc9N0WlFWd9bL3F6ZapeQkNIcbH30CiFfV9lIeR/x2RH/KLfTyZIa89Kw+8PYtLj0bDiorbZP
NAvtWPeUKEHoknLhtorxEmolVrrhwajno9Yar6kRe/ZkHUIz8WDH7meTG2RnHIn0wDdafTNONZ/m
uDxZu1qfbnMY42bC8yKKBeEvniepXVuFdNs6Gfg8nYj6VBTQWJk7dsOTaPM2il050Hqs5ESJPUmB
FZV/ptf/W/VZv5xiH8WX17qd2GzeglL/CkNdXvZjA9L/QPtFTNB/5dZ/2TWMP+irkG77A+D8ob2D
QptqjL/4O5z7D+0dRif8OdrIJano9xxHb8l2H3Yg9jCF6Dto5GTsyvoy5X4/Vkjl0CnGcdiK0c7X
UZd9lSJpmzh4kBJJWxXReKWQu9Vp6zaxj0llINYK7ctqmioABVY0DuVZolV9KSZzU9r198mwdr3J
rJfTz6TFKXkVxlnEJf68/FGPq0OTNC8qINlobg7CJsp1lRWY8+F1PC7yy7gjiEWylS8cbl3UJrdp
ne8noxVbVCzEeBF3PCv6iTnAlRIaV6ZI14lTn6eAg2obn+i0XxVS9FUvNb4XyguAUNeOi0tMDUdj
aPZOH5AJJhnfWq2/rTMazwxVK+HsFLs/ywB1tal4ZghyqhzVQ9RzUgNG2qlTHCJR7cO2eKnTamMa
805E6pOuT15QOUdNcQ5JAlBqYHjBnORsKuq60OJNVFjXyaRj9NQuYmm6MhiXZt2uqeZ9gapl1Po7
Ysu2pRQdUzN+NuZgmw6FN2MYdOLyxu71g1DivTmKoyIybrC4kBuNIzFQ6mbQ94jZvEqb8GoUFzUw
BOSA5TcLVvCqUYP7Ms/vkPWzO2oOZ/WeoAKMXFKv+pMjNhZGyqJzrpUq2BgEsExN5Sf1dRJrXt/p
6A+qFWMh3+k1bxzig8FCEmc1OXw6Ea4K/5U8566UJkdwiy7mc5dP7aD3ktg5ZjMzeUuPVqjs58qA
M5/fBvCgc71aN+N4ayfaOnd0yCidiu6BeAIgMSxbg8MChifcZkWrTLSyrHDD21LXOQTtpV9zSWY4
Mu/MbN5PrI06a6TBWikDDnfzOHGdWdtHrKYWq2rG6jpn9qvJahsE0wNGm3VZ2C/IOkhgBH9XsD7H
rNMC941pR6Rls4Irw3iQct281JQqftA7bOaj0Zk7J5bn+0Fa2n01oY0Ap0gdZodbAkeHDClxt6SQ
jiIkkDSLdEVdGZlVb/VmiSwNc1uhvPvSlbXw9Dm/THopXMVGyjCiDFYDvRa/EfN3Y8a95Cw6qgLS
WWUF5T6MrWgA99SHK0OtbbdFgExiogBbXYWn2Bofasc5CSt9tKThqaqiGwY7OA9aGg20oY4k9jIy
ievGU5uBkETrvixG9dsEInmjzF3sGT1A7Z7wcG9yrGstitjNneGbHNFxc2KKl2lI3blXzCWpZpmQ
1Yzk5hh9mBIe8ni+QZdKTFjeXddqlvtaxoMTWywUSkB/KuyiQ60oladWIQyIJNyBPKJjIsyNk8UR
0syqY0qlHUKtCVYdyhOo8nSKJFpxUpTuNJFoKyk0IpdNLPVGKcbVJZUbDcjqqm06wyOyCOXqEOCF
1NBtpuz+6pw/JzKJYxkhj/FoPfWdcyW6/i5Rq11XB5cmLasxQnRmFuNaKWuZc2t3Ygi3ZMyGa0Ma
CerpMpQ5HGC9RA1fLcZn0kK6q+1iRf38LVSHW3sefT1EZKfx9NqOOgFUgLxHPCR3zXjS5PlrN+ah
rxTlrU6cD4E/hV/E8rk1JIPhIcmhUSpWcqcLd5hSv3CClqyjeCtZKXVFT1uvna1NZpWDKwaJ/MBe
Ooq+egVyDikhdXpXjs2vYSVdNj0PZtmFnhjikyrK8r6Zu1epNu8wajIdlPZBTSU5hijh2+e5Iflw
MYrRYCRBE3m7m2fVTQuUKZbVCCs9mp2E8M7CAD2fdjmKQJVWWS0pblCXzvbfvtHb+XVptfzv8+vF
S/3T8dDyqh8FBFo3hBKLJXgRfy/2zP9q0pkPQQrhcEuex5sZ9L9H2CUfV13ksAsvd5HIoY/4MR+y
idChbJBRtJmL0uK33Bpk7lIgfCggEG0QwPtmflbQ5n6CwKR8L4q0VejcWBxMv1mZSL7PsZPHrlJ0
gPnbZp5nH/W42I29sLUD8ZamCkeDeQdL6Mi5BCKMlNfrCOZAVWNN6u3c8mDbpfu+KykgJllxRS13
nr2Yh7CFbqzFTcTKN6YpdiPlXC52o6Eqd/1iQNIqgRepnOrqulkMSlFoW/fABHAtaZNpqC6lhfRQ
Bgr7Nf6mrhpfqtyotiXOpyog2zuUun3R5icDb1SNRypqM18Yo1vjnTKT5JDjperxVAF/uebsEjGV
mM/Dm+2qjn0YlprP/JbArSF9srPhXPai3/dSYl4oi4GLQ8MxilDXl6mqHFma1EvCOCTWmjS7420h
u48F3YBYuiKGwEIOm+8l1Fl1I72EOcefgBOBUjdH7vJRGcQxiAjTaORnLdTdQE3Q26b7LuCspvTV
czTYD7raXMQtGtcG3okAEOgkbD+hma3TNHqIgT8oVfGFLPOtEjNC0iRvrB1rxXxu7cShiQ6/pltN
ERFa1tmw5+d61oGUGKmrZA4MiiBdy7W8SzuxLqJkqyTGgyLsg5kEz5ER3QaiuSwCxdca5buEtSXo
htu4jw9FCkwBbOiL6vQ+1SkLutFQr83NfdOZJq13O8WBXlznMdGzcoIuuVYyT8vz62lwzmaH/68z
7vMsJNlXWsbnoQsz7Eoq06Op9cwXe25q5E1E5bFPRxvB2U0zgRFp9rHrqrU2BTvdGpkyJQ8pHBMt
GS+SUfZ1K9zlekL+gMnooGrmo9ooPSprMSMdDEf2YbIxBeuhNlxF6OG0O6GrQt7XrXNjNTUkGcUc
pEMbZftESja6Ka/DQNtZ8FdWWhZtpijdzgkpvlkEBMLhCQrNey3IvazPz2NsbQlq0fzcLizIPdb3
JosuKKglN2tSkqDNO9H0V5XjXNZqdWKExrEupdejzFtzQI7hkHLnj4TvyV3mm4PyIqTOKyt925bV
RZbXL0WKx5B+L/DRS3SVm2TulmastM8YX9g1tUJtoCiK5odYrRFxdlc1XByrSk52Y10VFRke/Txe
jEvEcGqdUKS0RErIO2lE21qzCQeINqGto0dM1nadwRbRpf0g0lNdk4+Yj1BIxXhH0ERNNiliCcJG
SpUBZhAGhYvlyyxWQQRI1Nec13+3mj+3GnaGX241rfiJ88LiVT+2mkWBh8vJYFNYtHmLqOAHWgAx
tm2YGudV9g4E1+wC/5EiIKtmH7FwDDqGTqv1YyQbNAJMEj9GG781pdA/KeDokzra4rdgE2Q/ZFrx
8ajagL0pclXBMtdNBiVYGnjZIlV2c6PvlyAhWuy2k7WokfWg4piqdPeaPYyXQVFplJjAsfJ4PCix
XmJez7ud6C2HP++SRR1tSI1f1pm9TYbaJ5jAzazmbNqYZ8mhjuLe8tskrC7KmNyvlZPj5bgOcF+X
BAYNHLfmtnVeUyweNqPVIZ8h/1MVr+IyN0uITWlxssqkGr8HWZtE+0yb1A6ebBMYD6UhX/z7iL89
4g6PxP9+xG+6rH2t/96OWV714xFXKH40czHk8QM/mgpURmosqgCSF83q+4EApgLgyehJkZOS9Ywn
6X01ReCCijOQzCxErwhaf2MggI/+b9UUVR7ue75kDBhw0358xufS7nhaC2fjlBMT5jD7NuJ2a+3e
9jHzV8+iaWmpWK06+AzU6oI2e5YNe9E5+vQYOF11WUuZn+U4EWRZ5AfgpM30TXdepbfVlBBCZlNF
ifitmtXSDUsFDU0/Xae9CXNpDsBq2Uaxtq1kP0Zi6TEYDLzGDG59ku8RA40vdslAWSnVQ5Fr37HT
ruVcZtZfl8zJQ4NCSU5fjA5JR5ZP8dagt7SS0zTHz+MEuzGdwjVDuhvhpP1hLunqavNw1dVg5jh8
PHLsCN04nFNwwvJTKRt0NKao8+Wpx8of345Cq3ZtXn4RCZaEyJ4iHPPhYZKNU5KSKG+Ww5oAociv
ldlZWVb1HYDNlaI2Jw0C3CicTQ4RTjXMg2YAHChBxcWEK42w40BlPYtZ2tm5dtXkZr4qFszcHBWU
gIDnwmHYBZDoOoh02PcZOoRetaDqtAVap0Gvo9ii+2rknrwQ7uaFdZdauLIkunk0AIILdSHiydRu
UQ8JpJqnc2XopywiPUrRwicFxJ7D+lEtzL1uoe8ZC4dPy3qPdK3LCEDfuJD65IXZZ2tAXruF41cD
9JMsyH4jiD9V4iirT9XZKAkBm8EAJgsPsBKyna1ktCI4o+B9rbSROG/PrHT7MJrIiRVJ9gPk+ltp
SYHhB3S+bbTh6t+F6c+995fygHPyQirxkrXyt07xO40AI33M9QjgMSoiFYCw8d/d1/yD6b9GpDx5
8ssO+6FTvGj9WH/+sy8zxvzLfIxjmR/I2YGhPpETv7EyLYyrj8c8U+GncXLhF4QDon865uX4DkOC
+XSeTkXdTQb6lnogZO8WNNSxb4cJNW08xU+YMyXpANjXdADmdsqwnm1S1kpNq5BZOUo+nsZIs7Zz
J9E0apUuBt0et458jIwrYzIH42bQYhKKw/K7XM1jeAcqEvobgTro1i0nXEV1IYxdzFjd9IoGsbXL
uAsCYjh2F/Dv9Aok3vgjkOTfGQchj7/YU8/J6+vXqPjyM4HL8sof+6r8h0kGJUQZY4mQekts/1E6
Kn+osBwWR69uA4dYsrb+Kh2RxHBsdCwMG+hV33Up/h70+xtPr/p50E7tCNkNRNtbrwJX4PJ4vxtz
hFYNh88Y500/GRRkHFNgF4146ebLCAm4vQy4qd9wlDOF1JsIJWck2vI4xUHnSqpqdH5dBCyyQi6p
I52s0NGPD7Hs8WSrLSlIpFArre5ZpFI3Szx1NNPKDnp9PSzR1dMSYm1h/2rop8VhzPnJoBMoI0OV
Cb/O6/ymETBkW2KxhzqiBzzJh4jA7D6c9wRK7VIbh7zVnRaGykzAtiRlN2CoTkMz7mmjouGX0bcF
tA0qkfFvI6piEk8aUvrkOJvdoaS1CTiVw3euzxy2kOA48y40+zuckts5Flv8DQBVa0aumOJozPvD
SMIGTvl1RYq4Rpp4Iyd0Lh2OvvYD8sknGe3uSBM87Tn+iTrg+J6fcvLJ8VZwk0g/pNYmyFLSrkuG
DQaZ5iKV3Z6M89EQTABwbzVZ8zCQQbGifb7WyEUfyUcvyUnHGrBn5ONqS4A6gTXwVYlU16fhSC6t
SqI4oOGS3PW06Q8BMoWhMe5G3fJ78tk5256hgro1ue0zG3dU664jd8xtph0dIN8k533E/9Eswe9q
JZ0nkuBlEuEhAe31JSJ+4NV531wLlZnCEiJfLnHyLTmWZLzXIx1pOvE62Mi5UmiJM2MNiaOPl2D6
cYmo5ytAiaYZt5Y0+RYp9sESZ08NByzSfNLIuY+1mql58iVLIcQrwvDs0rnqdWejpRtbUl9nSayt
ngcxcwhuDDjNd03EMGneRKq60RL83XUUIXQwvGGEtBtp20FF/Sjb6LFBjuW2/SVuay9tWn8aAnLc
05n3ZSPxre0vPWLnoElfG2yEpZ56Bn4J1Uov6HW4dLZp53RXcYpqMwJzmeY3JeUTY72a6U97UpTu
VpqLnVbUXiICGwdMhsKWhyUNn61auHLTX5PK6Y5deVRm9aHWbUAM0ibuenIzh2mvpygAzOy6hwyh
jMGzU2D2JvrbF1ZgncyoqrHBDjetVJerNI+vRjN4sNoAoUl2CZ3YE6ber/MmPkbqeCuHJppg6aIx
tthM962AaGF3rzkCBFN9ERWQiyy/tGnVoO2is6Xd6EOxiZPpAYvYKZt0OmwG6fKDP3a0U6zsmHF+
lBsKQ9kJXDtznvu0gpikHKais1aJNa/bsebb1c1XU1J+nYVYz/rSy6q7swgFJkvyLZmgKYcmSw6t
XZ8cCnEQr2kEdq0Xk/Qv9ej//KkAw8Dwi/3p8qX5+pOEyOVFP7amN9wRykpFpX3wkSehgpogUg6T
xIIi4zj419ZEDOSbNYaWBsSjt1C9vxroGC44PRoIyt4gjL9TWFG6fayrOOypeNyp6sCHs3N+3JhA
IkaJE40hBp/pKsnzhw6a9rs7cvl37yDv4u+XYH6AypQODVFAHy+xOMRnYYFBR3PuT99C758ixX76
Ht5d4NPmmg52yhSJ94DFDRe6iuDmnwjoPwtosfn1GTUwt1ChrX58E5JcjPZIDbply9yIpSUNV3iO
w6txcNZp4GCZ7gc3q/li4apa/foOvqF1Pg05Plx9cYG+Kx+GwOp0EOsw9lftsd+Fh/Qye9E3tPJd
zZtXX+0zAjt345zaVXVUz3gH1vV16hPovBvk1T/lKyy19uffBkUBqd9gt3AHLR/4+9+GOETLgvW8
hRa7EidJRm3a+lUBDjnzf/3Of3Ypw1g6ETTxMO1+6rlZo5wZiIK57bAIaif0i+SYMCEpZXQOsffr
iy138fP7en+xT59xMOlVrE1VuC0tczVwKp5BZUd98Q+fJgXnLy/z6cPk/KU4DdPoLS28hmmQU/nl
XDKk3mnRvRk+/fpN/fQOmrLKckFzCVTExw+rmuNALQjP3uZkv4QVodDKekwHxr2eIn4/n4Uu7V/X
+vRFHIG5oFAOeTCCdu1IhFIpWxwraz3UV4kyuf8P74yamqYs+Zwskx/fmaYn5SI2I35jgDgxKQv3
AKdH2l9w8HuYRjpHv77gT5+Pdxf8dAaFw+HkWBjCbdBCmYBMX8wP1Oi/vsjPFjPj3UU+LciTiVNP
xJK00dobtb4V2u7XP/9nq/G7n780J99/ecO+SQmj4+crwXNACLco7ugXUVP8Kcr7n8b0nz3lb8hf
BMYWSuZP15FrW06QN3KzRL6WnfsphHneXegExTfhsZDvfv22fnbbwLVYXIvuJdHJn94WWKTeRqe8
NTnkYFxww+jLr6/ws0///RU+ffoTkqewLnjcwlZbD+rZ5MFuHfMfPp6fvQ/MluBcTMfUnIWp+v7j
seJpKoKExaG3gyc9lXaWGni/fiPq35u8KpFGCs0ZAFfEmH66V3D50WlEPMeOstKRha2c7eNBdcmG
tnctmRyn7HHeyI+Ke5e/bv8/r/3pLpazit/M5PHDqe1LX8ev/H2V7DEbeQkzlFV40UEg8Y3vhnuX
ePDsf3195SePJUpDWNMUPHS53hrg7/YuY1aIKy55LCXRbGzkKhq4kwqjx35uZWxT6UbJka4b0p0k
unPWK77iTFfTlBybaHZ57o4BGcd0sInTHp35H55i6j4+37/2IHvRUTAGgOy1IKwXw+vHz9+who7f
CEWcxCE33kkG1MhMTRvzImOKPZMNq1Sc/oIcgKQqdBRC5tJPJaYWSF0wFm73lsUykcoy6zYn8FGd
THT8Sps8qG+wf5h24LA4Lq9zqAqjBZ96CDe2OmKQrC4bBReaOnrcia1IrLWomi96C2WrnO5mbHNU
ea9NMJ1apb0LnfCelvxOMsVOnkxPCPUynmpflIsj36GkFA+NlW6HsXeTwT4xgn+CE48n1ZyudWqF
uhFHIzQOxFt5Nv6VvFHW6uRc9xMkGWjRmQb1wCnBCKK478EURDO1XbUJneqin6cNyK2vCpJyLUGc
oLcvZd3djhEyi64gcoUufGbIfgr1Z9VVzOKWjIx8Nn2nVp+RxeKni4NsRS1zbyqV8LSpb1dRUn8X
YcdBWNlA0I1c2cFnMwbzbV7rW0U05iqXpnVcEqrdl2u5CE7gezcEdyoruTWVXSn6FiZO6yPlPxU1
JVqpb22y3hganlHhXQi9Ouml6krh8KzqwKur/tShMdDsYJM73Q2tHVdDPwJv1xsalE9TZq1TScB5
cjxZowM660Tz4piQp6OZOudML0GWRe1amstdJJj6YbzYlyjEq0S54Q/9XtfPDh9eG9fr2Zg2ki5d
z/x3eO8JKgmvoqi7Iszytl4G7BGp8Iss3SSYJxq4Wc1jjVadjKd7J5dz2irtpajy2ygz/GoizVSe
NEoJuIe6eSrk9KC2+lGxW783h1Urj/s6y3alxMheVEu0DHkW2eCs6Jk+aYO1ixxtU1cw/yEOL9Sd
FosqbKFLdI8Hsl58InAQIwxbvWpxI2YSykS7aZCDTedRVteREbooDMCiKjYpvrIXgrdbxfDD3SwJ
dHxYkELsZPDbWTe8alR2TcaTMzXmTZCHj5qk3lqxvhGjdSuiAPtzYUAkaq6dwnLjSXqu6grXl/bU
dWa9SYroDP3k/7J3ZsttI+m2fpUd5x4VmIeIs88FCJIgRWoeLN0gZFnGPM94+vNBLndRNC1tx76t
iO6IrnbJKQAJZOb/r/Wta89X9qUVUZ2LbvU6vDTIcKHu1e2YUBehWPEBUznCTcuGh8uL+vYN+7cU
PHfUf99evQyz1yR5rn/tYsw/989pm9Yqz/pNtY6vie/nz0Lw22mbPTDbxXmXMMsLfhaC3+DCMnVg
mgusjTOm4udpm+wN8Gqc3/kWiyb/wp+ctuev9z9fdxDFnLbhNloScHRVxTr//us+yYAMVQvsuDFS
j530cp1L0g3S0cuDO3P54288xPWcHIewBSh19GveqgeHu4gqq70+qy1WWZ88mnqdydEuyeJPFvNT
exUEgf8ZZV5rD9ZS0Sgny688Ye0r4mUmkQfQN8In2+ET67V5MMYbQORgjCDL6qbV2C94am5T41ym
5nmdXArUd8tMhCXQf3JRR7eOSj23zJI0NvMcccmreH9RPTsnGpEknemJv0oDfcOK50Ju/WSf9+sw
GPwMevm0HVjx3/ZoB9c1aIVf8PGx1sZ0mYwhFcDXXow/ObAcPSCu5f0gR3vwSEqK0BoYRGe7MiZw
OD+ZZ+93K9ovAxzNZy9W/BruoLWOy8bW1J3R77o5z11aGVW//qM5/ctY88Ue3DG9kIYqShlLLs61
sV/U5nc5if746b+/Y/NjOxgkkJIh8Ci7rTtj7ZudHQVAB4Obj6/kaE4fX8kbautgkAJ+VBrQzSKX
qt0rSrE3e1AAXUx4nDLEqPlZF+mVTH+WvPljWBMjqgG7ed7+vr+21BJqQ2pEbqBRb6NK/6YH0idn
pGOezy9jHL09YC/x7OXcv1Y7g2PiKIQvws4TwjMp26sVeu9oWIbeU5Fdf3xPj461vwx8NBOTuZgb
8eVd05dxk1HdxUF+xo6EjQGYkP/dWEczMcCuE6SsL2sleGpKE0LXDJxxBCtbfjzQyY/EwRM7mo2Y
k0bC0CZrXVUbszSQ+s8InNXHgyDX5sEfrEpv924uoGAHk6EXH9eAxY7E1KHr+BZhSQjsDkGOjdis
WSXN8A1IdmVnBXwtWgyGth/HpLjOUJpNm87r/JUPvq2YIfTijKNH1qEsZoeIE7Qzrd6cwfXljLDX
3+iUM9a+mQH32RvrPnrj3jcNxmDktQLoeQzyRbAcBmjfk5Xf653/nMXlU1LXoh1N5FLPMWx16K+J
/T1TPPV2Al4DXFj6WlTaY6B0a6Ub7wch3vpVwvYv0MB0qYB1kODRiVlWfnEvxuk+bIR9nOT9ZVEW
ObJPGdQA1Wu6PgQYJ6rfrxAwL7QSF2YwAeqeygoKgXcelnq+CYjlGEYi+QRDjJ4sQZtPYflwY6Ug
iDSiPuia2mNgvJhBu0ukLHSa2grOxsHIH8nXDq6IBpL3umxMa5xK7XcM/zWWf3zXm6Lh4CRLSuJ4
WPDWYiSOL22pP3dYn7Y4L/x1E3XphRAmllPghum7cpdH/Z3Uo3iK06JZFVHNZbTeTjeCaNlV4rdI
VB3FwBVktnutTC57X70TlHAPg3FZ1+F3XDhnJAMMjlSK2dInFOBthv27YZ1Ljr/fsN48Z83zf12f
FN7MP/lzyzpjNnBRWBKbT/gbhyRLA03grAokfXKOsjqAc0ACwF3BdnIGi9MfmgUxB8IbNKr0hv7W
Ev7RllU+ARxnA4z9g6Q5kWL/W0nlYLniDFPjfE8NN8uM4KUOxiFYRPWAUHzsqYctcnZHqz7yzZqK
gqV+CxQTaPYog32x9Mm/wzpWfO/p6UueMGo3UnzdKZEg7lC7xrzlqFLh2WRlgw8ckCW970CXQbWq
cxcTOl5ED23W8sF9xTu9CaT4PvHQ16RxaCxYNHF2tcJlOwTfUqOUF3VhfSl0c69MerEutPwWMf6V
D59f9pqt51eXVgW2o4vWij9eDXXyhKwPo/ksFyLJkirfHnlPC7XbuxI1Gg5RrCyT6hpj5QD/W+vB
b8jPOfZHE3tHaamPhdo+p/503o6GY/QeMKWU076hdbvJF76EhOqQ2lnvMl8FVzVau0bQXntDuOqi
EjZPVhlgvMYXw4jvpCjacvbkiNkuLWvcSj7KvrjsN1PXPeFpXPdGeltJ2WTLNUBHo44ey9HzUCEU
m9RLnSa5qYcMOoAJcDxPcJWDPVDRg+Tqps17uxZBAOVS8YjA/1YZJXJ3ctTLinebjuFt7iu3TRGe
JZl+YWnkFxVYNdtmF1o9gWHlVZtDXqss/LIFlJKs9Fb88osmR/1Zg/thOoZOlarrWM/P2GUswypa
AxsmxnPY+pSjBCha9WCAr5ImPAdgSHqdPGxh38QXpDYspLp1w0Z0ay+kacDjzjVlS2T2ukJ60GvV
ZdAJ99Lo7YxQcPMaK79uYuWXqzU5oBPuAYvjfd87VmMhJUTCAnRlbdCMZ2+dX0ZV5i1jv3hqTe2l
zPWV4SurUI3PKH5FdoCzyIYUfGlS9lh6jXCtFNKZpItfKHtZ9bAwjLay88zctm14LXba2jKKJ1WO
XPQ2lKTifhHX8K3DKvYuq1AxFmrBE0pVDMViZhisEZCdM9EHAqnX8hXN2OHFMpgpJLEI5QMc/WAF
dzt7BeXlwXMbPHWLOjy+MgStZi6X1a6lovtjI/Pvh9mi5P3Bh7n5r137Er7+WkmYf+7nZ1n8C4yh
xpOgKf6ujjBrzfABzPxDTQbGwvb+Zx2BJCJ+gg7Y7IubP9j/+SjPNgVyz0jqfLMv/BFc+LgdzIbN
5EOKlgRi8ezDP9rJZ56kjGZWj+skG1UF/FpZ7sM3iwBeARBz1wnega7DnDnAKSta9lxv/gK/bKZs
Ew+tEi+L2MtuAkK664UkVVvLry8GnPa+HNzzzoyl02hS+V0UktdE0ILhNtYiS7z231RpyixQSwWv
Gx7SyvOgXbz5Ef5817APX6q8zr83/3ee0y85nrnQD5o3Kd4//3Sbp/zn+F959xP1/3v7Y/81d56b
53f/sHyjJ1y1r9V4/Vq3yY+//e9/83/6h38ra2/H4vW//8/zN9iGDlL4Knxp2Gwfq24t/r8PZmfb
P2fZKcHj/HM/Z6f818wVorfGgjzPQs4gP+tcyl8y2wiFyfZjgvJHf89PNg1wvjjhqrJmie+CZIne
I5uEqhmgzzf975+UueQ3Oe7BkQI5JZsT2liUNxR5bsi9P2vyTctnaHrm9rW/JDnsezBRvi3wksGF
669qrbhou1ZY+HnaLvsal3Qo6fuBXFp7jIPabQx/WAbU3hep3L12nhTCjom+RIrZrctO1FgrqTrX
iCEX0xCa96UgWjHZJdTWY220iXeubQNIY7eufb//hiUcbk+twPwze7KGfNFVk3IlVF5iZ3W76ybl
jjntL1q12reS/GJUUWc3/XSrTpAH84m0AyOv7bBARVjXhHPWnGlT6Cxt/mT1aCBi7yYoQocd0WUT
ECmgJllqk6MK+4gzvkhEOjssxJFg67kzMckB2V7O/XQZD+GXfGBtV7sroyzOMzT+ZaTfykW39Vmf
VGvk5FINbqvJq3jQngJs3CThNuyJdlK1U3J1nQsrNdZWGmLLOu1eYREtQwgXnFIvka04g4zqMClJ
M0k4+Dc5xvac/lKyNLtgZVnFZcGGZTKt57qjIZz3aQ8hTNsLDRU9Ja4vYedEDtnnsj1GkrcLMKhX
Y3huggxejABF29zoFsHMrlBY71KYTEpBY6UjQ30ZhKjY8iZwOrjDtaKK4E6DCN8rOIF4KL4QOmZx
VOqgLw71fdEbO76f1QJ56zIa29cgFSHXzKpOLJiLxq/PovgGkPU2UcPH3BevawwDZDLCF6zJmgfB
3JQLD9SUTIziIhJLvH2ddTb6Mya7Q1tLa5XOWJFHsLoBEbFhWMs+X8qymL7DZOvOClWEs2NJjS3V
Y7nPZKGxM3k80zKF3oeg32VJ+yI18mNLNGkAaiOsw30eeLe1kmLoSCEREGY6EGqazOmmMlR0h536
ecOHnAZFS02pfennQFRvjkbFatzt6lr+WieD4Ew+AaodTs6dBeRth9GMLJ85aFWdI1dFsld7w/sC
j9u06a/f1lT4nHEOaq3a8Xs2R7dOYt9SA9G3oH6+ETGl4pDt3HoGM6ZQyjbdHAILZ+CsmgZjIc4B
sf4cFaunhMaac3ysPAfJCjGRssEcLtuXFjpRft9FUY6rsNA6NsoG7mVCaSnoDBdCQFBtDBmEzZr3
LZhDbIckBDlCrq1Mvq2qK1CkCbxVInLfp/FJSQyXCFnZHuZwXIWzxUI1gn1DXA+kCyJ0C7J0vVLA
KdJtFDJ2DbJ2YcR8J0bvR+3j3w2Qxc7j90vM7fOY5NWJhYmf+rnAEOZMF0UjRxkK3XvZIlA7VHwc
Sv9zvjxYYDiKcpDVWUzmICy++z8bKdZfOgbOWUAHxxbp2B+h644qY3O+AisLxCDEPyIa/qMdUDON
llkkSsXMrs9zQoqLTn3x1HB5cFv+J32Ut2HoynM+R8CPh+VdOTiUxZ70x5EXfaQw4g00AgDp43j/
eJj5r3m/WnI1NBxk7pzEDTqq84l5HKstYVwuJpxFgiScItLaD6WtGLc3SWn+qMf8Vppz8uYdDHe0
OGc0k2VR7UhYxX5VwXWO1WrX59P/cpi5DH5QN5AVRUDh3VduDoYfk8JVIvT3vuJ9UrKff9uPbh5t
vcNh6HIBv/GGyoW5vZDHbNUp4j4xAok1lmCej5/UUen+x7z759Yd+yOrOqBeF06Vq3tLhVBvJ329
HaLNNCw+HudXvek88w4GYut3eFV+rpI8XHPz1HXm5ItL1T7HPrzoP7mek1MBOwqncwmP1ttJ4+AZ
iUpd57Lc8owU80ZXh5egzm5ow//gg/52xs0V8V+e0T/DHN+2QBwHKSV03VXbOyP/ItHf+Ph+nR4A
s7eGFY395tGLWnYE3PlCWblmr8H9WULpcz4e4fSd+meEo9nsi7UqeOSYuJoWr6cBHYdYuZ3RfdKk
OfUpYA8u8n3kO0BF/v1zV622nuKYT8FYvhg+1YxEWAVDuEiyr3Xw+PElnRxrLjhygsQPN68Zh3Os
iac86aW8cgf4Sp4t+24PeBB2lfrJvTv1dJCYY86yEPKyQLwfCFOK4EdzDIeuiBti71Zd2N98fC2n
Hg/HcgXJIVE4kjr/+cFEbvSxsyLPK91ckO/lWANsJJ7Dq/+xYfjtRH5bWI5nMj5IHYM2V4Sd6/04
2lgNmhRawFqc8HzaYfMvbXWZ7yHsj4JdLeNLazuRp2Yne+Oy3brJ3fi3i/W3v8OJu2nOUmh4zSiF
uavvf4VBIlaxq8bSpZexSBPg3sMnb9MshTh+X+dYJXkWyOnQmY8emKjEfBmGqXADDNlb8bxytBUy
91W6Rai1iR6kp/g2OuvOy9Xo6suPn+SJy3s39tGXL9Ckum9Hxq6a21B70fs/bN/N3/B3AxzdP7mO
AtVr5cIVrCsoZBw4OZliLs8+mSvz33M0VSgSoeibXX+i8uYJPJiSSt6o0Bq6wlWyNF50deiWaXVL
7NsnU//Ea0zjgJ0VhSpqTBAZ3019q81z9GJV4eaIIvL+a9cmOLPvB9EVok++TqeeDTJ8fb6DyBeO
L0lOBGUwcRy5ul+BngPql3z9+OmfmnkHI8woy8P3eMomsdJDRghN1a6rGH7bxSgNfJygCFqo2mLb
jL58POYnV2UczXaOITDuSLxxAbduLMx1kexvPh7i1FywRPa9KIn4QklHz0gNYS+DycvdQBRWukgk
sFno1+3UOR+Pc2rfwCfhn4GOlilpKEu5zoTcrZf5d0NZoBnM18mFkTjCaE/DJ5d16s4djjY/zYMp
njdJSBkkYIpr7L3IJFCNHyyR337sTmy4Dq/nWCcD6m3w65oRgl1AHsJzdiP7y+66WH983069Q3xJ
WT3QRDO9j7bEeKQqpTDMnBIGfrtt5AHms5WG0LHFxwOdWkDmb/Z/Rjp6QEJJaa6XGInkkxUIxvm/
PCL5snSEdblKnWBpOe1yWiFhX3mL9pNP+3wC++WrZEkE3aGSo0x9fHLy/bofjYHxNRsP6KZcButJ
sSvHsi+Us2wl2dLuIj4LVvomXosXOEmHhbhK2Hw+k7VpF/a4q+y775TBnM9+tZOTCUU0p863pubR
d1mIQTNN7EdwDBQbdBWOJD19fPNPvoXAgEjLA5byy4aHrDiztiYxR4KgbQR5GXfmLhk+MT58Nsh8
mQfvRC+qFK6I5XPlRrGLSqadmduW9PDxpZx8Lw4u5ehmzZRPuc0ZxenjbfVoZY4B/NH/ZLbqJwq5
VJmxu1FmpguCfe/91XT9UOSpXs9XQ9aQNSsfhDTMv1il/lXMySqXEgUOSirZjZXdKlWp2QCHL2s/
UG3JKB9lbSrdIUtf4bvXaOnrjVZmykKQbtJqbtKJaWG3kifdZZ0GsU7Mi2vZ6ElbgNk5uoVSkDA4
BWp/rzaNq8madp+YYXgOXWQAqj7H03W+T15CXZfdCO9kiLqtqCl+d2aOIgQ3ovvyIWzsOot9eoTj
YoSQKyB4Ly19ywcZVnBeUYUDpsJ2bxHrXWzXaXRlxa3uFMQGyh6tyJggQY1K5VWXeK7s9/diW6Jz
zhYe0YO6D/dbjfPrBKkxO6fzmDlcD7jcfQT26LyIrVEWWkxtTSTYUG+bbEmMak/rr3fLProWRHWb
Sun9GBGJCDzWWhleJSG1D69agSi6SCXCsJjDFHF7By6ovPtpzllM+hr6k5itx6bc9wkBsiTFE0wd
mXdJUYP38/VXcxo3naz7dhKoD3prPCuR+jCaym3V918l8C2EB38ZqAOkviqh0C4n5mq1jIY5tG+4
FGCcC3BlwNdvxl5NF/SoN71QPVUA5MR0ckNBfPAT465UogtNi1BX9+epohLNM+rLkpoijee12EPI
FSRI/7K+EwZ/6VFWXqihcm3QA5CmzrOncDwrzcilwPxAurljJkRqBLW+8fBjNyUAvUoe/KsYtK7U
Tl9kErsGSdsD8V/IWYoEYNfxK2PKdOL0u9bnZ5gz3LGF0BtH0Gq7m1om96IHOR9ywOEqYLcK30H9
r3J12HCOc/u4J0LLh54aWHajWqtIV/fkNl4M9ZcWtgfVYVcy9ZtJEl9Dyg2F2ayBbF1gH38GA4Ys
n8AwRUE4TzNDkHY6EbaGHl9bMAQL2Vo16bSq2mIpBP4iCNIlcWGNHYsUPSM1XJtDtTECVbQTuXUC
Rb2JCunCquK9pGW7pmvPiyR3wyz5LnvSWvWiZUpEVmz1q66tIUYY3Za4oqVWqfsQ4KtNkvt9GQiw
iZM9zlHKvjmOimLOuHX8quMREUha1FZN0h8CNkHaz7+6JYLX7YkcwoAPbwmjf+92mUqE2bSo0myd
TOKeAshNFhhEmPVO1TeuCOJPCctdS/Ra0eRO1KQwbGeMUAnsIRanBc38u8Fqr00Z37xYrkU1dj3F
us6s7IqMiG3e58sy5NIbZq2jTMZVCYR49FLkJDM2MF/7JUqAId3Ver8XRjoHcw6lNBSrKBY3ssrM
AURbRhWmxnYlSJIjEsWENQIOcnaGVZVol3QjSL2jYQXpLPWiGqJL4im3dY+xYIQCPDXm4yh0hEkZ
JE53X7ETUBiHmGhGmhMrOBksPWOyg3jzwqu+N+0C8n4D+kppardNkEYgnnIUCOCZp90l2kDAqcyE
A7LWqcgHOGKkc+Di4FhlewcJH0NGMIc5iKHtgyxX4uQmEaXrXBxXiuq7g5csO/Ifw6o6i2UJNbIB
59rfVORFwKiMF4AgnUBWbzxfPG/8eCmQrjbk4lUjRssROK/Wly+qWd22WnGZG9I3X0nPEkk794xo
11Whq/TNCsYVCLvOiare7acIHVxZrdLEXOkRzIeknL5VmUSUmm4tjUl/kEsMSZ5wJnfskDTd1eio
CsRsoHJwOCpfh01w0XvSmRcQbqWnyy7WnElNyKZpWlsXpG3qBwgcvFfAjvvciO9xXJB3Bh5BMS+l
CcXa2G9zzu1Ifd2g175YtS+xUR7dXI22sWg9KT1NKBBkO4gWAd2oGFajDC2vWQT56PidsEyhaMCE
lJwhlRZGINcL/Db7MahTJ+vb7xPQTYkVKR2NfUzn0I7xOClauNXIDpvi4TFD7R1r5dqITRtH8hmp
YZtS8BteZcKFLKtbie2MMOuNfaYHX1NktAjm+IpCTU3DalekxV2FRcyuYcoHrXA2BcZD6jX7wogT
5m2G4qMrbqtmWrCYbWnjc5/0ftdCeCH16Ixz12SX0bDyLe25KNJLy0RrGE3XIW5hOfYWyTytUkBp
Qls5raAs1ak5q8wIqmwasadj3sRS07BK95Edpt2m9bQrVM0rIa0uCz29GtMiWZREW8idCiuWlann
jdLHaamF9NqQKIqttK/D8ZLX7VaZ4pU0pptEyHBflY9iLzg+sJKIHmcvkuKdxKvMrFYgZZ4qf/zK
0fqpT7W1YPB2Be1Kqi4Cf0atXBfFsBjF4KwkbiaurIWeeQtRu2xkKpxC6pga4XOgUDNMgIMI9XvO
sBC120Ts9oXkuWblEfCBiSmyEjftBuD8Yn5tDdoX4GKrShk3sghkJGuHFbR+RzXxwpV1atmZR66U
Xlf0HPtrcerPprS/nSNZzEnf63ATF2Y3PRZA3iZduRqD6r6DhLOSZJJ0EazZ4wAD1sNuVaYIy8J1
7uWAX4zoAfGYOxhJRr2xW9Kd3uZCAa5WOFdxGDpiQuTjKHHJiOFCdS/TvyTCPqJZORL3qF9IkwFN
t7o3+3bVJiQcTu3Ob3v6h0a1VKKscpQ5h9D0+QX1ISNyOcDAXXkrdCduWkYSjB4Fn3qDOILEvpr8
1rLKX5K4XcmqfCnxfbYyjYcA9wrum2AVLv1Q5HTGrZXEd9lUrlNcb1VOKJ0l+G48EPboVd8bPXr2
QIRXnXmNaHdpTiqRf9W9VXY7oyFqvtPvrbrZSQmVGUA/u1oUvhiJdiUMtAv9aLhiO8nLkDb7JhIX
QoCFDbQc/6ucHBrIkHyElVghGRSatUHKi+mDtbREaK7ZWUgSkOeBQVbKx2YkZzKOvaWVWcjk401Y
or9FtI7EpXzM8/yr3tTt2qy1i6DBMNcX2o9ixL/tQYvjwu/bg/d5wqbh+UR/kB/72R8U/zIUIq1M
fY7JAsjKH/0UoIAMJ0vKgBdHVeo9ydL6CxQXuklAlxrB3YewVhOjlQxRAgYsVfaZP/cnxC1lPpi8
q76xKnFwweoNFoyRjs7Zfq8rWas1+tqPkltgbUlzayaiF7vtIIMN5jhQmwu1rsqUfI6ypEkfKlVx
O3nqcINYMCSEIg6Gm4LNLnmJ7AsRfqA4pfIVWZdiF5FJnWujg9nPyYDJoXeo29B/9ZR2tGOigSpb
lqUbjxhSu9IIfOto/DW7vJVrUuxATfiPQsmyMvhm6e/BSy704DxN5nSeTSDEl2ElXXeBtc6Tzlqo
pfySNBaChqmSp32bDs24B6sCZXtGlRcV0HKLSCQPReYq1DVkKIDNp0wLFxkxCu5UECIB7FJ5qGSr
WqpDdQ+2u1ymYa2DFRKJO9BQlVpj3a0jowvYYkcLy1i2hMuvo9DYZGwmmtZHjItRDjKt9DxJ84ev
6lyLTZBtSH6/TzyqxQEGlm1SYgJChFCs/LB4QnIRolRLpGXYyxOmW6hRZWTpyyoJJluxygs5ZBUF
l7TISeC2UynRb6xQvBNqNVj1OjtYaaoWZTCbZCBWcmHJQxZYd1kTX2Zi8tRMcgZ6hRuvBN+tKL/A
dOkqfvWl7KuBowEYzTQlWTPEEVwE2rhoOvyvctktSA3dDgmSXVW81BPtoS/iGkGQeeX37JOHYJP6
3bdySMOFHyIVqif45hOrZc05jsb0vm6lh1CIHwd/ehkb1XfEMnGUmlOIwCabu1bZyaBdK22/Vkyq
s8yTZRwr7aLPSZ+v48IWK2vV1e3LYNbftCTYJg1BUV6h4s+N93LHQjIE8l1Se64mWBfRVKZ2Wcfr
IeyypaD6F+SppksRx48rCR17x6BMvkiBspOrfNf7rblMKwNOeAR7LNHcHOFHZlRXCcQziIXkR5kp
wYbyqpmG19hkYpvsiXRWp4jF3Kn4ADeWuRyMdpXIFq4dz8kJe7DlwYQpV5eiC+72DOXOV+YZNbPy
fsQsEUh1SrgEaRmJFba4wQTRCaastlU1eSraxJGU4iKgh2FbUcjOGu7rsuIaiKhFNBtyy6Up3A1p
xbU2ariqmxmnJgjquhbhvsha1nwbKsPNi/ib19eOF2r4KFgiC4MahVGJl02uKNuqrSNn6DOA/upU
UCxQSE3Ps8mRdRYcNAUXuVCzv+xiyPpKssXBeO75GTIpi2hXveLNVbRxG6vZsvOqK6sSwx9Vx3/X
l1nv9/v15eE5bnHynlhf+LGf64v6F0+c5YMeFAzRN5Xtz/WF6ERlZg/9s1K805/MiFCWHrBaGEcP
9SeASkV0idDF6XX/WXDVL7VKHeGvRPzVnG6BcOOo/CYROxTnBTtZQZw5DIuimz4p1P5SkT4a4agi
LfhFGih0PVyddOSuWAQaJLoKnZ7wrUXbcHD/L38si4d+4V+KwkeDzb/MQc2ynLrRZBFr3Iz0hhQB
Sqovu2Bclf0nSpfP7tvRqlx5TZoh8W3dqVtbeEaz4pMS7y8DQE2TUJzCpMX2jKD1/ZUoveqN0HMa
N6zl67YBSplp5reP79Yvj+ZtDHrV7LRp8B13wZJIyhUxMRpX6M5auVq1/VLnQxKI+1KIPnkyJ8cy
mGiKoqsUro96U/1UN5M5So3bWjdzjJS/npEQkQRHUBKXH1/XiZoynSlaviDkaQ8c+wCDWmzrOGCs
aWJKtypEQyV/8GATin4bst2x+Farn1zgr0SW+W7+M+pbR+tg7hHUHad9OjVuYCL5jeTzpsdwHYm1
LXol56mc87jhVFW3L5HvBn2ztEAjpUPnloJ3G5TSsijaDYr1fF5pqk9+vflFfreN5LdDwTzvcDFT
q8eOfavjtI+3rnHJxDCmM8N6MJW7j2/7qSl7OMT85wc3YLKiQcwUbsAwDstJrEGOfMLl+uX1ni8C
S9gc5cx2+FgxIAx5N5RT0bjs3lZCMzpskM7NaLoCQ7D++GJO3q+DoY4+W2IWSZqalo2bmtZGlglW
V6IFzMmPRzn1VoBQ4J3AAUHLSHl/y7wx8S0FArubl1/V9L6IHsSQwHrp0vOLTybAZ0MdPZ3ZD9fm
2NtdIi9tDYl35b0GkGLVF2n6pHP02VDznx9MhCoPQna6XFVVejdAfO/GflxwXDnT23hNNqr78U08
9bqr0syaQqMP4Pvo02LGoQhONmjdMZGeYMRdep1+Q2qMreOcG0KZQDH9E17AqYl4OOTRzayrvI8n
k69zYz3rxlJB+y1plOjST/Rmp2Yh+hULqztqhV+kFyK5f40ZWY0be9M5MW+DbZb5DcigT+bh/Pse
fx0OxjlWK+QC/YtYYJw6elDJWm03Hz+iT67jWJlg9KKYhBZ/vydottAsvZxznPr48SC/nJT5OqDZ
VdgDmPhI307SB9Ou8ArFj9V5EAyJevY8135jE3YPIKK87+cMETsgyvDjUU9Phf+Mehz8GWQN5CHs
hG4VKVeWMm71WrBTMdsnvfw3nPa3IoJjLMEs+Tm8RPXoeyFOxpT3BfPOUpaV8HUINxotDTnonL45
EyZKmTV1qNpbi63/ybf39NjklqF9pl7C/X3/Vhv6pEoYUtkt0KHVhcEujbukWjbJ1hq2bUYc3+NQ
rcf+k1ft5FPlECOyVwYxcryYswFHE6txf/W7/F4gli9fc0JqxIUobGX5kz7xJ4Mdr+FTXfiCOTCY
cNFZ6J3ccJNd54SpGgtK1h9PHL5Qp946HHasaYiefhE8KVpFozphNJBteyH09wLUcJLJt3KgXA6D
p2DB9YBXdU4a6Rs5FHZmLELVCB1O2BdFK+770VpZSXnezqmdYuWoTbgcBwFQFq1Ek1hQqVrFRA32
I62pXHHKtt9Oylyzts50iOhD2q6HyLSphK/DRnfUdDofrQFbNKRuLP120af3lKDuKw78DTVbJUWN
hXLYRnO50QPlixIqC1GiVk++OhTAhS8mG6svlg2pAlYGslukm5kMbizVu5hifS6J3305dzyQWZw7
yJiLFl2armePVZ5JTyKcL1sptQXRzmyS1HMz1M+Srj4nsOTB75GEEa8O1xtWa1V/rcfCMbThrMzU
5aROcNJSR0+rVZEShFuED7KZXDLShQBLLS2ztRo1+0zK78ukWcqWt5R7cAWWSpBdt0rixDXAjltl
7laS9W2IhZUwUO8PFYr4IjblcZWL6pkkEWsepVujqp/yiubM3NzRKgwkzedT5OQMQQZsgffHcjB/
Vw8+aYFc5GNRMEM03Ge1jb1MXgYXk7gelvqXomJSfvI1Y+N/YkhNYhml5sh2Vp7//GBII4rVBtsm
Sw7OeKzW6ZPYx4tEFBc44ZGziBgmydEei+tWiTAA+3dm45kL0kcD2xuGlTbh4Glhn1XDjgX4JpDb
G3WCZ6xJlU3Zw808cyUpUCQq2bcVgXbt0EXEoadILvANrRWgan6d8X0RsysjYpIaCYmp8XKoo0Vu
GJSkPAdfyK5ThOUQS44Q1VdS/kj+984j/44i4kWrTU43mfcaRaiekplRfmmMRQVfTh1efcv2uoLy
k+J4imiHWgoIwwgoYbVuZXV2EBB4WkOfM+obqREca5LPKLA4ca899lJ6QfnUUXI619P0hI/P9WoK
i23jaLr3ldjYTVhn57gtCOGTIkenHWhazTqUyx2hcJeilpm84+Q5RrySXXY2xOENQuAFLfULqVSZ
vqGbKMbrWGU3kpxtM697rKvkIsh0cm5J5chIXkb5MTiBmA6rSoruIjlZCfSdp0hZBj1URVNzPFoL
VAFpkpc3YdUt/CS+LRLfibtsUYY9TUeSB/8/e1e227aSbX8luO9scB4ebgOtebLsyI59kheClhSy
OBVZnPn1vehYsSQz4u0r4QAE+iVIYrnETbJ27aq9hkAF1I3E1Rzbs5ksF5NQllZ6XAB7UUX3bhxN
oMmIYz02kyBpEqBtS0F34iUebZGygkoSzE0TN34m8KKDeOIdzFVGIWyEAtxsSHUtvbD+xin2ikTl
qIZVYMlk9MC5dVZrY12B9gmPlFMX31P0eXO+RAqT12/6fDj1MsJ86JuajcfggCUJUp4MpX6gagep
Lpi4fPYT6mAznRNHHhATuVw+p2k1RCt56pbQrcuDSZVJ47jUxz5wGClkR6pQuHP4+GsFA0YnkGay
oDzCI2KoZRBrgLbvs8CyAFUj3chqvgHaexrBjjh0HVSU2joK0AgzYRIrgRfocjAwUqcF7iw8Oqel
5CKg6E5uKP5RuiRg1Bc+kM0yDL1r7U719UEKl9y0glNthcdHTRyvotOLHaCM9uRQKLOFWsBg2IAK
DPw98bZzwDTUkjisFVsaFlo4QxN+WQUiphrsDeMcid0bmnL6CHnaNeXUFR9BIBMnu5DBWZtePqpi
qA4GFEfxMBM2y20QCmMGF2EgHvZKiC6uxtDSk4tFJENCAaZJQuMAIaAhJ/kijh4FEB6RBAeoo6w0
86dpTjBxubEKKUWYCcg73UM/H74Zns7tAg7KB6G4MSvYV8To8WEXg9PMzB7aIA6KsMItsf/OPTb1
HVTmsTOxC6i+eMpfugBvUnhWvQTE/ZZF0QtLuI1WNxqWsF7yI/cpJrHl5MXerkobTVz2wmp9oOMg
wa3ClecXd7EJ2FMZvuYCv5Rd+17yzGnNV99tqXEPiAC8qbyhXopzTxCXDK80PJ3HUZVOmZKPNXQn
cM4/IhpgXHbET6pQ/p4Xzir36wmt3EUF425iGuPG+1GwR2IItVG73HFhvICw5F+47Wsd2pggnw4T
SgCGAdbpvuDFYBCm6RMgMksqkp2OTsWQqdmDFjjf4Ky1doCjCRw21kPxgVPyEQ24KYVIbookUHAq
CKwKFppavRd5MlZF9Ed4Zu4UjsCVuITlJ6BEOkQb0Dt6CKF9SyT/uSTKc1miDauTMYc3BaXMg1eW
Gz7y10BELQ3fUUeYKfCoDAwgZFK0eFJpnIqg7+bKmC8gegmI2EB13ReTqfYowasFC1WA4wiMR+M7
ty4ffceDj0ZRNufZgIVR9yXTIDoSinMl07/DURbOnMiiCnRp4XPzTCCaCmDUsvbUsQudSSgULeoo
GdsqTthzok7kTMPGyX8UlNwc+7m+lh11kJrkTo7LtV7J47RQ11qezh07+ebx2pMURVOTMmRGyCyl
1ZjCFKMy0Tlx/DuOzyY8dJkrpIQIWYgCKON79SwsNNhHwKAiIAvXcUE58EekdJeFwP7yCpQyvDoN
a/+ZJ9E9V5eTWC+nYOluXANgPJtbJnWF9noI0c5KmTmolCTEAMYphYyRDK6GP65zeWZAWn/AKKwz
OBjaFpqlCWQIw5InaAM8hKr6UOj1fUjqtULdUYVmD9Ayi1QKnkq0aYBEnBSRPZGZOwo5Y6Jn/phA
4alMYPJpkqlTliN0WpbUZKM8liYgh4wkoYK/vbAAwGRIQ+yAFWEmEWiW+NW0NJx7dDfRKYrGBWo6
Ex2RWtNfMkUaR6TYFAK/ckNx5sjKACdbcCTxqteygrVOxI9MMYMCrDKKKhde9oQMwrpWoW7j4W/I
GDSCslxSb9zSAG7DufOx0nBaOsCJpTvkghzSean7Aq7riEl0nCl580RxElZG3qr2qllawtS7Fp2B
7Xj31EvhkBf4EvKVrJTazgBTET/iNCdaFIAYfU/AuRIWNrIwGD4ZJK+Wtcx7Q82TJqwsn1gdTcxM
AsswfAo1YJ1s3JHYXemoYGdSzpE5K6Wl4VVD4CcAdfRWaNsPKywqI7WUJyRgFKgnOIcX7tIpxZEK
SjnD0lbgkNDHh1y2KZN4LMNkprShdpcZG5Cgh6VBpiwVxmZM9ZFfZ1CgMQY4+sxGePzfmGg+m+qU
B+gbaTTYxTb6MA4wPJFU3fkG7kwhL0yIcQMYJI6pThrcwFQpyUr1QEHO5WUJa6IqdZdRHWKVNGdO
7PzwY3tVJ94MTkFAmlZjXUYtFiGXTWQ/33BG8TXhJCCCpJFNtY2ckyn8PCYc6M058KKJDiMAtAGW
RmysChUlhCN+V5R6Hhog0ifUMiq2KIt4KZjA2cV2uDZScUSUes1I8KMGM17h0ntoMc5zJEIpkSeJ
lD9hT7/TUZQMQ5ItCG8uoZz3IJk8oOeCVbjiJOScbVbTr2ntrEszAUQmva9MdxIR7SuXaV8rQV5r
YQJ+v1oPSyUlwNWEC7iQPPmSPdRo/UqymA4CkPJJab74tIEkQVTOgUNZBh9S+pUXM0tx4yU02v9y
3GgRUuUea7KP/TAdaSVQZoCmUZ39jKky9UkBJIcZRUNeTcupGJBqDNvKoQjXR5f52ihQqxXoV4iw
5u5VMYYrqaSXQO3RbwIj8ZIDtN1GG4MvYTBYR7I5KES1WKohzG4KYVIg7yhZuRDDHAfqfKrjuC2E
05AEd6GgkWVTDBLOAqdx3gkI2oxuZax9Tnt921/+tynXkCIvNeX8lLYY9Da/dejJKf/AMYoGkrKE
3hd6czgGOPTk4B6IHoUAF0CcMp9Y2bwpleGEH4AQCKqKUBD73ZPDj8CHARfBUEV4ozUqJv8B5gNO
qOd7sEa9BHZhOO0Gcw0Cu6d7MEnBayFRXZjJTgIYQiCG2dBl5Y45GTS4I20VR8XY44tRHAE5C5/O
sStlqIRMtKeraKB40jOkIe6B1nSHSZ4/ovkCFHsGJWxYlCxCxnlzjYPdFOVzy9aINnULtuYlssoM
YyuXcB2gcLWUPNvCP4RBWev2wgsIN+C5SoJrmYD6L+YBKeP0pac7j7ZXzLIae3OoOi68QkQ+oncp
DuQGKUEqEMy5JxWrmPI/kjQEuSaOwAE2MQBBvewFAlBd+HIuDHBiDLiXRswnagJ16/JkE/HmNmNV
MVBrEI2yAq7tlb4QlPoRSPE7QDImGYcM69BJWYs/NRZspAh43KD8Bt3GeUDKeSGI01hR5kGevZDc
fvEcoMQlY1aXyV6mFLpaPDaFTEbeIoscEt0eiXZBYDeC3DgbKUIorHNRAvo396MSCeThSzhmSPEw
4KW72nYBi0DXzExR88Z8sCxDfpkCFYL23lOEGwHCkvmQeN5LBX31VA4QtVnOeQNiuQqTCmyrBLjY
wYNrIBu4L0lJX4FpgR8eW8E4CUUk4SO24bNsnrgMNjgqtsk1CAs15IySSWrjNV5JuQgndRtV81pI
wB0YsaSETzyXB4X61RU4dLxUlTSQVx6Qn+8Qza9GSWM4yRxVfgJGJx/EZoLtfcbl+TjPdYiEk5wI
zgpQe7MeghYVxfP/5ifca0UwMF0v5SfgoUO7PUfhNz9yVNOvU6GJCKPupm33kaMU6FagFwAnZWhm
/UpEH8JIjUo2GgYyD31U/PU4R0lgO4ISpgM0IKj6f5SiGqDdaccAKUpD+dj8gSb1eT8xksMwTtxE
nMHuzRuFHrC4IZUnAs0WnAqiSZSgn8k84MHtbOxnRjBEmfctqGpnnpjSdzUAlZTgBRtRClC6nmVP
mgPncJBd8kUeGfoDPAuSgUO9HBgknqE2hN2KqGfLgtlFPSiYBkdC6hnbAtQeEyhRLK+NMKM0C+uc
QxmnCckc9AgF5WjiLO2IhM/YAU6giUfhLgy7vMJVFxQkrmEsZmUxh0iHveGTQJwUtMBO3xUwc1ii
/gQqWxvhSgMg4ctwWHqQdNVD9ZFxjBvCvdgd2EZuRYH3FTu4YSEgDYIUb2FXj52Jt4A4K9Dd2CFr
lOI8lc+faqeAhKv4oCqiB8IuTLBUdy44MjwFcHChJeVKcRq5Vn5CCXY4nr5JGjRS6sSrEolBN/xX
2QxcbDSQLvwme/g6jv7h70EA0i/mSZNjYtueMiQdt9YfIEdGR7QSniJYNkJyZMmQpsQSErkamsKD
CiksRCqzI3g1ukhu6JqPZM/4YcfJzE5AsFB5Thv4TUbkWbCDGe1Mqu0FF8vLHP6AUpNDcyXaB7E+
c5FcpbRBatMtyE1zm5NQcJVzmtVzB0mZQcVSRZLWgMpQkvSHnIWzCEnczuw7xRTAitQWaZPl40Le
pE3ep1gACBYCnBvmONvQnuJmjXANb2bLBGdrOXgmWEaCZj2RWXNfmjUmwmKj2/lKxOKTYRFK3lYj
6MvpFQ7JsExlQgmLMzmbuVjA1Fhbes2KFtUVFJhoLg28EIqUgsvbC2za4DMiEouq+UiGYt0wC7Vt
jRULFvdrGBmqUzxWiyMa1IzMGFvhJIBCgLyIikqf5TwsNvg4fcyxsRuGaXCf5sqzwXAC6WLBBiR/
JWMBr3hwVVws6RGWdr1SwOdr/O05fqGCL+o3FUBf0u97BdsI2I3PNeugb/erGzZ0iL97+zHZJ0ei
dp0f+PMAx/p18B38cJh/+65G8u7X4Pu3i2r+/c9TBbw36b2jnx6k+I5//z24z5ffel2H/5yRPbPY
1ql+3ZD3K11bAVT4/uVbWydrQZkhgvcPtsv1/V6DLo0+sLw9O4wz3/3v/zQC4wp8HQ7/d9XY1WGU
o5FR7H7cw88ig/+3q2bW7idlu8NQR8NjobrB8Pvcah0dNf8NRqdF++jNFuX3y/f/vDVDy4fRfcsG
qNH3vH50x2I+TdP9YayjO49d1PXjkxRw1sNAH4M3/lbXDw5niMMwR0MDL3L90NT3MYcPIx2NfotJ
OgSRIXhtYzLIt5ind8TC5m1k7VqearM3vfrujPaPNG2xl236mdcPTso2CVz5FlN1lOWWf7jGo4d6
i4k6TrbWHx7qLWbqxLdsv/WNvMU8nTDYFfikJc0ot5ipU2uX7PZto99isk6Jv3UYdG0/P1nlFtN1
6mMqtSSxRgTr6td9mvk/D8N8vJHKLabpDGmg/fBMucVEnWHRa5MDbg7Srr4ts324Yy3ZXbnFVJ3t
WWiFu5YMptxiqs6gBe1j/LZX5haTdQZh4uSVMgo3zMOt/nh11FtM2Bn1g7ZXvlHcuvrZzsMdscIv
G5K35bPmZOTqr1hYWw82IYeRju7OLebsYv/z5561j3+LibuyflrVvrUqU28xc1fYJLTcmlvM21Vb
RlBvMWlX+9bneYsJu9rnLammaSNc/SKuyOuepS2jN5jcq0e/s3ak9TVsELk3GD200rbnqd1iit5Z
jLQ9Ue0WMxSDp23VjHaL6XlHQ0ZbJlBj6nj1TV9bSWJlh4E+Epd2i9l571k+bTX+adT5rr72e2+/
3zr0tfWducVEvUeZarfd+VtM1ftku6dt9D/9FlP1wfKDL4M9zn4ON/rj2eq3mK0PVrJtqWj0W8zV
Do/Ta884wAT0Wu7KLebqA1SrrKBl8FvM1U4nrWtvzKPFrISmVsv132K+Pu5hCEL9lgnVyBJcnQ4e
0y+QxQlbyuCG/niL4S/Z5Vx977MgbatPjVtM1sfLZirXXvtFIf1rB/8Wtq7bDaf56md6WeLj2iu/
TPC+fvT2zfYbUuX6wZPLbebLX9DWxvjtNvS5uXEwHGr7tbbmzYPF8OjHzTX8ob3zx08cWiYtH3h/
nT7WyaZD8ruf8PZt1ftnWlsrHa2Oo288DPP2VW+9pOZ73qM/+txpcBcu/XAD36lgn2/P59hQ9l6K
7aSx06/IkBguR/Z7e9SvuFBCXIzrrKnVr+Cw3bgc3ElLrV+xoXa6HNtJQ69fsaFwuxTbWTuxX7Gh
arwY23kzs1fRNS3Ri9GdtFL7FRpK5ouhHTVy+xVYR0GCRu9xG7lfsXUUJOdN7H4F11GTfG6h9yu8
jtLktIHfr9A6ChPQvD7gA/2KrKMsOQEv9CuyjqLkHDrRr+A6qpIz4EavYmvAH5cW7nPYSL+C66hK
zkAr/YqtozD5BJnpV3QdpckpYKdfoXUUJsdwoX4F1lGSnIOV+hVcR1FyCpXqV2gdVckpUKtfoXWU
JecwsX4F11GWfAKp9Sq6BuR2qTBpg8j1K8CO4uQUoNev0DpqkzZ4YL8C7ChPzsCJ/Yqtoz75BI3s
V3QdRconYGa/ouuoUo5hof0KrKNGOQKl9iuujgLlGBLbr8A6ipNjQG6vAmtQvZfqkjM4cL9i6yhJ
zsDI/Yqtoya5s06g0P2KraMcOQVi9yu0jmrkFAber9A6SpFTEHq/QuuoQ04h8P0KraMSOQfg9yu4
jnLkM/y/X+F1FCWn5INehdYwGC6VJWfUh37F1lGWfCZe9Cu8jsrkhPbRr8g66pJz0km/guuoTI4p
L/0KrKMuOSXc9Cu0jrrkM92nX+F11CbnZKN+BddRm5xTnfoVXEdl8pj+45Rp1avojI7ipInuhOjV
r+g6ypPHE5pZv0LrKE3OSW79Cq6jOjml2PUrtI7a5ITg16/IOoqTM3phv2LrqE7OyI39iq2jNHmx
jqmV/QqtozB5sc6JnX0J7zdP8hfJsYWPOfEpIzvrAi/46FjiiGZ5TMcUG8U6nF38TWRMyDM3agyX
DkvWlKXOl38Fe0a2Z7FtKSiwIaiwRyP8IS5o0b83i/6uyN5v5B+fFtJ+ut99eUwh+pKcPrMtFCgh
zrvZ22/U79935w+xfdzEvym2j5v5x+hOA4qgz7X/9ZS6L7HrE5CZbT6y9fcW++e/AQAA//8=</cx:binary>
              </cx:geoCache>
            </cx:geography>
          </cx:layoutPr>
        </cx:series>
      </cx:plotAreaRegion>
    </cx:plotArea>
  </cx:chart>
</cx:chartSpace>
</file>

<file path=ppt/charts/chartEx4.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entityId">
        <cx:lvl ptCount="67">
          <cx:pt idx="0">10035132</cx:pt>
          <cx:pt idx="1">10035133</cx:pt>
          <cx:pt idx="2">10035134</cx:pt>
          <cx:pt idx="3">10035135</cx:pt>
          <cx:pt idx="4">10035136</cx:pt>
          <cx:pt idx="5">10035137</cx:pt>
          <cx:pt idx="6">10035138</cx:pt>
          <cx:pt idx="7">10035139</cx:pt>
          <cx:pt idx="8">10035140</cx:pt>
          <cx:pt idx="9">10035141</cx:pt>
          <cx:pt idx="10">10035142</cx:pt>
          <cx:pt idx="11">10035143</cx:pt>
          <cx:pt idx="12">10035145</cx:pt>
          <cx:pt idx="13">10035146</cx:pt>
          <cx:pt idx="14">10035147</cx:pt>
          <cx:pt idx="15">10035148</cx:pt>
          <cx:pt idx="16">10035149</cx:pt>
          <cx:pt idx="17">10035150</cx:pt>
          <cx:pt idx="18">10035151</cx:pt>
          <cx:pt idx="19">10035152</cx:pt>
          <cx:pt idx="20">10035153</cx:pt>
          <cx:pt idx="21">10035154</cx:pt>
          <cx:pt idx="22">10035155</cx:pt>
          <cx:pt idx="23">10035156</cx:pt>
          <cx:pt idx="24">10035157</cx:pt>
          <cx:pt idx="25">10035158</cx:pt>
          <cx:pt idx="26">10035159</cx:pt>
          <cx:pt idx="27">10035160</cx:pt>
          <cx:pt idx="28">10035161</cx:pt>
          <cx:pt idx="29">10035162</cx:pt>
          <cx:pt idx="30">10035163</cx:pt>
          <cx:pt idx="31">10035164</cx:pt>
          <cx:pt idx="32">10035165</cx:pt>
          <cx:pt idx="33">10035166</cx:pt>
          <cx:pt idx="34">10035167</cx:pt>
          <cx:pt idx="35">10035168</cx:pt>
          <cx:pt idx="36">10035169</cx:pt>
          <cx:pt idx="37">10035170</cx:pt>
          <cx:pt idx="38">10035171</cx:pt>
          <cx:pt idx="39">10035172</cx:pt>
          <cx:pt idx="40">10035173</cx:pt>
          <cx:pt idx="41">10035174</cx:pt>
          <cx:pt idx="42">10035144</cx:pt>
          <cx:pt idx="43">10035175</cx:pt>
          <cx:pt idx="44">10035176</cx:pt>
          <cx:pt idx="45">10035177</cx:pt>
          <cx:pt idx="46">10035178</cx:pt>
          <cx:pt idx="47">10035179</cx:pt>
          <cx:pt idx="48">10035180</cx:pt>
          <cx:pt idx="49">10035181</cx:pt>
          <cx:pt idx="50">10035182</cx:pt>
          <cx:pt idx="51">10035183</cx:pt>
          <cx:pt idx="52">10035184</cx:pt>
          <cx:pt idx="53">10035185</cx:pt>
          <cx:pt idx="54">10035186</cx:pt>
          <cx:pt idx="55">10035187</cx:pt>
          <cx:pt idx="56">10035188</cx:pt>
          <cx:pt idx="57">10035189</cx:pt>
          <cx:pt idx="58">10035190</cx:pt>
          <cx:pt idx="59">10035191</cx:pt>
          <cx:pt idx="60">10035192</cx:pt>
          <cx:pt idx="61">10035193</cx:pt>
          <cx:pt idx="62">10035194</cx:pt>
          <cx:pt idx="63">10035195</cx:pt>
          <cx:pt idx="64">10035196</cx:pt>
          <cx:pt idx="65">10035197</cx:pt>
          <cx:pt idx="66">10035198</cx:pt>
        </cx:lvl>
      </cx:strDim>
      <cx:strDim type="cat">
        <cx:f>'Compiled by County'!$A$2:$A$69</cx:f>
        <cx:nf>'Compiled by County'!$A$1</cx:nf>
        <cx:lvl ptCount="67" name="County">
          <cx:pt idx="0">Alachua County, Florida</cx:pt>
          <cx:pt idx="1">Baker County, Florida</cx:pt>
          <cx:pt idx="2">Bay County, Florida</cx:pt>
          <cx:pt idx="3">Bradford County, Florida</cx:pt>
          <cx:pt idx="4">Brevard County, Florida</cx:pt>
          <cx:pt idx="5">Broward County, Florida</cx:pt>
          <cx:pt idx="6">Calhoun County, Florida</cx:pt>
          <cx:pt idx="7">Charlotte County, Florida</cx:pt>
          <cx:pt idx="8">Citrus County, Florida</cx:pt>
          <cx:pt idx="9">Clay County, Florida</cx:pt>
          <cx:pt idx="10">Collier County, Florida</cx:pt>
          <cx:pt idx="11">Columbia County, Florida</cx:pt>
          <cx:pt idx="12">DeSoto County, Florida</cx:pt>
          <cx:pt idx="13">Dixie County, Florida</cx:pt>
          <cx:pt idx="14">Duval County, Florida</cx:pt>
          <cx:pt idx="15">Escambia County, Florida</cx:pt>
          <cx:pt idx="16">Flagler County, Florida</cx:pt>
          <cx:pt idx="17">Franklin County, Florida</cx:pt>
          <cx:pt idx="18">Gadsden County, Florida</cx:pt>
          <cx:pt idx="19">Gilchrist County, Florida</cx:pt>
          <cx:pt idx="20">Glades County, Florida</cx:pt>
          <cx:pt idx="21">Gulf County, Florida</cx:pt>
          <cx:pt idx="22">Hamilton County, Florida</cx:pt>
          <cx:pt idx="23">Hardee County, Florida</cx:pt>
          <cx:pt idx="24">Hendry County, Florida</cx:pt>
          <cx:pt idx="25">Hernando County, Florida</cx:pt>
          <cx:pt idx="26">Highlands County, Florida</cx:pt>
          <cx:pt idx="27">Hillsborough County, Florida</cx:pt>
          <cx:pt idx="28">Holmes County, Florida</cx:pt>
          <cx:pt idx="29">Indian River County, Florida</cx:pt>
          <cx:pt idx="30">Jackson County, Florida</cx:pt>
          <cx:pt idx="31">Jefferson County, Florida</cx:pt>
          <cx:pt idx="32">Lafayette County, Florida</cx:pt>
          <cx:pt idx="33">Lake County, Florida</cx:pt>
          <cx:pt idx="34">Lee County, Florida</cx:pt>
          <cx:pt idx="35">Leon County, Florida</cx:pt>
          <cx:pt idx="36">Levy County, Florida</cx:pt>
          <cx:pt idx="37">Liberty County, Florida</cx:pt>
          <cx:pt idx="38">Madison County, Florida</cx:pt>
          <cx:pt idx="39">Manatee County, Florida</cx:pt>
          <cx:pt idx="40">Marion County, Florida</cx:pt>
          <cx:pt idx="41">Martin County, Florida</cx:pt>
          <cx:pt idx="42">Miami-Dade County, Florida</cx:pt>
          <cx:pt idx="43">Monroe County, Florida</cx:pt>
          <cx:pt idx="44">Nassau County, Florida</cx:pt>
          <cx:pt idx="45">Okaloosa County, Florida</cx:pt>
          <cx:pt idx="46">Okeechobee County, Florida</cx:pt>
          <cx:pt idx="47">Orange County, Florida</cx:pt>
          <cx:pt idx="48">Osceola County, Florida</cx:pt>
          <cx:pt idx="49">Palm Beach County, Florida</cx:pt>
          <cx:pt idx="50">Pasco County, Florida</cx:pt>
          <cx:pt idx="51">Pinellas County, Florida</cx:pt>
          <cx:pt idx="52">Polk County, Florida</cx:pt>
          <cx:pt idx="53">Putnam County, Florida</cx:pt>
          <cx:pt idx="54">Santa Rosa County, Florida</cx:pt>
          <cx:pt idx="55">Sarasota County, Florida</cx:pt>
          <cx:pt idx="56">Seminole County, Florida</cx:pt>
          <cx:pt idx="57">St. Johns County, Florida</cx:pt>
          <cx:pt idx="58">St. Lucie County, Florida</cx:pt>
          <cx:pt idx="59">Sumter County, Florida</cx:pt>
          <cx:pt idx="60">Suwannee County, Florida</cx:pt>
          <cx:pt idx="61">Taylor County, Florida</cx:pt>
          <cx:pt idx="62">Union County, Florida</cx:pt>
          <cx:pt idx="63">Volusia County, Florida</cx:pt>
          <cx:pt idx="64">Wakulla County, Florida</cx:pt>
          <cx:pt idx="65">Walton County, Florida</cx:pt>
          <cx:pt idx="66">Washington County, Florida</cx:pt>
        </cx:lvl>
      </cx:strDim>
      <cx:numDim type="colorVal">
        <cx:f>'Compiled by County'!$B$2:$B$69</cx:f>
        <cx:nf>'Compiled by County'!$B$1</cx:nf>
        <cx:lvl ptCount="67" formatCode="#,##0" name="Waste Amount (in Tons)">
          <cx:pt idx="0">209138.14000000001</cx:pt>
          <cx:pt idx="1">22771.130000000001</cx:pt>
          <cx:pt idx="2">268736.36000000004</cx:pt>
          <cx:pt idx="3">22707.300000000003</cx:pt>
          <cx:pt idx="4">736397.43000000005</cx:pt>
          <cx:pt idx="5">2317935.23</cx:pt>
          <cx:pt idx="6">8120.5300000000007</cx:pt>
          <cx:pt idx="7">620531.27000000014</cx:pt>
          <cx:pt idx="8">145383.87</cx:pt>
          <cx:pt idx="9">73.239999999999995</cx:pt>
          <cx:pt idx="10">365913.47999999998</cx:pt>
          <cx:pt idx="11">60901.490000000013</cx:pt>
          <cx:pt idx="12">59918.82</cx:pt>
          <cx:pt idx="13">11725.549999999999</cx:pt>
          <cx:pt idx="14">1045270.8599999999</cx:pt>
          <cx:pt idx="15">432765.40000000002</cx:pt>
          <cx:pt idx="16">92872.849999999991</cx:pt>
          <cx:pt idx="17">11093.659999999998</cx:pt>
          <cx:pt idx="18">1007.9</cx:pt>
          <cx:pt idx="19">5240.8999999999996</cx:pt>
          <cx:pt idx="20">13714.58</cx:pt>
          <cx:pt idx="21">28386.489999999998</cx:pt>
          <cx:pt idx="22">597.76999999999998</cx:pt>
          <cx:pt idx="23">21668.32</cx:pt>
          <cx:pt idx="24">47229.230000000003</cx:pt>
          <cx:pt idx="25">173328.64000000001</cx:pt>
          <cx:pt idx="26">100715.15000000001</cx:pt>
          <cx:pt idx="27">1054015.5999999999</cx:pt>
          <cx:pt idx="28">3782.6899999999996</cx:pt>
          <cx:pt idx="29">273242.16999999998</cx:pt>
          <cx:pt idx="30">41336.630000000005</cx:pt>
          <cx:pt idx="31">10563</cx:pt>
          <cx:pt idx="32">1254</cx:pt>
          <cx:pt idx="33">252102.67000000001</cx:pt>
          <cx:pt idx="34">1089882.3199999998</cx:pt>
          <cx:pt idx="35">269013.03999999998</cx:pt>
          <cx:pt idx="36">32080.139999999999</cx:pt>
          <cx:pt idx="37">699.31000000000006</cx:pt>
          <cx:pt idx="38">16855.029999999999</cx:pt>
          <cx:pt idx="39">420051.95000000001</cx:pt>
          <cx:pt idx="40">423415.67999999999</cx:pt>
          <cx:pt idx="41">276218.72999999998</cx:pt>
          <cx:pt idx="42">2618570.6800000002</cx:pt>
          <cx:pt idx="43">94678.470000000001</cx:pt>
          <cx:pt idx="44">147.28999999999999</cx:pt>
          <cx:pt idx="45">200643.57000000001</cx:pt>
          <cx:pt idx="46">228094.13</cx:pt>
          <cx:pt idx="47">1605289.29</cx:pt>
          <cx:pt idx="48">175315.66</cx:pt>
          <cx:pt idx="49">892273.85000000009</cx:pt>
          <cx:pt idx="50">203471.28</cx:pt>
          <cx:pt idx="51">502961.48000000004</cx:pt>
          <cx:pt idx="52">1013967.52</cx:pt>
          <cx:pt idx="53">117705.7</cx:pt>
          <cx:pt idx="54">273324.70000000001</cx:pt>
          <cx:pt idx="55">578986.91999999993</cx:pt>
          <cx:pt idx="56">558042.55999999994</cx:pt>
          <cx:pt idx="57">72.859999999999999</cx:pt>
          <cx:pt idx="58">348528.33999999997</cx:pt>
          <cx:pt idx="59">176297.76000000001</cx:pt>
          <cx:pt idx="60">3077</cx:pt>
          <cx:pt idx="61">18257.459999999999</cx:pt>
          <cx:pt idx="62">9776.6599999999999</cx:pt>
          <cx:pt idx="63">470107.32999999996</cx:pt>
          <cx:pt idx="64">1463.5200000000002</cx:pt>
          <cx:pt idx="65">95580.290000000008</cx:pt>
          <cx:pt idx="66">14943.879999999999</cx:pt>
        </cx:lvl>
      </cx:numDim>
    </cx:data>
  </cx:chartData>
  <cx:chart>
    <cx:plotArea>
      <cx:plotAreaRegion>
        <cx:series layoutId="regionMap" uniqueId="{C551826A-CEC3-A34A-A058-BE37016D9514}">
          <cx:tx>
            <cx:txData>
              <cx:f>'Compiled by County'!$B$1</cx:f>
              <cx:v>Waste Amount (in Tons)</cx:v>
            </cx:txData>
          </cx:tx>
          <cx:dataId val="0"/>
          <cx:layoutPr>
            <cx:geography cultureLanguage="en-US" cultureRegion="US" attribution="Powered by Bing">
              <cx:geoCache provider="{E9337A44-BEBE-4D9F-B70C-5C5E7DAFC167}">
                <cx:binary>7HvJktzGsuWvyLhulGIerj29RQDIzMqai8XisIGVyCIQAAKBKTB9fXuSokRSlO5Tr7qtrxkXlUQC
ASDc/bifc/K/3i//el8/P/U/La5uhn+9X355UYxj+6+ffx7eF8/uaThz9n3vB/9xPHvv3c/+40f7
/vnnD/3TbJv8Z4Iw+/l98dSPz8uL//4vuFr+7JOn8SltRjuud+G5X++fh1CPw98e/YuDPz1/uszD
2j7/8uLpg7NNYoext+9H8uK3Y+cffnmBEaIcM/bip5+/vtBv37h+cnD2lX1yNkqePjz/+Mznp2H8
5UWk0BnGUhKNlUTwF9YvfpqfvxxSkjKCJOaUEkTxi58a34/FLy8IP9NSM6IJY1pzOO/FT4MPvx3C
VDKppSIYwWHy+3u69fWa++b3N/Pb55+a4G69bcbhlxfixU/t52+dnpNzRDDFTElFhaSUMVinff90
D1sBX8b/iwlGytGKbt93V8hvl3PpX9kif1swe/7V2/nBSkTB6/tqLcUUJ5LCekhRxZhA8Ca+Xqtf
+znMuBhgrXY0yGc6DqOeTDbSc0HnyQzd6tKeOGt6mV14u9T7wMoqKXP7OLT01eSVcbiZUlw0lRk1
etmuXZNWmb6ptvYCR2SOZdHf2lK9kh7dyLz4GOwcDC2VM6KJbLwtuk2Ql5VZhdv5itsd08sNHztu
IileZkNdm4qXg5mc0Hcjza8i1d4gTgtT62KXuWIz1Ja7aOCvNjGlvhoms5T9HheqNtssb3TRtXHR
ZotZS5eZGa6zq2bxsq+GawJ3YrAfLlFVVEYSdxhRZ7ZqjptpesvnER7d9ZdbTyqTif6i3qr6IMYN
GZflr8uc7Kmu8v3gZm0YL69EHxrjIhHiPvMvB6KkaXh+Mav5KMbG7ubKc0MdfAmrNlW4PfZVtmsU
euC4/rUc/RERd06bbDePkzWKVR8EKdZ4XchubMchHVpxl8/RceTtIdDiMqDq16lr1H6cOUonPW2x
6/N01vpDzSU3oVeNKbG/91N4HrpuM9XSH92Er2nBrglhu9Hb+2lzt0LxAx55l4pxPrZoSu3IUNzZ
iaS2DWNKNHpVVXVplkjcDRNWhui3GeHNjk7ty6bLtRFld+z6cjLriN6gcn4eC5XWzj/1jH6oNn3E
3fXQG7n2aZDVW+SHq7WRbxQmR5TRl7Idy7jNxnTlyMZSLfupxQax9paFcB8GF+JN2ldFNu9Uxt/0
OURtNCBv3NrVSTbZ+yrbXnZR+WvO8mCKsnwkvTjvlJ8TJdmx3bLCqFUd5p686l3+yArv9rRcRiPW
dd2NQtDUyqI4MMnQncxKto9GXZmFRJdzxytTlouqr4J2tRkV/7jKyCWumq8GxGU8eOkhSFz3K3ZR
Eau16nfT6PnVNDRPmgZqfJWZppLLx62lRVxUrjUNyw88svqCcQmRI6LLIYTXnWw+VC1jF77ZYjtm
uWk3dJyDECjp+IaUCU0REjJIm6g6Q2kWBWHWWbg3g+D3UT9oEwr/XGB6kw+B7HOsiWGhbo9F7Scj
o/xmI6Q05RI1HzfLyjgvhuwt0zVtYovQoZ6rWLZ+vu+aPvblEiMnut4IzuWHkWpXXjk/kSQqmyCS
TpTRfEFw35P7snf1saw8ax/klC+JFVmNL3Et5WuoRMG4Rg/oosp6Vsc5I0683Qo/vvPVNsTLtlWb
KUVBVVzTKdUS3vPUjyie5rrboUIVsWDreh6wKy+Hvnq95eGWiMmZceBvs2V9U4/8OprJzo9LtnOz
ux5nPO0LO5CEubDERcbfbkPfxNRbGa/WZTHFWXTerdHLcQhRHDlnPhXanz9j4W+V9nONf+/btbd5
8RsY/v7xvx+8g3//dTrnj/88oekfn/bP/gRkw/df+uYcWOa3dU8Y/M2HPwHy10j5Pz34j/CY/y0e
70P98c9IfDrnCxLzM4SlEohhwrUUHLDwCxLzM4alFkry3yGYorNTM3ICK0EoYgLg6gsE6zM4W2E4
pJUmXKp/AsGY0W+AkTMtKCFSKCThT8D70/GvQBhFbTtl0zofkMriShfJxLGPkQrbUYm5SSo+lxcU
R93Hjtf9Te582BeNb+NSuAfq9HWUcfZ62aqK3vKwvRlKWu2Gshh2opalKQqpd8HN7+hY3yxy0geW
N0dSKWpsv627gYQxzua2NKpxa5zJYkx8g27bwHxaz1OUoLBWu6gSbby01Rajun5FRenjNq/QNUB0
aaraP/ugHlqeIyNZ/pJzvqQE6wuxFLd4K2YzrlVrhpk+IN5pQ5jvAJeXx8XPv8qiaXd+akIc9a0+
bH2E4y7fOhNqgC7mOYvr/hjVWWsqRIo0bP2Vd93LUq5NzBtZxoLkKRrEErNufhdaexX1YWeb7Fhw
9C4fxKtK9s/Utu2j7errLuTJOEE9yrviDpfi/VDrKc4W0ply6p7lFF12WTnFjWzneBk3uZ/mbTGZ
rK99Wx9aDaDhN5dugdlYFLU1fC7SgUfczDm5WZ1PeY1kSnz7QNyYp31H3iOr3naY7kg4wcIkVsOi
zsfMRjd6W1Km1oe5sx/4EnmTz/oq6uxRjeUzI9GaCLuFtNJLFy9SlfEUyu5umKe5fK4yqbmxOevs
9UjX/IC7qDBN0+9zsrHVrJGupOm7Rt+6mraNIS0uUqgpTaKjWh3WCeAUhcCtyawtnSmaUQWj7Di/
AeRJi1q3T/+pUJ8mBgrt819PDKb381P/4c9F6nTalyKFzqAKUC6Q1BhhLmAu+VKk0JmC1oRwrrim
X1UqIs4opBPV0FwrrRmGmvelUsEcwYXkCqoKZtDu/6NKxdC3heo0LSAhoYDB+EG0ON3c14Uql3lX
aYfH/Ta6SSTNCZKXAfvyavWt+qBZOV3z4MOujlRUp4trjhUrn7tN7/GCRW2Qs1t7GDta3fEwnjNa
lRygPvNJ7VwVV9C8GUoUdNfZbcQd1cZDBzyYhecLOq97TM4VLDo9TRnObGm2DUGDPHJZHzPRzmNS
ZS3iMRv7lj00Oc/jtW3f4caW5+JTd/CpUWi4ro74U/vQfmol/hPen8JbAQT+dXi/HH86+qIZ/hzf
p/O+xDc+I5hoKhjCMHJipf6Ib3wmNKIac4ZOk+Jp/P5tHD5hMScQ21hoDUF+Cv4vEQ5YDGMDUUoz
BAMzwPSXRuSbVglohB8Mqaflv5pRAYoVIwDCAgMUa8U5jORfRzhft7bWiOQHXY/58rYQ03TbOuwM
nsm6n3y45p2YElw2dQLYtJfDnBuhlDBZF9IwuZttDbt2C1fKkbd1Rw9rSy5qu23GMZZQNzyW3KVz
gElPbO7oNH1Fme8PRdTLOMvGIpUCcW86659X5i71moUdQpF1cYOzpjBjkGu82VPRr7Gv7llVUjOj
DJu2ttZg1yR+7ROW0RDTqtZmg+H3rWvbGmDDTuUJVccKnijK2uHShTnThg7FvMcwbYm0DH2UmyFA
V5xoMeI3q510ivuyv+I9tMcwrMk2VEeEC2EoKtY01GK5snU+va/mYbgXVb3s6kWRi6XM12s58frG
iU3G3q0o9m0+H+bZ5bcbRwyZCdqDx7CgYd+5Ouxg2hevMNb013VqpBmtH6npmnziMNeifeGivSq9
f0VXoRKJnL/hUAbC5T9P4KsvLNX3/fE3TfSP++z/e1voU8X+6ww+bz7Yp+anezs993/O4tO5X7IY
nQHWEI4gWb+k6jcoBd2xRkoA5iDosr+QWvIMum9BNZcEMAQg648slmcwySENHbU6VQVI8H+QxfS7
hppDny8VFkIzuAuONSz0dRZrB0Ncrsm2R9Q/q6rOqSmhfDyGoWgvKzyy/AILn3Oje989z0TU9c61
1ZqgUeh3Ot/eRyO6nVhWx2Nt5wvI+3uHVja08dwgZpjIy2TLrT0fMxfuGuKbj7j279BCSb6bUey0
R0nhPI+SArW4NJ3POmiwAN1DKhY7xSUvNbqvIl4sD/88en8cl9+E7v97899pm/86eM1T9aOoPZ30
JWrJGQK6lAARCewutFYQFl+ilpwxrjnDQMMqhCB4fo9awB5onwjQUYA9TAAK/R61cAhADChYhYHR
JFLSfxK1QN5+Dz4SEA5B8FINaSDwd+CTZbYocbe5QzkyWe+nXgN7VshuR5uOpXXe+vxQdkjWO9Y0
TZR26+g+RGs+iRRR1sYdid5GKANgys/LbkqatpXxUmc0biexY7jBMWmJhWEBHcosirtiiLvW7acx
vAWepDBhIZAow/kykpu82+7qVb7T2RCXc/1YWnIcYTatWws0anAX45jHQK5eOKgCMdNlmkvcpUNP
jxHvLut1PWwuIqZYmzGmurvidrkm8/AWFUCztDw86jZ/OROUIGs/qCg/0MZdA4udDLqZkpU/RMN8
URdZPNNprya5s7R/F0J+W5Ty1iPgNXlzESSwrvPIgGPqgZFS5XO9oas60Nm4LatMbZvHBbVXfYmi
eO0RDIgeCWB4h2sU1HC1DVMsF1Ttszmju056Zrq8zZOlrxuTFYiaZWMfgbuBaQ2xbJ+HooilrONq
5vDdAO1CsxtaEi0Hauuxv8LDc8ZXuKmlhb74LqdbhNMhHyPznyz/PEMBYPxNlvfP049nKDjtS56j
M5AXNBA9kO2fm8UvaY7ONGALAJME7PpMAX0BJ3UGExehIIXAcAN38keaE8AtQhBHCPL/HysuWMKd
fd1jntAJChA0shoKCtzpd5qL1UXZ18WE930/3/Ouny/6DNq7PKDbheD3SPjsnUPtmuA28tFdAbx7
b4oWI3WI+izz8eSmak4psd7uclVB11fQQt9wN44VDKEjukAFrdKG6NGwJopZDtpJN4oDKkl77AY6
vuwQBl2ly2bDVvGq77G4ztexs2kO4+mvVuLtRvtCn5c1NLexzPFCE51Hkp27eijKpM+qXsUTMCaZ
GYZWV4ctKuvxIYjGXhS8PjI/XkQEOrwKFW/qvEslUblpZpSbCVpws7Hlaqr781DUN7h/t0IGq36P
nGEkHflgqD4uIs7HKe5lcbPS+3qRZhuOwuKX2s17lne7PBMvdUGTxrlkneZDw5tk6Ig0uIJ2uByH
mG1dEwsNRFTYrZXfCU8Ty6JdsQ6vslYdcNgu8zr0QLjIKzb7GyTwwxDyZy3snWq3e+/qw0zDo5/y
x6WBq1K1Ao80A0kv6D6TcjSbL/ZRw+OVsXtWNOkYLNBk+Bj1CpqG8MhO+N9w9RRKTYHRGmOsutpk
pX2lh+iRZPC0HHU3xRY6M0f4tY2yzmjeWxOdxCbZbrHYlueuzNNy5jeOLakcoN2X4jIvspcKyw9e
rXFZUhiwlQpxrrq7jMr3hZrv1KZhDMDvemXPy2GNZ1Q/r0BtFTk6n/vsda39ENe829vG3Urqn4aO
3Xd1eTVG6RiVr0WvU9kW7zReZ5NvVZ8Ewc5ltF0jNsTe1+nE1jsX8dqwrYUWB0990jSFiptirKKL
hi0LTps+hI/Cd2+hZ/Ig+axh7zVa+pd5zpipP7dW/ymQn6dwmFn/ukC+fAZR29fPf+7fT7PuHxVS
QxEEJZZJLID4hmL3pUTiUycErTj8P1Ofae8/SqSC0gi9CTRRMIR9zTOpMwH9jIJDWHymrf5J/36S
t78ukdBRARWgJIzhlPFTj/VtA+827f3SSLnX8xruprFZC6Ojij123fqwVcKbsRM5TvlaxJbMUYAY
bUHqc1N93tUj4LtPBemTDJFE+eWVdUXcQojmtDM25O+desKVOHaleDWQMuYt3yMQj9mAYj1VS1wr
ECBHkdDQJVPnYh2OvMxeLzI7J5OL12a4KyQqYqKaQ6deoxyUJub8rfYY6G9p4xmSIZ69jmvUJQ7q
XbfoO1f5veP+HrqBiwLZ61nA1QuZjHOVRDBTeydTGy0Xyq4mL7qD5G1KsU9oPacrKZOyledkhZ6N
BlDIZeIcgS4HmbatPqxamXbs04Xz5rzNh8gU4ye6nJcJ6xq+XzvSJVuAYQbyt64dWDCY3QVQaFm3
3EXFEpPNXlaqhHFGpjpqgXNuHzB1MH9PUDag3PLoyvcuxvMCkxOy75CdTB5te+9CUs+baUCH5uRX
Z9ld6z3MPzrpQp0EFl3acojV6A50ru+6XO5mQW9cyS8RtFlad0m0ADqA6p0uE2iruo8eLQCdtSDb
61clXm5YRu58AReLghHDet54ZzI0mM75XTmAUq1Y2Ds27LVefwXB9JZsINd21QSlt4uL8q0j+t3S
lyaaQloImQ4EQ7gwQ4CTNFNRv+/qLuVjlQRdvnG8hNuiO9aChCfDs0VjzHsCKrrb2zy7BqUPZErZ
37XLdiFrfphLG9NOmmJzifdbWmu2azh9RZb8ts7rtAUhYV33DezoFrDpVwVVOUoYGZKuFeeSv4tw
k4D3wXBxlePSFsnA2Hqe1XzXzWin9UiThc5XvADBsJ+mpNTZdVnnh9mqu6EckqnKL8ptSrL+1gWb
BBztJfEJ1tHNKt4uliU1AYZ1FJdj9pZOc5sMOCQAIIdG6KME2TmTr0kxCGOF3AVBk433F22J03UE
bwSFSSLzpurIbiMHMjVmJh86VZiuvdNDaSxklzh1MZu7bsqD2x7RogHSIUrFIwddq4ywsXR5buuL
aqPHwA9j+zJsr9n8NoOmYNWHiPC4rd73ku5XCtrvRpO+fpQ27Lq1iuG96NmZmWnTTtRU+mGbynPs
6yvcFfuh5YeMlodVXVEdzudqusvIcuU53JKY+T6L3EXB5NH3IRHYfSwZ2g1qjAvfXlIPo0q/1gYP
a0LKV+OIpZFofbsuLTFTnj+tfNu189QmbRjO+XS1kWPdbmmH0ZHD3WppaSyHD2sDZWahQwpbOxma
kQdpH1Q7pA2bjsKT0bSQsfi0hXGeFyQuyYVnQ226QSRRlXd9LGnrrzr8GntlHxWZyN1/UPEzKsKw
/NeoePtUu5/M89P74ge4CGf+gYvgwvpEH8EYrvnJkfUFF0/qC2AckoBMn3nm33ktAWYtQCsgtzB0
xyBq/s4QnKQZ8HcpTSmYvBR4vP4JQ/CJff7OrQU3pwBgORZAkZ/0ma+E4igaalngbNyjrmwBDlSz
j0Cffl0NFX3TdkPZna9rcJPR6hlGo5O9RaHQJlSV6I3vlwYAc3ML0MXFu24W6TpUkJ7rB8T6/NJG
EHypc6gs9/UKom9NlzcNJVUbSxLphIQIkhmMc68bupKgoIPVtjiqtuqWj/Mqm+tKT1F0m8/tNCel
UzVKQ0aX7WO+Evs+67A7etnF/jTTO1DEj+sn9WYDFhkUZPlJ12nBEnc+f1J7SIbA91I06Jh9UoIy
0IQIaEOoa6EOneSi/x9T45v4xoj+LeG7q31vPzz94JyvEwJGX5gtwQkIRoevEkKegW1BwByLQRX8
RpCk+OyUPkxTuAF0knL+SAh2xgkV0EOCkCiIAGr2HzSKf1JrBOUgRkI6UPBQIAwP+3U+5POCNtX6
cCAk5GNcgzjpYkYKfckC1YORvG8uKxHABqqLSSVflZAfiEUnFvnbbISMJ6AZgRwKzjrQVr9Zfagr
0fQeD/s2bz5qqzJD8VQatmw6/fuVvntO0F1PK0HbDXyBkFCCvl2py/LQSpgT92ufP1SYghWw3rIa
jGhMGL5W4FlEIlKggeLiM88EVPCPFbHvOvHPSwP9eXKHQiCw7x5yzG1HshL0GZCd3majul1kdw9M
2Mdajr/C+xX/5qV+2rM/vVVOgFMlsLuCf7enUEKGxdow7GHPm/tA+2uyZjRZm2KK6bQ9owysT7Ze
knxtVRqYsvE05H2C5PZvHv1PPM3prXMBziAChltEvqu2NowTL6Z12M/KjwmCeduwArwbkfV5zIvy
499v8mmm+dODQ0rBCKU4kid70tfBLHRZ5WAZg01e+2WftzgDmlUVn7Wtv9zPH75fDGkDkQSvl31y
6X6FIeWAc49ZO+wpV32spgXsRk2pY5Gp6HweaB/nEwtJBB7HdM5yF5cTBil/ii62DQxAf//MgIx/
emaY8YAHghwCWv67zYbhjm/FUMHNTCNKCzAY7IZ+u1qnNY9zh6O4HVyzL+RIwMwY0L9JK/yjDFYE
vBacgv2KfR9rYz5lhDao36+YFb+2sj8ZePp8vBks5tBrCi9E7ANcwESrjmBOEF3NE1S2FUxenSyq
eI7W+WoqaJ4ZMo4Bxzznw4e/f0s/uE0NVjSYvSUUYiW+y0Fb4qHtetntxy1zHxld5d3WFK43kUD/
R2tBeCCwVlJY8LsobJt2G1vFuj0ntr8Da7rY+RXc2GU/Ao783oH9z8qnAqUdTHdISjDGf7dSEcGY
yxuwnosl63eBbVPKhk6nY8btv9noHxQxcBYo0GhArZQQ+t+mFtmyvPQBHspSlCfZ2LQvXd6RlKBh
M2hxoOj5Yv035eOHuwY8BhNYgPdGf/d8eY4a0EuAWVsJnmLHl9mAvYokPSLDv1kKOtM/J5LGAMPw
qwHw8kPF+vYJVcV8yDcML5P1MKqDv3jsY1uweUu4y5o6Fj1YUsVcjTXQB9Mc7bqxD0u6LZK6O6c4
JJel+abPs2GtH0k71UXSN5UKSVvXwpox64onPwMFUFHFh11e1HlphgZbMJvBI8EAJLxSiZ74jHcz
RXS94FGh93bt5ZZ61hdgt6sK/CAC2XBSs4WTXYndIlKq24K80TO27lmUYPYA/zFBorhYip5mSW+r
vng11B6v53UDbTv4a7FjaQTK6tFtyxLth1BNwzV3TVBXbAxrdicGDMoMfI5m8OX2Q7WYwHTVJE01
sfxKyYbLJHDqy13gXf1yirTIjn0T+QPuqyYza96T3ujCPrpBUGYWcEOW5zKf8zZWwfsKCGW75qlr
16a/LCcmBXgBdTvX+2GYdZUsE1+XxE9rhi4cGJrQDbAHLUlax4vGTFYp8iSHrF+NzMYl3hTYQF62
HNrwvR+Hcr2dMzm9bCzrwaEedVreI+9UnoZ1ysM5VcWy69Si4QcMTS5aw9p82+JhKPW+6QGi0jpr
BviZRURgtO8Grl6VRVeDHOg8jQcG+oMpW5ianQp3uAcmaOLt66wl9Rswb6H7sRGzyVy5HKK1rFPa
6ZtQr7umG3YgSTb34DoEIr/I02pr7J6wak4qXbldHqYjBS8rKI3DE7g5mOGBZEkoF7pzlH5gNJrT
qQEWa2C93IthRqlmVuyZ3rypgTczZaPziwGol1/l2M0JCyvw53J62jrBDxMMFGZaVsNt/YiQSEUk
uluuXZ9i1Njbis5bHJDFF8rVxRWdYT86WVoz2Oxx2Sjf8wjfWVu0oEwu2XmmWRUvZRWgqRgkEH+M
J8MgtzuwsZx3IxuN3VbwV27VTYXBfTmz/lgtC0lgdunSZQRPTFlkU1zJyl3MtEgs7Oxtptg9mPKX
FM+q2G1bv8VrNIYkIyvZb+D+u8/yun3XqAFdNoVUCWgvIlnQ2H8UEUgW0QhkgwpVvZfe8/O+1puR
TbacU2TJ+bBKlfbLdCR42Vne4l3F1zegNXRvGpsBbche2rC+4UvWpDPSs+lD9ga8/jnoHJVT51OQ
zW6Kugwonuih0io7Dhm1ici9SlHJItiHEy9Y6i0pirG9t3003XY5CBpDWAAX6XA5rpk09bJZMJg2
8EuPuT0oOtqDHZw7NE5NH9kwBrPaeZuqpJrsuK1x8F2zUQ8aD+rzLPVWjw+VV6ByEAie1w7m5yWR
naQVgCkUiTIP89sW3v11N0OUlWvWGFXhcxTyNY38CIIO3tQF/OHTBRIizTjh63Cp1jkHpXktejl0
ZiUZA4Z1G0j/NgIDLipzIBsjAve8lxHx7xe5Ve0BzFIkJA4oK/hBiQcn+WUUiRGszVL1uanXiUfH
zFvgHDPf2UPfw5syYwVGsE256aHA5XJL6pI8ZK6p7Plcij7l/5u9L2vOE9fa/UXqYtAAlwfe2fOc
+IaykxiQAAFiEPz685DsfHFeJ3b1d3nOvuiurk5sISQtrbWegTBvzkEdCzY6B4U4so22B6gDnGfu
JMgn0dar12J2ipMa9/mXzgQpXy8iL0DuLPdPrTX8hg4qeQnTAIQu3JfoVtbJ4KzmKbB3KGrKl7Zu
eRVNpXEfKytaFOo1uwgrr/6ch9W4MpmZth0ylttgovLzYPB7JlLYte685jBrUsS5rejeo755AEHF
J5E02bzpBjRugSyGzacMiNKXpqZqoyxpPonGy3eyTbpi79tObfLJMQ9MQ72FKn4cVxwFe7fqoXso
osIjLFYOVauUcxZLJFz7HtqWlQDZYE2yLmw3CnVTuStrvRDM8nS4By6ZzuuA5VD9hOmY5LF2aBPG
JerQfV1lxbIHyXhIQ5ndOGVWROjF9t7G4HWS+yqkmKKowaQ/AQcaj8rVcD94th/P0iRJL/KgCVba
qecz3QXBKc0ofqtf51vq5Pxm6Dw2R0h6mgOvs+xCjgYUUlTB63HQ7CJtcVTXaD/Pm7m3ajNqS8ut
ECK9KIp6EMAZMnaBQ9TgUGF1OfObgypDegGlT/3cDml7RecWMGOO951LNW3nqZq2QYaXSlo6nRBs
zauatfUzWyrMuOJzPaxUI/Mt3my+Y7bEryW9vXRb2hwAL4an82Dq526q209Dhvc6C9F80W7aQlzW
Z3itTVUmhzTV07YPO/M1HA27ADhKxmjQYXphc5bXyHfLcvo6S58GFjfw6NMi8kc3mU5dXMv1agxl
GpMsaJoorTJZIUL1CVrw2nFva3diFznTyV3Ns/Scgwb8yFOuVl2fzVnkkRng6RAgX2W9763TLmgO
4GMkq5T0w0lbYvI0FPYuIBJxMU3ynV/jp2sH0qE+bPgcZQGES1EFTOuC+k2xh5IN8rouHJVc5WoE
1b/s8BeSAUhImo5Ft5IzegPRjHN+roLKPEwTm14CMZivIqUMbMup2LuAQbDL+6zuo1p67AZQ0XAP
9LoXwG/wkAVz1HXQtfWTLzN+Q8IZ4G1djQCleVm5kaFV+6loZnsZcNPfO7VV1/my3F6bBKdMusl1
QwFLuYpMm1AIx4uQZGQXwJrc20Bm06WTkunFmXW+JZayKvLbILn2Skn3jZNVp5BG4jeCB32N6sDe
oTtpvs7jQMlhbnOTrUmZTS+iTvsqTvoMPXrCXEBhFScjsG+iofOiElScOCc8AUKNkitCH7uZ9uUw
8Axzx06aSdMi9HKKnYaYlV0USmo3Lt1ZXxJfOm00TAXW2jFBNkCtqYMqDk33ogOCmmlwShk35di8
EC3de5rW42oYjfuND7LvYxw9ANJdMb9oT9YtxBoVGvqtZP03DyIXhjUT2Pt1jdfCcZObrTMqFwgA
Ut7b2SvIddg5iGaCD99sDXC7S6p63Tdefd4NU/3ZyqS5crsgvUh4k2+7sA8g+w18AN5Z2K6nAOe7
Imn30OR55Vy1JDCI8VqVbK8njZcX+OIMNXGyqfukRRBD73VbpR1gtibxg8cZSMF5UtbpdiiKYUd5
iaXBtXnqt1T1ERNpfslBDtzUFTV3LcQ8UTtnL12q8b9MXdcQC9b+MwtTBkSpmOOaTnrl+RbilcHn
WxfvK3IYoysFrXIddX45Xbtlay+RhIzQ7Mnk3itSiGCIvulCejYIhETrODlqmbZdjYCszhv0f5w+
Gw6yrFsMq/iFM5bueSZKxA1/zrfWycmZ5aS+qCaW3PDE0/vQAg5F0C3nyK1AF2nQHd+zvDsM01Ss
cpzNMycd29MqFdUhzaopQqqPFDD0xmis06eQZc1eicpeKz34X4eCHprccRHSAvzLN8264i5kQx09
sVbSB+TbTjQ5Vj+HY3ehQ91tMkm8fZNoYUFIQ0I6SD09BHZMr50qGzfC1juui2YVjiRPo7zRu2Cc
nyDQKj+rUsyAajRekkegbJQcFU4spolmsVTK7BUBg2tIiHOhSlpvoHVkJ2XS2xUtvPIK/yHWiEHk
tm8I2MxjmF73BoP0LBGXvRNWIGb4kNCIhD6FecjvuemKXZ6LeyudctsPaYY8EKlcVOaTjnQ+Zmd5
gMaNhlAh8Wf3OXOgHh0C4mw7z51XQd77q3HAYTR11kUjRKrrdJr4CZIL+iApA0Jo9QbHCQFYS1Sn
KW/CbViE4cugeu/B1tQ9D8tw5qu0pLd1ZiVwOYCNDLELUzPFvcuEuJoGrBIbjG02Anlh1HZQ6abW
1t/mihQelFtdft5IbIO8KlIwTWxVI6zVwNlpCazW1rKNCZpd4dx5cS84Enqayic5WXVIx2rXKZBE
IgZoV0/SXs2O99DlpNzgKIKoN0skagwKsET05yVlyV2hAOdaOmwUQqCM6qDLrwOnnVeq9IMTM+WI
Xk62BnVIRcpvQXOpmdZxNoZuNFfFDGBDD2ecQQGKHI0oHDheHerUyotC+hkI83IucO7aCmVpQSSO
UarH4QxSLcC5HuVb8IQrXDlW48aaa3RPemDtl2HiN6eTZRJVnRhyFfWtVIdwzJ1rBg1vK4XdJUMX
D4FRZwVW+cRUo0DU10U00bEDpcl0p+j7ToCl5c61JPwEVWuEOuep1VC0lRmbwbLkoPwK0GKiYQCp
3k603WtPPLsz/5aAhPyIjLV4LEypEbQMuQOmTDb+0KfrTvTl1cSRsRRT66qIht0cpzbJaqRDdjd4
5ZAfiK9HuhqEY8ROKNfFHUO5viBjqkC6moS+QKdIO5EXyFSDg1QgCGmXyceylNWV1wTlFc/RR47y
CQFUZmP3tTCe81xBRfi1SRyQGTyCX9jUzD+wVuqbCZKM8VOLjAfrlqPIKTNe4JYg3N8XdYAbJbT1
Z9yW6J3NheuBlYSG5F4nuXeL/BiVqSozekiVNV/Bi+i+mt6giWAAX70oWqGrYOYueXSMdJ9V1uKm
13Syl6axyaOnoMWOaZKTMIbI2nwlrCZl5M1DKNazYtVN0VgEBpPZUW8ESGR6Q8MRHY3eZtgeGdAr
G+mq0DcZ7xXIDCkod6AM42fC2hbtSshQsRWtHGwjoF1gBQwGT7mWzIHwAKAYZkU9i0FlTitzks+s
Q93oVIObxWM95ukGySt+80wCq/d0RPtxldFwIlsyLSlAB0A6Ad+2DE9l5tBqxdsSSWuRcKwSgbyD
x4Xtk8ehHbIsSvs8hPwwZeWL1/cYtW/8yV2N1A8ff7xMNhBI0H0gmiDnGgcwCCh8VkeoJzQ8AyCE
8htuVIxeEF49LCGqG+bmXrUtcol2D5+ROYlKWbWrXXSBLryGWXfTsZmdTG2nb6BABQ6Y0tnl8Qgq
e4pzzNAPaWtHyRMDQuKwLSegk2fh0A0vA0dvNOo9VmdnnLjZrZoGb1v1VfVQuqG4UiJskrgGOnk7
ZrWZdhZt+OQCinELMGdw8IzIyvHUkHBi8fhkK7LpR82KGGuCs4vefwZVpE/xFgfS4e/PlWe+5qhe
FjEmMuLJDOYbaCey2IZ92wDACMtcbh2Ve+D3ODg/0YjlnHcV+n+HMTcEXEXdIaNjGa3l3uEtmigt
sBW5qHFYi6MO7Bc/S3B/xWXvgF5cBX1Vgjhj5+IiG3z4FywpZCEqYP0FgKg7Vzreuim0c+Cmandj
2ftXZRrY0yRT+f0MXezd6NHhg7b629YjDTyQ0kFmB44AUPT3bmAD7SycGWy3HXtvWIup5GssdrGa
RF7u/m0XF0NBKQVgnIIvdtybbn3AA27Jui1FE2lbeO64qInAWwrc5gNo6E+zAsgH8RgUIpz6Rw3V
2bWqBsmy2xbWIpvx52bVgvEad1b0+/dn9RaXoIGPOQGXAFzJvsvEXoEkFox4VTC8wDCHPGqYvCsw
GPmLhegxrRIZC40quUkSFdcO1R+s3lsgaBkcgMiCr6KdeTTPzmZJ4tddtyUa8B7aCtm6cmnzARD0
9m0y6Ns9ga4490B7PhrFoJ9ghibpty062C1Q0yUwMNuIYS3rErv6/Tf6tgXPwMUOkB26HrbJcQue
NYPnZ27Xb9OJd1Gm2m+AhV6CFDQutyhPeCLrD5rib18j8zzQBYBZuhS61SP4DgdMjoEPqbxEah1X
SVhgsUK9fn9ey2v6HbXDKOCDgFcOejh43b8fNdonbqUa1W/9fJgin5DTlJiLCTpeJOgl+2BOf3qL
r0c7WjSoKtMmZUUPPcToog+VR+lQglaE4BxpNJOiVqnn9yfoAeJ/M8MA5BYGI4QQG/IIWpgyxYNx
xLGD4g+lt6bFPeiOyZ7rOdj1OgVjrrkWAxhtTYHSlHdOcECasOvTVm+HPhzW6PSgBzmK+ou1PtlP
HBwuL+maG7CuItwZaeyqZv4gMC1s1OPn9h0qHJezQHhvdlxgUu7pDscIIhWKvImM0MFby4Y1Ib4T
5Qbt3HrxavHx9tZeYemjMwt72btBfS662Y/TOg3RtPfTD87CYkLx9tEQn5cTzvDP8uevwosMC65m
VnRbC72nl2RslbcgYDYB79amSc2dzX0ZOyMPi5Uu5upgK9memgTX7Kq03YCCu4oUBe2umSoH13md
rBK4+kSVl04nae8BNMeVvoexkF41Q9etRnBJY0A+4X0/5uS+G8DIC/28iVtKxAbuVMA20XdY9+hP
dqo1IKIXfQwoLoxswUCdU3f9GJhzRSc/mvxZbVofLMORLEWcmHdNDvh9okh8bVIkp9CFOg+kbYat
rBSJoYh5UeDwdwEECqFI1a7jWXeB31xt3t+tbw8IygqwXnDqIeMVxziYNSnrYaOERTfZOVE96MGB
s3dze9vPCXoGfen+6yOJERmCNYPpzhJvfl/LEH34IJxVt4U0Y+8a6LTc9EtY0dPWryjcPPin92f4
Nm4HTCDaoOMYhiDlHIU1k4YDKri+Qze8qCNvoOMehY6/Drx2Wr0/1NttGoCzxgG1hYBP37Cw054N
Ej1P3ILBwE40ady9HnvxwQv84yiUQ2IT+L6Pd/j7CyxRf5dgQOO64y36TI0Iya5v0uDy/cm4b+MY
ZhO4bgAeEwDSY7Bf5QTJax2aLQQJegXejtxwW6YrJGZAJBIjkFJg4zvCTw9t8NB66VZTlX8Ulvw3
Z3+xb+BgA8L1zYVA9vfpNo2mcz4Is6W2EOuxCYtNMspug1oyBymYznTvVjZEX0J/K/QorlUnx23K
nOGsnEGcZUonH6zAW72sh2cKIXyEbteDYOkoHgUTdtHEwLmRaMjXqA8D9owL9VJQU8H2zPmqi8E+
QNWbfTFt3KHvEUvtZSvlL0hmajYA0vWq5VREY+6CpSuAQcQZBtyispYxlan7bapcSJ4ScQN4Z80c
qVechA91INudOzDnFG3LYjdr/SQG54ZPGCilbh/XY2jYBwH47aUNZg8YFRR3A0ibx7QTWA0IBfYi
ROeyeKiSrRhksSKzk8FugvkfZAjeH1cc4lCYBS3uBsf5XEoJQSfFN2gp9tXeadk6dPoRBUvXnCem
7heGef25YAiURUOmC9jXTDHPIV0Ig0qvRFV8K1w7oIdtV/MMexs0zGCUBvr0VPVAg7qc7ViajYdq
Ks6J032Uuv15Aui1gsQKOcZ3n8LX11XitmE5BSO2bDZdp62oUYrR9C7DHRHXAFdXiXGheRa8Qz7Q
locpm5+CXNyalof7vk6S2AbtsM4cHV7pWejbgM7fZpZUB6DY4QZ9xGmFLj7BTdwVmzaHf94HZ385
VL9nacsG/zWDoxgzdgCWAX6AW0VkekhmdII6ZquVJM6qy1tcoT38eKR09iCDD2jO0f+NK9ffJNe/
6bL/3zQeCHBR/w85aPES+81L8+apfTJ6IRD98Of85cG5/NxPLirk2wsfkLsBXLl+2GX+JGd7/+Am
xPliEHELbFCs70/RkvgHBw/tFRx4NJjgLvCLiwreNjhf1AG1TywuAf+KnE3f3C+oMjwHlQBuZVjj
HPOZqmnO0VAO6ZZ2yUaoDgKBiiWF/ZSHzHyZgoTM61wNFU4+2gDDpzAZWHrro0m+8kMA/VPqqdte
BytANjpbt8Ym7tqhMz8jaI9uKuMP0GiAECkiNbjYrRVJTlJ4cW24kvNOK1pHcpbF49iWZF076Sc2
e3bXB0lPoxQSzeeM2XoGwc3hJxUAQYSX8nNOMp9FVoBzIwgsJbeEWQr2hxMoqJ7astqlyv32fXH/
4xR3+ePg/f/oUMdx0fx9l5/CoeDtDl9+5ucOd//xAXKCLoZqy/OpH/ySH7gwcsLFHMKK7scW/7XD
w39gHreo8kD8YihFX+3wAL8QRrbYkzgE38me/4JtDSXf72EUsjwfj4Y4iqIH98Bi4PHbRTAqwCFJ
DVIXcwwksG02JdHiELLOS02cmMl+Xs9Jp/2TsnCK9KTjgOo2KjRIJeYu7jlR2H8023hpxQtoZkwu
dlljbqc0fJl97zIjwqycmraxG5oNkHinWmdhB3yrG0486HP8zkWXOvNd1D/ORkDKU/CmWiW4CtfA
M+qV8vhOoFW0SsP8tOlYFQ+gbkLhBR1zMBS3UGidN654cSFhCoQ+lzN0zAbut416oEV2mALAw5n9
4kzJBh1TwAgSafwk0MmX6YYGFVynfLstLbtG0xeMGjOcywEMc+DCqxnWItBZuV8kgd8o9x8yOZ91
bADUOgFmmyn4orDBmuYmj+Fq8zWz2V6jqaRNcKVJCsZ6wR7QGLnsRh884+TgeA2uowEI6BROKNZq
9IJKfvD7gK/aEZCt7LtP7TDvbFVe0OwFbaoJrgReBcZE8ag7dSkpvyNT9TA2jG7gH9hEzJ3b2PLi
LO2wEjW3d5Vb8Js6BFiewQYi9nP+teXmwvdhj9nKEHQHmYHZFE5zxHBlrosmzbfj1D6qiQPiRMAB
tqPkoUwAxARuOp5lIMJFXjvsHNDw4KPnPiloAWLYN8BNQlRffAsakqM5JNRrr5egTw0ZrMSKYWsq
DJostrhVbnjsjXmzpqK7Nx6gXKdu/Ae/B4ah4c65cyoGaoglftSNBV8IGnngn0DcmO+Nmed5XfeZ
l8EaNqxkHJS5etEATeEaIWGeQco1A6/2cvIHb/rEC1eNByr7Rq+GbhzXXAV58SPR/m/gWyLV3wNf
/FRkuq/exr7lx37GPvoP/OsYxE0OyNhgsqIG+Xm7s+UKD1DRo15a4iL+6D+3OxxYOAxb0FjEBe7h
Gv+fy33xZkFJA97093bxvzMUQnw7jnwcjFWUjgLpO+TRAgO9jnydnTIH/FG7M5UHCRMU+QT2BPOY
bQY799jp47lXI4+c+mkzZmUQc5NdD21yCXL7fvLsXTuSK2XFZ6+EYCFIxc6fq8dS1teDzXnUZZD8
di1sQ1gwM3Cjphp+1eClE9mAOuwUEGqyLJ5Z5UeGZMVe1e4WAu8GDYBmh9oC7POKneRug2pClhnw
aL5VIW3Wo0r3cOiEubaLhjwg3JOac7DfQLECsx9mYOBpVOu2Ga9TGmBmcr5xXdAvVdNsZnCdIsMn
HVcNA1ltGsEfDSXdwOs6npz5aztUxWYGM1V0LV3BF7cCHjfLFdBNOP65qf+1A+vSh49LGhYGOmgw
n92RAjIe4RKdu2BY9vIGFN3PVdgDTQZPDnbFD6PKURhpubZA506g48brhLNlNHpw847gDNYcqJvv
kr6EFniGZaUJ3Be8bLV2ww6Wx3N1XgAPA4erviz1iDZV+2UMoD8FC5iAB+z3s92MXpmFa0MFPK2d
uwqg3+SyU2H1FlaDE+IjfIsDcE28invQEWdPcDxVPcTNxElvqJyq/ArONiEWdnHh7BdDznGx5vxv
qvRdr7lowv4eMaKn6Q/RAj/yM1osIQEWgvDIp+gZIbt5HS3gmA8NDXRnaP4fWznBDBPuLwBWOAp/
pF5G/3DVD/+B1z5cX/BbkUuhx/5vdGlH8BE6jygDHNQiCEEQbH1n67/q705BCz6FsdOuCW+kRNtx
AsEQJf/kJzeZ1LD/27H67tUL+k9O/drJH6q7P8QovjSVPciWHBYsfYhXo45Q/RgYo9ld9t34FZTA
rbd4wfaLK2wjrMnPUyMEi7o0I3capyO/8ghY/zeeKhcAoc5gzKtgdtSfpG7rN2iSazWUYAmHLWzY
ywBMow5AvgEPGta3qGbAfwgyApt4bW4dAnaQnYHJi0Wc2SX+5x4Z4h7c0bsS4GssS7S3dasQj0S5
AYkDnt50g0ypiJnfqtXIRC4PnBkY3fgVbAo2tiC93iUt4/U6y6Y9MMV1kdGnsnHKl6Fs6DmHf3sZ
l40kEVrf+Ukw9V3USTHvC545156B7b0sF2PvOpX5uijSdk28bowILfS2rWDeX7jmpWD00nEJ6P7N
HZ375zDQ+8HtgzVJFUSzC4cuXHpdNggugqZEHtLXD5XO+13LqnEHrug3h6X+dgBp3k+RORo/3RHp
JaeBO9Rw8hr1CaP8nCLjaQxSOgaG3NQGdxzEq9bpNFjYk7upO6dcJcJHE2RwoKUASzpqk9AFl6hq
Hkw6bEETvIJuB6ySAMbLvoiGFhNmFL27sW3Jl1wEeTQWmq/Q+fKf6748F4jahocxoic4db7TwVLZ
93okkbnR4GYA8Zb4NgIo7p06BOFlXVXmjPauSP+b/UAPDiu5pX/491j2fwrIzvs/9DaWH/sZz75b
08Gdzl/kST9cE39mP+htwPE3gIIIMlOsGn7qZ28DQQuQI7S5kM4d6WzDxdEcEc1FXwQwKKrMf1H5
we3uOLYs7XlY3IEE4y1m5UvEexVbpMyHApbQ+Q42GthOM4Xp6fwIDObChUkvQ360BrUILqgVbtY2
FFHppxANjg9CyF2dNM9+mp6rInuAq+8mULicJwn+g0nB9ur8HSglZ26QPCCbeUyCEIZWpDgQT61a
QWNpnEeP4PMDY36KNsap15rTvpoP1LF93BjylJDgnlfgJ6YCDegiu27hnxGVC88szafyzsxgFcPe
e9BO7JpqD3MOJ4waOGcYUNP5uYVxuaX4UETG850Bt3U9+nC780XyRflOAuabP8C7Iu1XFYB5aBpC
g4otjMmYX4DCBwqtCkGz4qhMM1dA9EAxcmPAosvHfRHYmIGoxV2LyhCVY1BX96DOpJHbo08kvBsQ
6SxaQNXGQ/Talm0VRNh2KkqpsgeBHkykE5Gs506Up00b7qEIOXMYiYBuT1EWDvmuaMm1IAO+fgLm
9AqqDIAcY8Yi6oZfhUBZZ1xkSXUHilCBL2ysRG1Poep96NCEjYDYD1HnZC6uJ91Gbd2QFawCDkkT
xC7K5z77ghI5AM6IqAiOEdCSrhmKuIVnu18056oZ1269GGCF+TcOWcekdRMpEoLMl5QgbBdrkast
2JURaKOH1svibpwJct76Xlb0s5gHd92i9vUVBAQaH4SwhaNRhA542qr/DBwfZedEb6RLbgsJPotp
Du0Ic5sRUR+6kI229jZowC/izUZOLp5vyD9x0V/2pb0IE5AMwXcOQBgbLvu58aJCW9wHRQ4fFl5s
6zn7xKfiGQfwGvTXvVvIZlUPMnaFTSNJsZ10eGLcnoPi3F4EeK5t1k0nSY01TKY0B8U9v1AdVEIo
53cGgoWI1vymTeqHUhfLRyvGnSwcMJ6dkcSzO4JG7DzBo3rXz+I0dObTzqZwjM/CZ5DLX/CYaWTB
/o2VFiwOqwbuY6CT90rfEqft3duu7uG7VfUiewG7t4cjjxc+zamLGgKNCnD18FWKF4uanuFkksK5
cY0Ly5TazKd9i7q8pCqLxp7spHXWnrJn4OutuVYPvrBbqK338NfftKk4hTAhbuD71Xos2+aYga7y
VUj7NfOHzezI0zJILgfcUrHjQglXpjvFxL3ooZyYxEVbFNeidZE/qAk9Tw2KcVhcT0VQrE0F5ZaY
zb1ByhLDfgBIJnRhpXKf0h5+w/Apxvc9ptvUhz1jSV9qtELD3FymLLtlCgzAPDhxFHtIDdz4J7mZ
W2cPuQCIs6H8763149ZakMe/31r4zEvbm7dJ+PJTvy4t+HFTMPMArIBu9rufqoBPNaKXQCqKHPy3
S8uBCgtya8jPYRNM0UT8mYTDRWxJS4BuCx88LzC8/sWldQTyoVnpgeoM5S34TeCuLE/3+sqyNYc/
SqjkDgzDPXK+czN1e9W2cTGNm1ev5o+599vrcQF0kXpjtMWn4fexeA65ZK6l3FF9iYQ0coDTwmhp
vkaQiGp61vanOXtAqrghQfhjg/5d0b/k9a/ArR8T/TX4sSuMML6hxs3lznpZlNsa7NXzpvkWZLAh
A1Wy4RwfdjqH0G1NiqcmuFb8P2fkr4+AQuzdJ1gqk1fZgcLAA5i9sF+as2vSFLdjl+7ef8VLg+W9
SWJDvR7Ch87E6Ukqd1DwrciIiY5NxP3LrvTxvZHL9wdbtsZ7gx1VUr3xeTlBsLxDknOOO+4EOs37
JlUX7w/z59cWgKVKcQxwIn6fU9q7LuSdmBMV+oojpOo+PH9/iO/srLdT+TXG0SnAJxQKyDohp0px
AyRMgvb9KMJbkl55+aUDT3gH7dYy4VHv7NDE+2BvfjTD5Yy+2hieyGAGZEi+qyCjIVOyoyz49sEM
/7z9f83wqDVnfV8PtcBbdDoo0ILidIbwLwKhcO1rcsNJ94QO1grV/xXvyKqAxV89JkCZ+yJ+/0n+
FHBAjwPUiD4lPEyPdg3Ylqi0LQR61J+RAiTVOUnRtWqMfgYt+fH9wY7pbd9PPfhGfPkWIFhAx1gM
jMZhd0qRkft+hwQRagCCz+XNDuTFcu2C+FS52VlJdKz9IgbzZgXRauwh77XBy/uP8ofaAKXGryc5
WuSxgpK7F32+m0OoQWaxfG0L7bUpVhk+ihPO2yJzPjigbxosC03l1ZBHa16NKoDfHYbMGyQhFTyk
UQoY1FVRzYmMIHlf2Tk7wcdH1u/P9U9r/Hrg5V282tBEqrb3Ewzc1C99CP0WSHC5/uqp5oOTc0xX
Ol7fY/oqvvM4pJNFcu8VuzSjMUCu0nuA+dcOAlgoKcMIiXXIHhS6zu/P8U+h9tUc+VE0B1u4tq3A
zqLNUw+YL2xuICmJtfqcdR+N9adI+3qso7Ae5l2mswaz5OOz03+ekgtL/Q/O5UdjHIVZlftM4Wzm
YN9DPzbg/DtPjXA/2BkfjXJ0CtLUoi05YBRI07vhkswA8By5en9pXGRbb26m1+/raOPje5WtRFc8
34k22IHivGnD+d6G+qrCJ/hK1kOcNsa+qCBw687eH/uDM7d4xr7e+g5MWX9M0A9gQA/zjsF34x7d
/sbA3UCQZ78297Dw+fz+sN95E8c32Kspi+WVvDpyuZMLSGOwHfvM7M2A/pZX+bEnEdEUrPFTf+XA
+z4f4L5pjPsEpSJMsGUPIBKRoPL8ywTuHQp/9YPnetNu/T0GiaNj4guvnDOJpVDplWkejbsvlBd3
/MvIG5gD5RHy2x3J2pUPsPr9sT+IuMeUSXxwkJE6XWIDf2jMl7C4mgCFtOxhaF78pPng/HwQ8/CV
g98WAA7dk8FHMLEAClJZHrXu09D76+TDmPenbOHVSgdHKy2C2RrWYqAMDYwOvYyoC+xHEeejwLpY
2r3eT40dhS2WVlaenQWLcZgHFhuaOMoDElWgBfySkUtnOvOqT++v2gcHKDiKdciLYRZlMTBaVNHY
3JHkQqdTNEID21T9drD4jo+3e3/M71Kfd07PMSigdY0joDEoT5zLBkzKBLyKEWJ+xp+5AmEPtsfo
sqOpjNH7/rZG3gQ/nzNTOluf2n0V+LEi3RnNYQLLhkMAOJ9WChao/MIjyd4PIL1K0ZDmyRnkMZGE
BPl/s9tRFC5m0D7MhY5iXgYJnHSXmNfk45nV4qaFaYMqvSnCp5zWxOQxqbqv77+3D+7A49QcFgba
g+AUqvTSbt2Jb8qyjufUv8AXImD9oU/eH+4vmxIVM2oBuG47R3fURPzK9RvM0ZP4Hgfh8GvCxx+7
Yo2/Drp/McZQ06qIzfguJACPWpkPwuyfD/mvBzh6yXyYHBiWYJ/U4hnettuG4hW7MZf/l73zaI4b
ydboL0IHvNkChfJk0UqUNgiSouC9x69/B+rpZqnIqYp+s+2IWUxMD/tWJtLcvOZ8F47Nz69JC/kF
muXI2p8cJopfKgFxVwLJxpNg0F+7lvKX85P5+bd7N3Eyl4bEYzQfGUpev4wpcsfB5FbpTUsrbFk2
Fw7HS+OZ//nR7RSprd6wB8K1WNNBWQOH0e/aMl2cH9IlK/PXO7JSSmFuxSVWhMICkAPqckJqxbqw
Bj59LCJV/vfHOVkE/gAS0FMqBpPd9IlsTyTGxRtN9JejcCM0xNS73URYoUlv/PH1/BDnr/LxoHq3
feJZazpuhJwwRDnXtp2Q3LThdOG9/V+8p3cb8wl9NI25ArBFpq9zLelvFk34Y3LjoTGjbUTzRS6H
hUdcoRzuzg/swrc7deQB9DZGAlZgrTQlhQQ0huo7Tb5wt/yXA+TvoZ067X4pW36hYgUc13agFYSq
8wdZMw9GrPP1wm1UazuabimWkBA+5US9sBE+P0Def8DJ7daOfR0m80UjjUv4iFxnoev131OAkufn
85Ih5fePqCWKEpGLwQX2ipXu03Gk3/slTQaX8JCfniMKNcOUEKENNQs/Ha8WFJXkKOqYUiv3dlbm
L4LKuiYp9OIP1Zc4Kdzz4/p0nbybO20kUsZSz9J5j2uB6GQpzdv8gI1G0/SF+/Tzcb3fpyc7raLA
VMlrDLWeuPTEdleYo22K1t6CjoHc04X1f8ncyTQmOdHeen5O5kJLJ/xe0Ck81Ba4YfZYfz0/hxds
ne61EMFd3Z9P4zF/86Mby38xzbfOkqA6XLD0+Vny7pV82HA8MYxqJp5N6g8thxA33kQZ+sHtiAbx
SDdETeA3WEvR2/khfr5M/v56czr4eFVSlTBBa2L5D+hYVckDrSxOgATQeSufXwUqFXm8TvDJT/t1
rTSGr1RyVOr+wWqot4xXJoVubdTbrbELA4DHt/Kw6LRsXacP541/ehUc2Z6n4OiYFuBFiKKJbSXo
74Yyuav6cnXexKcL5cjEyYUK3UlQagMTo5Rci2N9T7hoE4Talpr3e6uqLrydPz+ej+zNv+doSH47
UTwXcpbkWr8wm+46G+9LaddXL2JnkizfS1q997w7E+zs+ZF+elweWT7Z7UMSJaqgzMC6btf2SPuQ
kLREO6IQ7ryhTxfmkaGTfa7DoosmH0MAqZ1s8tyWyFQVXfhw87/lg5vwbuVUoFUWytFoPCaSCqyr
OhI5mEntG1Ag6JXvKgtKMSriZnDJdZi31Tm78z8/+oDkXYfO0LFriD8US3UlyaJlL98Mk76qCmWb
eeOL5A1LEQxdSXdf3ECy/J8m+NR1HlNAf2rABCsDpQTeNZxEAr+XXiKfRpiOJnjenEcD1aQyNinY
CNcdAgGZhVZe1jyO4bRP6W0H8UPFpU5DX4b7WVz4tp+fqUe2T3Yl3KBBH1p2JTAnrvVtpgKXHSny
pLwCdKoNispttSXzvD4/tZ9vkjkdKaPASD3h74MWOrREMwAW6zQFF8Z1IbxV4yEvp+V5O78YFR+X
0buhk9ml/rSn8p5lVLvxNSrDy2RZXwn2y93rXra/EX1wckewfXs/LiyHaKUt2f7WcigZtmEYbMU1
tb0+8vG+bV2Ygs+37/svOzl0fUtg0ucTMamj22IMr5XU3/u1+Xh+Bj49eFHR41qB4SHO3S/Hyyuu
9LLsfSbAzG789HUMv3v9A9wsR5Q35y1J80f7MNdHpk7O3MnvQB9S5LgOq2WavFLeC8HFzf17Q+gd
UY/tCEpLX0qO0BXLYAKha/mL87/h0mhPDt+kMhufhhI2U/jYD6tQ31XN9cjibi6di/O/6dxgT07f
bDLRlo7YtnLX0CUGkSy+MaM99eP2ILZORpXI+aF9ul7eZ/c0LJt1dNcPMQazEVJf1JFozqoHCYGP
/83OSbgOxe/eCLp5YG26mWRkpWt/2fnypRv6wgSexlTHpPaEoWb9BzGwJA/h3qjdWSKXS+5DmfYO
ZTAsBOUxMqwF07ILpJwbDo5pqKA71sQ7tUdcNPXJdhkXpuDT0+loqk8Ojaq06swXWcgyAH6lfQgB
ZUW6SDvTJZD4pUk4OQRyDEDSZhIMK0SX9QAD0pY8dQHA3VYQ3wqbS9fNpWV0ch6oqSJo8ohFP39N
qlWpP6m9htBD4E7So5L/qCn9Hbt7i0JBcaLB51polzHUyvOL7NK4T46KVpooFo9x5hsE33z9QR6R
l1hLxStihT1NHuetXfiep3FuwJ/e2BWMuUie0xmpmN01PexphOvOG7owrNNQd1DKSVX9WtNidm2M
FXw2z3QqOta8qFr6KoFEmcbP80Y/9dDmTttZCpAs+HwsHzkQ3gRQSUgZnSg9EJ+tCAWY25pCa8Ha
K9Eu/Hre3OdOw5G9091RyXVfWhlOg7+vyy+Z9A3JMwlxPzpcrP7ehFySX7D5+by+D/Fk0dIXk7QC
9J21ou5bs6LqLgFaWC8Gudp1HuzU1/NjvGTvZHkaVVz0+XwGZgiu6WINUVVbZgVCcPJco7n0hksV
PZ8/WN5n9Ve389FXhJ+H0mCLSepKF3UUu0bUbgZZW0zhdNdZCJR29DFII6I7GTKI0s35EUvzkD7e
Z39PMf0Yv60i3bcCMWuZYt3qF5Rl3gmeRh2td5sqv9QfhwN+6UOD6I5aNodw5tf1ZrzKtfGQApdH
mPQKsuVGp4Powvr+fGoMyquR/JmlfE+uWs2MFaU3Eg4L7c0KfmjC90Lf6vLBGr960ZeGXSXQB6QO
X85Pyacz8m72FBzS4qFNAU2M62Z8E/IbuC+iXtthuEQG/MIQPz2Uj0yd3LkS1FnN75n8zoMTGZpu
qElXZpzenh/R5zUsR3ZOjwqfOueyZ0hWSGExYrXDrgLEOQBO7PVbUTyEyVOpf6WB3VX9azWkAzi7
cLdeGurJVg6LDHi6wsdUEmUr0y3CFVf0D+cHOh9BHxbz0ThP929DiMWKMGLm/mNJX0ohJRe83Uvj
mI+Qo/0K/cLwu4JT0ByKO68UKZk1XKRiLpi5NJKTtZ9Csi6A+JP07rtdEzVXpRpvz0/Wp4fd+2Rp
J1ngqmgGBRHQ2URqd3ECK4YWHkIleJjx91pdnzd3aTufcoECi3r5LGMRSvQq+p62L9nBaSV/DYZ0
yQFDGXaza/qcpATijd10qUJv3kxnFscvWNjRl/MCn6WnYV+D52TIeysG9fsAB74UV5Q+m8qz1zyb
pfs/DnteUEdmMyvxB8VnjxvmOgXspd1nCsViyA+Ys8berdVktlR+CUvvwhK6NOH6ya4fG7HLgLRy
kJVPLRKeyZNkoRn6jKKHbUjNIhGSRdwu2/jb+SFfOEBPKUc5jbZNI7KwIoUm0RTdAmQ5rDy9sZRx
NYrN//hh9ZMZLuQGZrfKDKcW7eZR/Q3SlgNFbVWMmmsqA9env6SM1Rljk5aI/O78cD9//75vpNOn
dpYkgpc1EKyAWFIvc1OHizEmZFQ/6dJ3EWXcSlhpE9pXS15ti1F/Pm9/PgrOrOsZvHK8wCjQUUHB
sq5lfddoyyR5GCokkIIvpTkC0Mzd2liet3jhcDplkUJtNVUPyuu66b7SK0IR+oV78WMb+FzzczSl
J8efQbVElHRMaTzehsXPTHjwiy9h8aRI25H0stehE6Rvk/R+9O8ztENE9eAHjy0oOlgJl54Rnx6U
JrLbFtQZerNO9lGuGGI5TfwYlDOdoSy/mGJEK1C30rtyCeTbHQfz/3NbHpmcv8DRoeHXot5o6byF
/GEZ0Hk4KbtJuJRK/NylPzJzsnOEWROm9TFTCtUVa9YFdQEvetwKerhr2bWa0K2tERGbMVmdX0Pz
ff9h1R6ZPvEHkPozWq9lUvs4XQXdTvefU+iVuTpcOIA/MUTnhDU37CK2TuHH71OJ56v5OUUDa6Hc
pPrXnqu02cjmhTNPlj+OB+7LTNZDVZCeixMzYSGMKZoquHLL/Fl6CvbtttgkB2up7ZtNs7O+q/fF
elpNP8v78mAuq8fxwgsfKvrHn0BTo47KPNp1lEaf/oRII3Iu5D4FV0NTrpMuWnZS81MY6RxEUjBw
867vOR/kp7A3rpPC30kWTWKzhhkq69WLlTFFpp48TGO37wdAL5IP6hRw/LfQnxKIkw16jH771FWz
ttDU3wp5Sz9r2HU7xQBVjqDOkupF8IwJcuP6gFxAlo1U97cjQUCRpgjI2q5ZFclKykReFEKMlIPy
M/CUnVVw64s0ST0XU5xtQwTfm17T7DEIUQczYhBmWr7sJnQ30k5vbWkU7wLEUFCAkAsI162wEHyk
zEt5gnczhHgTMvDBokILACqEljp1ZfaLPp8JN2h6WFV6RfXDMmtoPgb3Hhc6l2JEtUcnbmgBm4Uo
tWvLF1Cp6K6QBcxssbVuzTK+piSQx2B9G8vVJpX6r7WWreokrReZDl2vCXbJxGPIGodVLI43uSyu
et4pWVY9F0N+RS/9ugzahdFLz3Ph0ZjHyClFmmuAY6BFa1pPWkhRJfeYADansqybsBluYe8+ZnWy
bGjGc6o0uIJv+DMKEqjvNKS7TW+usy47QH1DXkr/os0K2Sbt5GDDeTNFawooV2aN0IDayhtVnJZm
irBCkG59aVZ4U5+N0hp3JFNco7V4X0nhApxQSfFzKHGx1fVySsODqVV7rzdiNyvr+8CyUrdGhcvX
TDdVxZWQojXjFw+6ErI0kg4ezUy5aM2NVwyPeRa8WpIh2PGQSLYqew9e4f+Iy/SxjZJZc6gTVmXX
fxtFbVpYA8omYtFuhC51gE1cB3oHOaN0LLn9nmndwg87+i57I+Xrobw8RdbBGsgFU8EDz1BehOK4
MhIaZZFVUBrf9UqVTTBe5SEz3WjPyMi+UmT5lufGIg7aTTYlV2bdX+lKe9OM0i5TqrdJGi3bMNPn
VgLSY+oIQeJhxDn1Wo2iOMMYoqpuraus3FdBe4uLs9NKGmyRYoHLuuwK3y1Vc9m1HdD7rr1W5Y5O
cKqWws3U0Iki6ihA9GbCIIJU+Kn3hJQ1wqMa/58crfa4mL7RcXyXxEFo57q5HQd6gktlFv87aMgT
1H76FGveN3jxyUauxGFjZfpeok9nlIHUivq9FOqHJifWZtIRX2XNeqjyfhOr7avXFst+zAO7GvUD
tPqdVUlfgtg7FJJ+LQ4DMNLqpmWnILhyFU/NTiPhp7T5sy5GiFaqCzlTryPd2ESev6Ol+nssq2sz
DpdTlyzgRth1ZTktzZpt8WDNajsRDY557N3S90qBmOGVtkGDjJj0B1Bz6wZidCXIjwgKb5GBt3vl
pRJDZIDiJ2i9Bzxo6CiTdC2o01VgGgP73nodNGmZDerSKukF1SppJcHwjgN/64dQSQxhgQ72tjO1
LRWNzkQzbsygg9q6VcR6XzSqq/mlY0rZl5ZMbdPNmoHRCr7XTQKVbSo80C6UNlfNhi4CN679bWaU
0BiMtYeGgI9OgaKzo0K9usvj5KqXhSc0sVAqMb6gp+gmeuL6ssFayR+rwXtrs2aRprPqYOXQTLIa
FdEdgHyVgb5Fhu1qMEbgBdabFForTqCb3EfTcjQ2SSM55uAhsISSgYb8FIp0ShxvrDr4bnTpUuja
Ze5Vqzzk32np2wH5m6li8IoB6ik7qBbHYkCAQch2nM5bIdV3SEE+JKHq0GW70Go0BBCoXGhqtfDJ
mOh6sc5941ZNu30mpQ9RqziTrF0BSHWRA9uVVbfR0FlUkuw6nKqrCFKyPGvZlt6eWlaKAJt1k1o7
GBT4RvF1QXSjbooKArl1WxTlbSwZi0BOV3mi2bJEo7hYXSFHdN+3lCEn0XhFY8SyHMQrqeoOUxk+
TfX0VRYJyhf1zg+l+6LMVjlR+UIIryVjfM49pjvTF/zt1qvllaEIey/Xn6PG/2n0ynpSxGXa1o5I
BiocoKqGyaJq09VUjMuqnXZJrP7wK28jsIVoczJsLROvwY8tRTNf17qJDMdwnybZa9nrdMRZow1D
yZVAZQga3br6sCgazdbVwG2ScIGW8UIvohuiiUtr8jeGMnEv1AVyUDnkTuA+YNOaXj3Uqb8NI1jt
KqIibbQKaP1N5NyR5eGOBid3yk3H0JslXDEXoO9BEt8ysdi0SFJmlb/zzOox9CFdRMqyFov7wK8X
tZkuamNg1/ZuIMR78uRQiFJ0XjppbSTlc5AxIpJxpd7rZOes+0EsXU/sEdTO232iJI+lFnyTo3LZ
o+Ttjarbtfld1qAZIg57nG231xG20/VlotI4PjaOXwVOnIlLy4cBF5lMbhGg7OeRxWndNBBfhEGh
Sr8YtlSDb7Wy2plS/wXNtoWYR3dBGC0gYTwJkbGeUIitR/N7E9Gxn3Le6cFBwK9DaEY61Eib2ZoX
vEKXq64jGcp4QQd36PENKcnbg59Dw7Tzr7O8R/7DClLHSyZxZ4i5uJBS7wpf9ybrrH41RJBHepEs
Et/JVORNoMfpJtO9RV1JTiga0S4NZWBsWWzrAVfTOD5lSLatEg1cAXCtfO8lrchNJtEN/jQqcnUb
gGP7TwT0X4zZTO//7y3RdvX842de/fjYFD3/3XtTNJxRERFvVMNBu885l3eSh0rJM1oZFloIKG/j
KL9zzCR2Jv8brA4wonPM5K+maOuPWe4C59kC4EOr3z8iE/3p8P/+wBEVFo+hQ8SXFWiTv787/F6q
JE7xaB3H5tdMN8OHDpU86Au+udbxztReN5YtvQheKR0CL4b00JjwrF0/bR/J1tl60XibzFeb5czF
AaxPZQZ9d0lkPAR6Py5TI+fZFEhwZUTxfmr7n+qQXSNM4IoIv5TBXTwrRwl5tyEPhrxmBMZxylFK
PSRQxv3AczLLdKZBfmyM8glezaomV98nRmfH4aq2EtvM8y1FRtyAFfEU1A6HgykiTmTt4qZeVWhv
GleDqC7E6p7ILpunXgSo6ASj4fhjvPJSeL/jt47jtC7uKUfnipVQmxztoqjZ58Fy7H4OXu8intMt
Iq+TwPGoiJ71BMamwhU77SHMCidK7oVmWIBlRlHowOm74M63gVYd8MCcWCMJ70/BIkPaqsHds7Om
5bD/ik6VowrPdR8tkQNdi8KzpQ6HUEbPwXopwRB3ebI0UT+lQd6OkmJZSsW96SW25HvrCj+VNlM7
84St1HwpOOmz8WkwCJp3/bLoykOVXUvmPkAlN6RlQfYVFHOS66b6kvv+yu+XedNuDUueZVGJT4CG
sxH0SyvFtEv9Te2lhZCqK16mrlzB6jBtSLZr3wwcpJPcOg0fG+QS60p2uYRXrW6QbRG31HjyDDHC
h3Hq9vEAz87TF+V86xDNN7zNQFDdQ/hNtspF6ZlriWVi9IM7qvVKEhFYgw2aBsZOKeWtVpg3FGMs
6No/dMUPI8WBTLY59wBnO18ocOqohY2ib1NddSTeTkqhsILSfdVVS0lQkM1ikYbZSzEU4FPU2o54
HjhZLaOhOyXrqoCaOaChJVg/2yH6yuK7qvTQreE7hYJ/3w0G5SI/O+Et1UwUPe4rxBEMq2BDLAtE
eis0vATf0fNNy3tPE24A/juTbmIzXrUmEXHE5+ApFfH3ycSZpNojEgnKNBtTOcBKQLoTQcDyodWu
QN84HbXaWQnIqnFKvDmEsJV2TYk4LUG3pUUzX7A165+hBkcAaVNpm2cPQX3I0r3SaDNYHV/2JrOM
RWRcozrNBF3VvD795DEuX8Qeysx0U6Ff1ZiHFGXqjoKq4oc+/ogJbPfmti1+eDwb5LBcmNI2wM3x
yet13beIxs8oQ4zZutbmVG7i+DqCmtnjoLptsUdWjStdJF792rMVvHqXppZTgo0BCGGLZeVoarJV
+d/6ARXmkJUor8vaVfBLM+gjgp6tOmXblOJCCNHbDQaAQJIbtZ3d6smiS9tNMgg3BXcnBQjRVwls
SdJYLrGMm0BrF50abipBW1ggZ2lIm+k2Y0kOCeBNqOeEOtNrv/jSzK9jKFhGt2hSwy3SrVg/j8FO
Lr1DXW17egjN7GpKC1sxwm3jP+uGttVawPaisQ7UZpfmX0HVrFS1t8tEcjXvNYpfpULZqemLINR4
pxa80+AqaXnuNW7oUSQuSvu+RpTRjG+CZNrDNbcziD0F5B50J8sd2zYTGgev/NGAhhr0yas+Q34Q
bv02mdEtHJhNUDZv08wA6oPe8bIytSkloqTeL10ZUNDY5RCDZPFek4QlsuSwm4EKDe1cYiRSOZb3
ayEfnR78UAGGKFWmFcUtewk9R4A2JKtVni658TRz0boZYNTL0qoscoccn2MEb2PKg14MnA6JVFA0
2bchBf+ofFU5fKeh+FJF6tfGl1Btzr7GUkjPxCtY6kOYqz9koEmW0VBgVcyRFP2W/odlkI67UEWm
d4weEKXfTqNoIwCwofDW1nzjTsmDFVp3i1+3879uypxx/u9uihM8VzRaNG+f+Cn84V9+ivQHKDHo
Acpc8Sj9woq9+ylABQhO4q2ov3Dqf/spsvEHwDNZg5aAUoSOj/Pup+h/QKFmg6FchUqXoZn/BN7y
i5hy5KZoM7gM4hmhS00ibniaFQtb0UQ5IpNXKJw02mMeWOFL4COv+LUS6/GLbvoUF3u1UKdOW4qU
QeRd6y2QwUsbJ/+FXe/0MocAHICa8thfGWFyEvq2iBDV3pi0lRXn00Lw0mkRmmjlrZMYppAp3whB
gXi16imrMs1fMr8CkKG3VBTLBNa4nguEduQ/yx3+Xapz3ciZpZp8xvmc/+ZolZrciajrzPVE1Ise
e9NkPmCkq/xDuDt/r9Ff5F8FkIgG/QdRgPlvfveliYP/B6Wn/ZM1+qvV4n2NmnNYHU8dGB5rdP4Z
J9mgJjJDtZQhDLEMDUQa0ftL/XrYiENw6+cx/NlJcvyp0Z/NJBZ2ctv0m9Y3PEfNvc7xA/Nb31n3
nSika01X+4VeVqNt1XWL06VPvi1aQbLUSvVn3xTNBtcwhcnYhnmj2FOXGYQoLOVF9Qf9sUqTdtkN
IhRIfQi+wGQChTHAO7gpCr9fFzhps4y44RCfSQ9WX47X6WDKO12rhmUkh8VjFcjFvd4i8kFsuXLg
uQm73FCXlP+8SbNbrxdsNQWJBSqy+2hyLWJzqhtMFAPYQ2Sk5bLM6WBd9KlZ9st0fh+gFthD+xSo
r3DDnhh9I6E/YKBA9YDMp/lnIv/fPTTXPp3ZQ3mShG/Vx8N+/rO/tpH4hwk70qTcmi10zOmS/uCI
t0hA8cT8Ha0t639oksEnMoHZovo8Xzp/bSPtD444ZB95jfJq5ab4J9vInPM/79sIuS6Z32VRKwir
ixepyFY+TipS3TvGteQPKyJeSfRI8VFYrb3IzOufU1YOX8eWt+RezsJoQ0jze+6jCwp5v1AfEq8Q
NdrTrdg3kJ3EVU5jBYB9WuRNtCkToXlgi1T7QcUjXfamFEf3RaqEN3msyAERV98O2mpIF6YwmSuo
+JqPjjSvPV/e5G2pfCnLVOh4eFGOtijMWa4e6IW5UMRQu+6NKgU3mQtp7+ieNL5qY5EfApCFDlS0
vnD9ZFKbtUK0ZivFYrVBh9C7Ldt4XNQlvmpZiMaqUMX+qptiaVmKSrFWswGVSRGONmHw7GESqVT3
4mk3daaygGLf7SpP6jO3GaNH3Re/WEZ91xTmnRbktJ2I8RJD9cYK9MEWejWBINt6jhElpTsqyooA
rbLpg+QqaKIHr0uetcCzR7N9qdWQ13mpvVXAcJdx57uiJ+4TwFXEwutrsFRh869z9h+sHsv77G5t
05fw+ZPtyt/9tV3lP9gJGsodM6T6z8vt3TeDkA8en0zqf5B77yGkGUw/y8KhijHfTe/71foDZ42Y
FCJINM4ZdLL+A64ert7vG5akAj9BUkxx1lc0EAf8fcOWQFkH3Y/TNVA2AJVyN/A4hHQ1NM1P4pIv
9YyzRDR638G3ZKeuI1V+HuFeljMAUylUNNq7AZRsSS9aUX/NO/O+mbGZIfzMZAZpthA1Wygd/GMe
N/Cjdmip1StTj26FjkD0qEo3mR7dNQrpqMLXbJ8koeoVyQJY+J3QVAiXqwYqxqnsmOoowMHM4UK3
4yybqCFZkeUO56Tte77gtLUGAL905k1p9kqySqzwrjWRWFTjZtug62MbYXs1Kin/Rdl3Vjzx3o9c
0yqbBSoe10MeyhQNEnFOQ9XOIlK5goGCcRf9EEr/4OUiSY5BWSWNR6YkMurHwotRWoaVb2uJIRGg
r6tbH+k11+sCfoSqhyvBiGun0Chw6CvZp5ijkHJGr42IBHTimxomTXWVKX52gziXRdiFlEALCodm
aEl5DnXvdgLLuGiM8CAPNWGuroTb21RuKatuAbmjz3j3QkIn9SqViFZP63YkBDhVtJDwVMvbcaX5
1j1JTdXxc31Z1vB+qMmtbTXInwcx+pGUZUxkjcKXNNYdqTTrlR9OsQ3H5bs6VC9kOFaK1V414laq
/KXRwV4LgjlMKD/4ofwma/Ja0FQ6uMWEPIk53U0JwQA11e97oVqpVhmtvCh5CHONynU5eSYC9toQ
AcC/X5RyeFdHke5WVbwr8NdtLU9XIqrb6HhN21EW9kZAaE4YzV0rsb08GreRoLNJVB7aJHz2Yl7D
cU3MZAoEf0F6n65dofuC3jFRkD5XXc8fvtZ4XolSZ+gvldqyVoZ7fySW2MtxvRwbWXVUqVibqRcv
aq151Pt2kYLzXfZhNjiWr6TUhjdOoOtPQ4RXBF55zkbtTDV4LccoIQQxQoMtCNm34ibp04Nc5IWN
pMJK9a110pdivjLFvvuhC2LRrUg1VHbdTPaQq+V1IYiAzsYhNL9UYgFHVayVxThm2iPqsN0qqYKn
CUbxovaq72i3bNByZIGp9JnGN7nHVoyTbFlMqmz3tXFbhI1uozZ6Qznia2zob4Jab8G33qOM8qWo
1UOTxrHdDdDfM4nih6QcD1LZ33ZT/aIhMdrUQrccxMa1yvzN1GeUDrTZxTDqteMDdrDR+lnGQULC
Bgczt9JZ0ipfTG0RrVshyPcmpNtfZ+u/LuEMTf3vl8zi7T5v8k+uGP7qryvm1/Mf2jgNjzoYlt+e
VZoB7QBZYwu5KQm37y/cOFJqKs2RvKgQaeEuIX/xl0c4xwXwFlFboRBthtj8kxtmtvG7R0joAdmW
Wc5NRjTSmivfjsrMIikwkskiDp1HuFwECXnfl38+9ks0qOxg6rwn0+uoMSnFW13Lw2I9qtQK7QKk
IlCiNeVpU7LydDiQGQ4PMlB5vhs7I531Q0xvcnUdcJb6K1zw75qjDB8VMdyAM2suHMK3T5Ycf/TX
kpP/QEWWgjfJ5Mnw+zNEgVaP6g9JM5j1+i/xn78W3ey70GNhgVrA4TB+z4zxvDcUUTTQ3ZuTZ/9o
0X1ofMYvmtU6dAkNNhhMJ6/5rNBKdCQG9CaM+rZt20ONKNfQkHuSh8FV5fLKNFJckHFbiurmaK5u
/nzsHIt3sN+OF/xsEHge+UJ2jqay8H9f8FKQSOQ/6hysJHkOBeTOlW8u/x82eO2RkMdT5T+/2wiR
XZXFrM/X+G7cptaqk1IH9e0/Hfv/ygL+dChHZk7yi8BmgzytMaNO3l0e1o+xCn01ii+MhnX0ccaO
zJz4oHQ4oDdadvm6kQQQ4aITCgMdbZYTRYFzfuI+1I3PH+fIFI718WmkeAXGZlOjqjmiX9sJFR5j
f1OWDx31POeNcYaeHdf8z4+OvjKWhWmgnImy/Oa7WtPrnfqZe97Gpbk7WW2G2qA5lzAglfq/vPKc
InU95VGSv56386FA+WTiTirAk7rvBUvBTi4Z12EcPKph7qoSCd3MWutNj5zl6F8oN5U/HRyhwjlo
geznacFr7ZeBBFU+nwtefzbL2jVX0lJ1tDWL3g6vLEdf+PZL4LwNTnKdPJNW2xa34+7Sz/h4mvDU
Qg1cVglcmuhO//4d2xDpdJnM+rrfeivZ7V78R/lmuMstu36qXNJS9k9rPRQ2DMJrsnT97fmpP7lB
OVAwrxuEVlDwFrnkfzePInzLNszztWXZSuqobraj0mrcF9+zx/OWPlYY/27qFD8+VkatNBWmVCQB
bXFrXsm3tWvYqCa65Sp1/Ktspxd250R3wir/1t2iSHRh03zcob+NVjmZbBMVsU5u+Alj+rNuW0Rt
yIjV3+XguSwudCd9XF6/mzo5d3S1yuVqNiX1VBVQmlc3utOQIoi9C8fOx5Pgd0snx06nKX5QFPMn
HPGd26fWeDj/5T52M8xfzkBbj4cWErmnDSqKnBh+X6fsT7d1ohsBhY9r5SulxcNd+DBcN4/mXbUM
NtZBdy+2GH48G363Pc/z0TmHRl2sJB62K3/R6oMjC+hjUDLilbdtaC3Jtl5YI/Kn8wlnXaT4RSal
cDKfwC3SvBnDfL2r9pNsK7Id1rbsSvZgv+VP7bJxzdd2X9nh62h7jun+pLbNubB6Pl6OjProN5yc
7pE8lVI9JPk6oyxB7zSnCB+EqV+c/7DyPJSjiOqfu//IzMkBPzaDWBlJxH64LRnMqr3uXUKP9sH2
9/CP22W9kLb9QnJlex0vs1Wy0i78hM8GSlpxjhHJxBx+dXgcfV7VrMpcH4VsbY6la1TTHQWkmyhM
L8znZ7vx2MzJxs9zVfPNwmcVBcGuySu3St/KUnDlS823l8Zzsu1rTaibWA5w0Gax5MAW6ydRv8AY
+ijgxn48Hs3J6hDAdvRjyqQ9HaIFB6dbO9byalik9oyEeU1Xq3H5PH0vKPv452cN2r6m9X/snUeT
4zi2hX8RJ0jQb+kkymZKaWvDSFMFWoDe/fp3WNOvS8nUiNGznln1dHQVBMJdXJz7nenhVkYgOvuO
fTFWkdSmbE1kptjAi8GORsvlhSX47SMaIl4TJi0biqf/fQG4XPM8kQTUU+psregHUD3spC68Uvun
XZk1MttYIhQ68Lgz2VrWj1q971qy0AtpqRuzsKZrG2QlVbRQjgx0iMLtsfcH4ksyDusS7kNt+Ux6
ycmHAFZzrwpEzMnwGdPRG1NjYZlNM+LLQp91dnZRzrNKgU0TfgqrXyTs0QB9LfT2amenGwPuYMgg
z8lIXKkzKWIYs7Q/4xYDWzmI05uFMft2fk/dgLXqdOtXdIgJvx4GspBkyDRrbD1A9a01HkteCH8t
UwH68KVz4Epx2dQYLo7IXAMmPA+NyiAORr0gbF1kP2OUvFbDIwTShzrpDxF0vjmkW306+MP4cXtX
vv4l/253Hie1uBa3cYh2h6K2zNjr1M6GGPl2I1e4CV96920ljwZlRi8zuKPKLtLcTiORQ1cTlE7o
GxWVzXgEcorykEu9XUKuyDWy0SLEoRCmdbQ9EQU6qYr+W9/wHy+FV+cp4gxklZA7+haUd5kYtb2G
vssJtzQBjtAI/m/3/HfPvq0Fk2CuEhnOn/NnxMYw+pYWA1sj53qIwOo5g5LWWj8efg6ypR50O1jD
oNHWjrH1iYc/wMy8z0fisMoyPp4P527h95BrkxqSXRk6cEgD4Cj3dVLnA/RYSteAj1haw+aFbHqH
uOo22aTHZB88FC/qqnPgnGWhVsxCJYVlrvINqjY8cqgWjskrnx9gVkwMQ8ObDab9158SyEPKkYdm
6wa0GRp9ZPrp9se/Nu0uW1BmyQUTmFRTL9ECvI9szY4dyGyd3jIjL3DuOiewUG3NffgAL8z3bwEA
uKSQhiCcMwFoVec4QAqJhCgHEdpFzxgJrHCy6kMIW9IlJMqV8fzSFPn6EdVOb1DTFDJwZ6P7hCqO
CR5mWOJ5qvRG0Fpvf9GljslfW8tzFRqlMGFrQXQ6ltoaXpkrHrp4NF5oiXy7qs6+4TR7LmI1AcYx
g9zEOER2mZue0wfNjqgNeo7gVh7kt8Qy/WLL7HQd/ij39cc/t0HCGJqoglUNHbHiJP+5bF9KVbGL
UrSvyzGsBUNb7RfSa98DYnQRYQdKIKDYQRZxNj1z0tM+LvoMfgzQZNtAx0NuY6yYEziBl+xcPOgB
gdtYkY9qy1XwAWSydR/YS+fcPLE9vZx++R2zURWzvkjaZsigtHfhlpn7lXVM7mvBhsZ6pViN07tx
BUm8FTzHVvv4j8O8WfOzkU6lAkpUBZ8hTXZlgEWC7MDtabvYw1lwlILVT/UaPazceofyH9tH8Yvh
Kc7uLXQDt1qb/rDmnuAvfdvfW8xs///ybWebHC4iRicYaDnCY4FbbaTYMmxE657a2LUP8/Ttu/kx
thZ0/bgKUcvXnNrt3XANzTG9wyyHqtgOc1daMWvw6tQSvdJCNtYy3KVA+AqaAfMAmWYCI2oDbvdT
rHCx5CDnautw7DAQZPeDb6bUlKite7t3mQvXZUdzbw/Ltb3rsr1ZUBxCRafp4KmsUauG13K8Uitg
AuL6+89ps187NhsEvS47DD8aUvDWWJrwQi2PXISvfPd0u0fTX/RttC++4Ox0DaFACPqqztZD6qMo
ytIkqLrvWbvRzA3M4hem9cL3m19nh1Fp5WZoszUv0kOXo5y6KnZRX27GqYa9+ksc8x/DpYXO/eYm
XUyPImAC3mnRXB9oHhuYo5sMSqNtB9YYB4I1yZZuTUsdnE1IebozRXKTrYO8glnnoK9FnmxZmRxw
KzyH6dKOfC0iwU0Q6jEJ9ApkKL8ugCDOoVAsq2wtobAh0Q9S3C3cKa6E23jZ/LuFb0MmhCaHn0wG
7rH2rArsQyS9y5FOuz0Pr4CyMeMhrdH06VVLnTsjd6XGCU3ybP3En0aHeaFTup0D4YUdWv9FsAPw
N8TXCCcnnMPXj8bg3YvCGjQVo5QHNYQ/u5buO4bSLOWf2y2KePP409RsfAahD0OZlhCmducYlbaR
D72cmMI1eGFlXRumi4bmV78M5rEpQP6YePyn3KEcoP6QlQUSz7XJdtnG7NTNa8TFrCvQmeA9Tvby
Imfxanxx2cLsYC16g1FQALJ1ZzeuiaxicY/Km9qqHlFLYusragMi4Uj2c+Pk1mPMbRQFGf/FHn/5
G2ZLuFDBuigqfEm18GN+P6J6zKjWQnSX0R+35/y12PSypdlpMtIxY4nMsrWehV6QZG7cy049yHuu
6guR29V44rKtWTwxUAFkgAi9EtZhY49ehSnyDP5Dv1VXsHXZcF/z4A28Uj4GB4ZAC1TY7yk5REyX
zc+WXMPoyKQcA1t66rHRneppcLVNsNG3sRft2TraQfHMrfjU+ardHsqNsLDml+bubCGKUcFoJaH/
sNeYtEbwIecLTVy7OV92cp4Zl7QqT4UObWzTh+wwwNQQ1d6OaZnW8Cs6aPfBij8qbrUKj9on6CXu
vXqnbYfdcFa8CPwSv/0FJON/cWW9+PC/oTIXR2DdaCVve/wmTnKrUu5itVro9tLYTiKYyyCsFcUg
BFM9W5M9xXAqPjvGxx5CfuAK/Pj+ft86ygq5XkKt8a7ZhpvIu72Ofr9FzoMYiDJlKB5Q20B+v2Ve
dJJnsaTWChbScB/vug0qUaWPzhXdH6PF7VVtPSNRZIdIBZ9+7g54qbR2EDFa+RbIFEvzopdwYQu5
ehW8/EGz1RYldBC0lCMu3UkoWIXfw16GGI7a9Ge5ZWsXTAXbOA3PiQeVWv/YQ4m59HA6bca3vsls
xbUGyihRcoZtzOJvULuRTe3IDy8A94zvuboSO/sjtQ7JK7HqPW6j3IYHIgz/VreHZhr7G79inqxL
hQlymGJuJPlnzF7gMtoZC7vo95fq33vL36M/T9XRGmW7CO6ydeMmW+GYbXqfnsKPyDq5NLD0X41H
V9JK29HNya0CC3q5ffLcylb6cruv8vX9/M8PIV8XgkYh5syFLFvXzt7rt+Yh2oTHco1T6mn02Tp/
Rr33eXhMVq/MypzmrnyLEltZdzt1H3iapzEHSkrgYH6OsfVkLizT6xvgnx83O7yDCKIdXcdX0uhD
VG10aBBvd/8/HN5/Wph+wcUqVMQolMXf44DDu3WC1Q/iohTy1f9oHHTxbYNKWUu0Wje2qu3Sqb04
C2ZLLsY+V9Me/Ws9VAOnqCa25C3dVHg9p1bp1u5j9xzvY7fwFO+grxq8Be9e3xrr6fZXuJrBu1j6
8xxhRItGKCl+B38jqRUf6X1k95veFdelo79C5r0Kn1M3sfTd7YavTz7k71BpAuHT/IHBkEFERIEr
Dnise6upCqfPFK8ZWWnBwXgJ9L3U2mys9WKArHFEL4GW2gtS6QwCXTdAi2bqwgF2fQf506/Z6UKj
rEspTadgXfRSldhanrva0uq4gtCdApQ/zUwdvpi8WtIQsyFopvTM6SAL7a2+7gHudRQngLL8Y3xS
F5L5V3sGZQsSKpqEwp3ZjO3TigW1GSMkkR5kegc5pW1GC21MYc23/feijdkpMIjlkIC/inEyYZGZ
E/m+blXgXOCgUFTE7w3FDuF0H1fywsY//fhbDc/irXJQNFgb4HvWZunirgWn5YNRr7koOXEuLcyR
q3vbn17O05Imyk6jLMCX1CX2DFPXwiJd+nh7fUlXp/xFI7P0Kq05iBMteqSNALIZsoKnISW18i5e
R+AbpR3zhRjYMAOo3VzoT5WhH7u8h+lk8BIVkY+599SDwXv7Zy39qtmZI0WSEDdT16NU407Pxq1q
Tni5TnTTkL3ebuxqvs28+AazQ6TLQ3GU+XTCeY3bFRbfY2fJ30E3cqHlY3aVu7J/u83vYwuJJbQe
qA+V8fLye1guFmY20EztDXQwVITcSsd826nCgmLg+0f82sZsJWrVIPAQsLx1wn4qKK3skMUEyIum
S6/AS52ZLcc4htOZQaJsjUJCm7avuWksnMLf193XrszWXYrSapOH+FxlNdhMGfyWCNsow+UOPLlC
XbjXLfTndxx8MThUEniQNKhgqhj4J0G5C4fm4fb4T5/k60bypUO/bx8XTZhNUms5wBQTsmWfEvOg
FJ2bJKguYgFK0TkgUsFCr642iZJnZXpHQTpq/g0lvTN5gunQBpteh+KRqivdjIHWedSrzKJLjoXf
BWQApYp/GpzvX4Ugq2Wgo0HaPXapVfqpY3RW8IrqIV9Zp6fgQ/TEXdFa/abxw4Xeonb12ie+aH62
s6lhyE2Q9TD9qWK4OkHxWAHIn6RFxarV5B8gE6kHLTMj0CaL2JKNkqNwGoxJpsZuG/HCGpkRr1JB
pStzgDEbj+RDiv9ZzAz2I02PZdQCFMPTtc7xAdWu2bcFgKW1yBERYuEfc1q9l7qOB9yBH9M+Hi2J
61sWVw880L0ImBO8tyqrJCkFOJT1AHpnodOCNL6K5PRlgFWGH5QoMTXoWFm8Th+axtCtskx/dmZ4
UkXcr1MSMCuXUNGWJM0WWgkfr1xg5qh5YZWRfAxMOXLgXnUwO/amtaHicByPngi+gg2n9IeM5SUy
ugbf1UGsWiatVkok+6jxezA6dE8jya5FnQXK1WEz3On6cywBSq0UnFkCRXFXHmYeqiVcUaIRHDWA
Zh0qSdr0TaGh3qd4VfVwpyVD5HUpXtEGGfTRQtOtoimobUoQTJXgQFuZ1mX2aCjIYMBWua3hREok
HgCEyUKrApfSAkfnM6RR4aLSBCy09IOS4EmNQrfFyJ3jAHvOxEyUOvGlSnofgBnRQbkZIJtdVrk8
MSFxi0lrVcl7pu2yEbROHtpE67dgxk4meyC94REQRa6k+IhR/JYLKHBtAz3FfpmDlNu6gZGFWCjk
XEuRbItm5Yu5VroQbvxEwVexhq74taQh/ORVckdK9C2X04eaxRJwP9K9kRDuGIX2DsAJezFCvEkH
NQhLfa6+R3XDnKqFg3RdNdN028KG7x6EnjVXxMlsba+ARolqf7tXmxIVh4qtR6WbpBhv1pwUMd9J
3egJ6ugbQeANivGUqpIrj5mbN92mHXRXitsNTp17Ja1dPTKtfohxylHc45rkwAHk03n+SHjmJFzd
wfPsoeWxw6vEluO+tXNTtUZlrC1eGk4JKBIr8tdc1w5lwx1xTHaCgKpokp9UwXSCKrbrevC6IF8n
AFZqnK4S0KxUtfEHTQL1Etz4opQcBcwDsdFe2jr3mlL3y6relIlx1rrYlRHsxEZz7rvG6uLoXoob
L++TXZLXniQLttADk5O1J2aKVpBGZ8YbVO5poBCAJY59bazSQwSTK1SGeLRmXiZD86tDiCxuU0Vb
MzVxIw78tlytGjo4uc6ORaE/N7r8qCvDgyFWP3oT6vfCWMVxdOAFYJp55+um6Yl1uxvhDVx2MbP0
tvUS4Gh7IH1QnO0mKoCUqTai4hRVbnIHNhVpijs8BPhhJdidEJ9ynr3DSe+UwwUwNPUHNea7VgvX
eiUcwSI5d6z0mwroRcxKEHzaj6FRXxhARpZQx1uJm+dOEiZiq88IAU9SC980gNJY1ABTlCMZD6JC
W+xRTg+WGAdVNthJYrtuWxScj9UJT+BYQbqlA7wT6uE+Z/FjWXXvDYUAJppgrwFAWJ25KjWYW8ny
nhlAXVVYiZCAncScbFOxYXYOnaxQiZNX62cft6suSLaJkO56jrt4r/lGHm97SUGIE750Y/ZTCpM7
IFIc/BlbSY01SXMQqVLk0eT8JAAt2ihFYTEhB2k4XQct3r2F8mcpdX5NYYEZ05dCkDamiaoEpj7X
sKYPMuRXqwYV/Zh/8DKTKtnXc0CkukB7DXXZ0SAgTHNttJNW2DTGz8Ls/c4cvTKO3qhBVmWNihoA
8fAvxJ1pJsRCvSRgb6DEKHiZxp4ki2STmvlRTCBPMRpPosopjMuD2uPBjQ4nQW/sRnuEYdyjqRO7
GIojgzdBzKMV4Ivnjoh2EQnumPio5M1z2wzNFd7AbRrTQ0/wcEIfg8gaRCcvR1RDq8RK6sAG+XOb
E6QWZU1bF7x8Ja0YWn2Rm1Zbx+BZNrkFh7WNFg6eYO7DoLBF7JFmn9lJ9ppBq6AO2AVK5VXHgs5b
stWj+K0iOmwqal8w9U2fFTaZwJZ99VTw8EXixjtMhLY1GLIqAQrYDB0R0DuewkC2wf/HU2YLpYkk
9LgqNA6LRzuuREtCuTM1qK2UsdvANFuQpa3cYffE0cBU7JIB1CkUKxVkMLzKWiRoD6qggHovHuuh
/Kknxqoe6KEBATRIUF1cYVeKsTXkmfHRRsOric+jBKMIahpKu/sRhXqkfe0TY6/WsvQQSDCaTGHq
/hLXveJUkmF1A6A+XMA/gRK/4yPSJUPo8CzweQK+GiTHGSAJWMMA0KVn3mNQchkqfZhZKqXflcKT
GgRPAYNKjid+hgt6a1T3JUnBbKmluzaPACcbZZD22KaUsWQ041Po4DpWMNNSlOgp1eVPXYJ7eIHT
GpMb1c9YUY6shGDGRrZQAxxuCkCXxuUGZkmOmCdbiQ5eL8TOmPX3rWzugHBxzUyGkye7B23ooEWm
XY61M2ohHFrNo4hCGb3XDl0iPI9B4TRV+Z6NyQYW0VYDTByO0J2Yie9hBm8tRpo9o/05RyNFXa9Q
7n0UhQTuTTiDM2nbgH8qM9HWSbpqOdu2MnOJOp5DARneyNjxMo5Bdsy3XGHbnuuHgSi7Woh2RGCA
/hZ+Uio/SUPXKljNSaiBepj4HSltQF/uCYDnINOCjoiDyMgER4+7J97GGxEccZCedxkjXp/UD5lE
PDHpX5miAtktPdQlDrikWNWBDj5c4VdGfQf2qt1DRWKNZWoLGRywYQSXtbCGi1JPM4WDkFaeKHti
2Dpigor3JF9F4Jh1mc4Q+QAlnIyfIUsexJBvFAhdzIAf2rj0AWeEsGnUt7xVEVKYWE+BZebvRJJ9
0gOCV+GoovgPR1NYSzXKhDBfcpIfxthwcxhucWQEqoFgI8VBbtSOqdQHGGT6gK3aYg3MuJ6vGzKA
YKv80gmKepieYWTC2mpk3csDeqYhu++H5DSa0TrAocUYfTbG8BM129uGhhs69r2HdbKHSHpHzeLB
GIyX39eS/5VEK7hR3ihPbdq39Ep5Kv7Q/5enSv9CtQJUkroJeJSOcuYvNdHTkzskRNCooRQQF5EL
6oahoVRaBglHAR7s75LoCUMF0qqJQhOI2qYS63/A3JBmrClURxgKDm2k+nRJJSKCc9yFLq6TwMzE
RdkMQDHWAjaIpClBKye4T2quUoXdipBMwP4tpOloEYMBYlxoWgUkc9OuZWOEn5CJMMIg5TnrwOum
GQ7iCiZf8AAQE+BMo5+1UB9xmAdugADQrhmiOfAsQlsAkBwUthxxbNDzygtMIJzLfAxXQT3C1wWc
cr9oohGISQUHYJnIPrDNlYsCkCfcswnu1zoWRS49kkjS7SZUuUXlgCGZpyubXks6XyPNWSjbfscb
/SOl9U7tZXiLV5XsjVHxYSTwfgM6SnVCFWerEXRgoyYMVxkjtOD01wLrkQ9DBmZo8JQOYoIFJz03
Kt5LtMrDfzoBRx/CsJJxaNUHrjEbsbbbmsRp5OA+1cr7YUxd7PQ/WJvdGZnyQqXuroa6IsrEp1rD
Jt3E+0bpaxBTg1+ZEm10Kj4oPQGhsRJ9tZNeUngdjqaJCBK+IbUaWdRgv6I89qosWI16fNAaAGHz
wIicWk63BXRLPEuPKkvvIBJ2wq55TnLJp6P6JIX9ahiDO2j7T2UbOb2qvYSydpL1Fi9DyWfLzS3D
lQjA/ru8ZWuzwO0a4Q1eq7dNn7sgOVBQs3UDcUsIkK+RtzaqZEDcDAX1LBgKzsUSUPg8iMkHC0TQ
awNVL9XMQuFVHqSfZa/HJULyieolJToIX7lRIMqPjSHBo3sXQFA94cD6TgYYDIQwJdQ8hGwCokGt
tKMir1YsyPNzNKHFxFypThFv24861fo9EcMBDF14IExmoxvsugi/UvyF4Jn0UWu6hlZL/9v1kHlB
Ub6OlOB/3vUOb1X11nzf9qY/9WfbQyLAAJEKMEhomAwklf6whrAfYgsjAEVORUHY3P5sexP+C+VK
kiqDTTfxKP5CQWDfQ+IDGnPc0idpIygR/2DjAz1inuTRIQ0GAsL8jSBAj79ufLg+m4ySFteFRmgw
RUc+xOSYxiP5ULOEvuIcxctcUWpnsWRsZU6TvZ6mPeJv067NFtskAsIWa0NSpV2AtVJrKBjD2tFp
c26wlkC5/tRV2MpoxqnDWmvL2FGx9oaR3otYi6i3e0qxNk29e26xVtOM3QHwcsyxhvuCbfm0qLWu
x10wjA5gHK1irPtOKn7RaSOownTFQgFWJKYLwPJLix1DGVQw3LGHpNhLkjyEI/S0u/QkhN0CcYaO
PIVKsKOkudOxHWXYlhgffqAQ3c2wXbXYthpsX4rGXYbtzAyaQwqNotXL4kOADa8Sag/Qiz0BqTWZ
dsSuos+1KGdOiQoMUdsY095pTLsonNB6h2JjzXE5cfRprx2w6QKVLHvKtA/npNnBIONjFJR+h5vD
WRqMFsV82L0F5KaQZDK4FeiqDrsb6ZFOu7047fs5DgAykMqVCG5tSIZLVjmdEyENmG9OZ0cxnSLm
dJ6Y08ki/fuQmc4bPVMbpE2Uk9znMDrWxuFBRyLvGfEYXgsIAkkXV0nxJKvDhsJ7xu36Clc7rgV+
peKhDSbydJs2Q/5IOau8ootPYCQONuH0k3P1VIGnYw+teMxqCBw0vfjsYsXJeHcegmYtGnVvFVVZ
rQhjsR3BiSOA8Y0VsfZAcumZEfPTkPu3IGCbBCRyG9JJuH9l+cZIQFhWKm1XxcITWAiQo2ICDllz
iDQE0LrqZBVQxvBqAc3cDJ4UJXkglBLkwox3ygVuVeBj4/RxCFxfLCGqfpWtCTsHU9sFsbzJcFll
EnweQlN4VRX6nJToWQzOMTxaQWsWqzOey/28iQ6hESFBmEBmLuUAQeWKDCSeah5R6IWdPDB+sqEp
AUClGdw44LCQU8UWMbApLjcW1aqzWHMgnyuofggvMRjkzEVmbtWMv6ZCs4VJl7RqYoTgfR58wrMG
x67ZUzdpsx81jLPxd8jUhlkY/Gnp+KbUPfxXRPjPwdYp1kaYLiT3sLXFmEgN0K6Fn5t0JSQU1eq0
Ow61sZfaEsYzE4AOPLE26l0qdq8Ub6muBh2z1khwYKp6mKuMuPxGqzKTzoUmebIWn6UgAL18DG1c
ACdMlvSEtAlwl+lTkEJsoQdI4ZXdkyrhLzIA3rKQ4B1A+abUqvpscMJUkRwGj54RqUa7kPFGFhaH
gUKqAfJXrXVWyLR9IlIn0eX7sBs25dicirr6abLUdGoYBzUp4LVF5JWVDKE1F9yel35LR4Cb7402
tgXdRpjHkFDQT7Cp37VZaZEKHkMykiMWyUdYVSHCcJSqdYcwA/e9TNZEST/MMS7sTAt3rTD6QaNi
qihwHUeeoIAqp+zA5EelnZXCdg7sQS+SlT1yHW6mx/Ywqs+SirIvFAE8KnoOJuFoWEOdlk6N6qyS
kqcW5FBoAeweCxeT972IA9z1p38hABXWNcgGZG03EeMnDv8D0rpnmDw5KcjvWSntYSqNEiPoUyMO
QxZm+shlOwauoraQBuAckHpwO/BT4M0Xgt9gmWL/mmvES0gPdml87DTUnXD5neq6IypIyjWdIwrj
BoJoWGeZsjWw0c8Q9JR19yOME7+HcD7oqFMDhU+EwBmwudW0OtC6XVGSgxLc6J07mB2+TH4njvj5
svogj2SXxvF5MPlWz4XE0SI47YTJo4EMRVXq71WKHFIePtRRirS1Nu5yeBAHwOMnSv6aFHXjqigS
bBk/YD0oNrJe+MijJ9P8NIbyaFXgf0V8/IWsyUFpm5UCSwAeljkeCgwv6YGhGPmxjIePpBefInDw
MxzlOULppAELP+9XaqmtecdszWCbFN+QhtFTkUmfEk01X4/7OzMfnrNYuAs67iKSXCVZVsBcKLVT
SV4lMB6JzGZTUA5eSQLuzb/fb/93j5xezf5zRLX72Q7f46npz/x/PAV2I2rsJkUfnn0hZ7mIp+R/
SRreZsDUU7S/wMR/KEewnkKpPO54uCUh5Pk7niLGv1B1C4W8IUOm/DtA+wfx1Ldo6q8XO+BgTSKD
ufQ1miqzmPVw3oF2IxgcbAC2FB30qkX6vHrr2nLhURdR4Pc3UMnUgToBwQk34a+taUYYSIEgpOtc
Uw9yW28y2ECZdDxfDMHdvx9Vb9KTfnfqTzPTO+HF3dgwGxWejWhGq9N7VqpIsBpHjeGp6XY71z6e
pInAnkoavt9cqy6RnOp9icx5DlC/p5t2+5RVWyTBbjdz7atdNoOw+7I7mTTRIWFLvJZ6pOCTB6oC
min4txu59nZ62chsaKQxHbNaMFDTF+rvXCpw7hXJwrhcfR+eqiJ00NwBDJ2XWldQWyGnoafrFy+0
EecaLqLeZN94hEM9Krw2dvBDO1WTwvPzdveuf8O/W57rN0E3pA0qnjElhA783h03wOBeUF9cb0NX
RSDNlMnd8us4FbxuAcfEOLWKYsdlbEnFG4sXahcmvtm3NYTp9lcr+jzxA+9KI+cDWnmKmeetqI8g
8INDC7qkNL8mJgGWAU6yU6GwOKfB1NmglhhMvHXLpyJDj8aTpEyIvffbQ3NFbwnIxUVD0w+5WK5Z
pAddnKEhVApvILI2VuCzev0D3vE30vMqdO5giWjHmtU8lBvtvdyjLPT2T7g6che/YLYLRnjvRB4F
v2AEgZlzBy5hFgK+hVauD91FM7MJkmWSEmYpmqFPzUFaJ6tyrbsoBXHErbCgl7u6nC+awoF0+U3V
AJrGsUJT8Iz0Jn+zql0yP74+PxQcUEB3aMpvMfvFsA1q2MVGPjWR/WxH5BpzlPWh3FJtF7am6bfO
lTOAIYBiDBoK8OKzvpglQ7IJvpcopuGb8ije8ZfBF5/bpe386jf7085cvdJJfZslg5SCuv1LDH71
5dvtWXYFFIKJftHAXJ/C88ispomu7IfQFpF/XXcenKGg6WYdik9xRUJ20mqXpve1jsHcGoEEctLg
vk/T/2KkkkiKelkbcE4l1XFQ1L1ehw+3+3ZtMgDlQGCGjSgHJ+LXJkqlNY0+a9K1YZyJ0ttVh4cv
vJTDY+l2Q1cErhJSU39amnVGVZOYlG2XAlIlnLVV7wxu7MA3dS1+mCsAlOzAvd3iFUX21xZn+1OX
jUoC78p0LR9Lvzyqz8U9t3U3WdHdHRhqTuxqz5mDfIlV28x+2iPqtwRP/y9W9GW/Z6sg7nRAlxP0
e0ieVdzJCFsQn/4+fefr7KKFKYd3OU0Es5JGYxrD1ivemjdjsKQPxq10BzMjK3YMR7GkDXDSxFJe
1E3jwXjNBzQEcklmcw8Pv9slNfPCrPoNHr+YuIpY1yjg7tO1qQP9Ar1vo6+iCPvZwqT6zqxDxHjZ
9dkBUMog6zMdHxdevTZzRl/b0IN0FCG5V11jJ68CyxU23U62gSB3hvXtGXZFkvu1+dnBAOGDCTtN
fHnICewMe1zstNZKh96+tFD/bYApUVhLxf//YSUBoYrkLMFr1mw7ajjNezmocRzlo932gtUxPIib
uj0E+UbrkXwJm0M9IrWhwjJEJJA8aEeJQt1i8Hohxr0+0jriJqSPYZQ4m92UFy2KzkqcwMIRGwm8
9KD9V/fgnN/+1AvtfNvjuyExQ+jq1kbEPLHUVqHE7zk8w8Tx/XZLCrlybBFc0P7qEiD7X5bTKMUm
rSN0abC1VezHtkOdX4Pd+j+49WK4pSN7fFOsjNyiP+pta72G29h6XOs+2SbOGSZw1odgQ9+Af0DC
xe6samHaLXwLc/aEKEtQcUBSgkx6HPgNqXzaqF5cJy7AswvaTGW6PnzfW/7+GOZsrrW5HiZ5he8O
zeuPBJ7vlogyQlO3kp3iDF71Gh8iG4Zz8B9/79eJne2LvfpubmvwGVYnS8WDo6UXVgKFxzNEUcVa
XA2nai2fUXro0iPUJuLCnvC7IPzWT57G92LzaQm0jNBapUDYlMdkhedO6wCkvwfLy9szZWkcZlev
vgvUXp/WYd68tAVW2kkHQT1dOD+uVM5Om8yfIZgd0SmpK7Gbpv4W2p5XeWdskkPtQK14hxyu27rh
NrmDeyCx4LCQ39/u4mQpc3P8Z2cLspNZXCVonOx7T/BS4D6Mk4F0g1OBDOS5bnxv3rH72h5t2OgV
O7ojAIWkh8Xyqmmi3RrVaTAuRhWoL9nkOSY9fyrvzCPozrZi2C1MXdbWKj1AHXPfbvQDfSjoKraa
LbT6tz/FFUDA13GYnTXqCO5GDKki+Kj7h/YdWkaKp3en3ZPKHp4XeQRXV56h4LJNiKqAdvO1w4NR
BV2vTztrpfqtWMHhPOne0i4HE0u2wafzYBa+5qrqJFFjC3i/wTxZ9f0Sbvpq9IvM898/ZDbNAeJt
B8VEv80MtyscsAOKBKG2Jr+grRnHM2qILJ7vUuX/SLuu5caVZPlFiIA3r/AgQU/ZF4SkGcF7j6+/
Ce3dIwrDQUecfR3FsNDdVdXVZTIHvDFtvjxOZaOmg0gYKL2riTefsXDLYcf5VBbjMypMJwL1Z6w3
XkN6G80X9h9a9i1kOU8gCWOPHBTUXYzLgyDSDyDreJiqykKVDQgNleFPzNO6Xn29t9ZkLlxs6ivo
hOqxsNJgzHEeHdJKK7QTFBwxxcgd0eSwFyt1d8VlswG39XXacPsSxiecaFPQ+kZlGxUp+eIUAOpo
/ePuxxo3G7JwpoUPRhCJw8d1OrvBuP50TjfhrsQM4WQkr+EFfdKkQcLZjv7cDwlscAxGff4A4kjS
ehDYpMRVT9tZBtDTFMhZIEuRhlDjSPgY97XqH2HywsqoohDzWoawiDfknNpm4MKoJ8JoJEnI4oSZ
QKBY1LMTG0Tleuz/BtEGmujWT+pLNVe2TV5cExSHgiZXYyXeScnVHA3xtmAnB3kDhh033ojXaM/s
wg+oS67Xjmz/Wpf/F0353snFTVGHAT1ELBYZy1r4prAaYyJC+w2Q0FaL3dShDzR6aQipu7u6ojAs
+hfQngWk3J9OUo7KJOdyCG2VJwbDy0NqcSKGG0AgDJYXwgrvHuONsMUVxJRDRZXzMQ7sR0xVKj8J
vzO63/Rj8+B3laHI5X6Spd9xRaMDx6tfxgJk035/8UAvE/ef659zf+ng6UNkMPN1Ltwy6MoKyudi
KNW2Agnha39EI0+SExzAXYeIqtJ/pSy0yuMikAY2SWI3mZJpXTOZCYMBGYYxQqXCoBotX5s8ISzt
zgwz+lEAHKSgYiLNwOs/jxWWjiLBJMY2+kSvolcc4g6628qW13mHkJJ3eV/u2s63OADa1LWoDVxt
SlWPTog2ewLOyBH4+zNbjUSIh+8HATf7sVA4D6WQYswz3Mp5p/GF27dnAZzKAOIED64qMFtZ3nHd
NZZR/fRC63878lklbmKgQQQ0WBRgiklpNMwRVbXWYJT2Ga3L63Lu+5KbVS7etXWE0jRMa76SgCW4
T1+Ll86RJFV2S2QOxCOg9fb1tj6iF3sXYtiFEPLezSyDtea/Wre8hmVg0oAGNoVXdkQonZr/rg4c
sP7D195qd6rKbQA2FYDyTqWvkXFprH7LkHILs2Yv/Sk6Pmf0bWTg+K/Uw81mY6gkhD9F/JWVMgYo
Ery0X9a3+a4y3YpYKBNYmcH7NLvsUiktiTU81J95p54sEHIWkSXHrTFVPNqLHriBoMjsPcO+kb0s
ICJxXkcjg+UJ6utkJyaSJ7jhmWfRajdg99KoPXeWD7076uJztVc2PpJFqTpqnKroJIjVu0+c249Z
6Fvs8R1wVfAx7QZkZcCreS81sIFgIENv9Up9CNTHVtUVXXDWT+Bu6uxW8MLRxGlcjhyLE0C7vj44
vOHbiRPuZQtUaQamWgxkWCbAgE0aMJkNZFgQcMXIB4DOXS23kkPaibs5y5sPWuKvYk6ii1gGH5Sr
jKpTKg2oJN6ikDR9ZgAuKOqhFe5iK1EHjdrQeqVReoGTIX0HT1APfhGyoBMZU8I+ToQxgRd0SQ10
jJn0pjEBKA7WDb1RkbrdMDqLDEnhxNirj2nPpMBezIGYphwpbJJoUrvpEVNHRqsH+96kTeRZrUuj
d2arcUfSoDZ3736+3btFrMr1mCeTe3yzpKbn8Jxco+v4KVzwgS5/qnSMzamvmek5k8UflEJTvYuw
YU3/GL3FLhp1TFaPTcAqHogJuzkwWHElX0mWG1eS893/byYo9azeeJ+pCs6/MZ2KBJGvVTi/07pe
37tAZ1LH/zqvudH9x01RVL3YTFCjSt8dgEaENHCN/CjIEnXJYpD7DTbRb5JQks4s3FlboHCFpnQ8
njaFMwEDwBpcyUx3FZIUyql1gMLS6rIJOgaCI71/8qyABxnm1tGTsZA8oIrBJCJuZSTwVbNWU6M7
DNvYSI4lrzYb8cidU3cCftucqmNVMFWokn6KLF8PzRz/qbUBcLktdplmEw5itpM/jn6eKQBkNhpD
vsYBbo4eDDaYJiwRpXm7QAMeDKhyzKlS0a69Y4456eK+e2fdSFvEhAMyCXLChrg3aUHP++s0hvr6
gr4K7msLWmx1VXdyLkQQ8fiaGqH6PhMcHJHj23u/OrVRVVE1LmhdgkeqoNmf2FtsNXrutYAQDN0x
qjnwRd0Kz0SE/wsPJcQSApQ8guvOAU8NOk69EDEaT1jvHZ/yQ8piR+OyzEuug5QeI86giVHBE6Dn
/L84uB9iFvbq0QPV+HPA5Xu92sa1URHhke5Y5w8R837eaOLEU/7og4jcpjkcVFigWgAQMnSkJLXa
YoKNu65ryleAtNCUW4FfdNE3AtGlV1W0j60brTpR0w2GUuPf4NXMT9QTr9MuuhCDHWUqx9FBdvgF
w68y/oEESn0vlv3xGYutbXixjtsCFviaAzreiTf5rn4FLJJbutXeN+Uz9YvZ4U4/JCf/QjD/L3CI
tT1YWMugpE3VirCW7SHTBYPZ9vv4DcOR8jFRDXt8Uj7RdWvlhwIBNek+JB7A4sSFOAExYw7h/Qlj
eN6R0StXxgS1hoqgWR7yI//MbHyndEdXOwmHehM9rKvAvdTWj71fPFgwW1IKmY+9R0xp1aibv0xP
+am02lNitvsYM5RW6gh73Ap4aXAfgu6bzak6A2OB3jJGsGmBMC2D0Kd59M31T7tXJWBARQHoZnwh
BiAWm1MWI1/4tI++qaO0BSUgYJZGc3ob7YZUxZ8X+YcO3EhabEKTyI1IgRnQRoV/G7dgBhiMrgRF
awjwGorQZjR/9oqwZda4YqSy72UIYydb5i9RjlFjntaqIDQIGzjbzZqkRbTlCVMSgz8Wdy4HEA0h
Ce2+BQNCGF+rntM4LthJfXhMSlnPFdkdpsJIpt4YGt8NAMGx/jH3Vf17j78eGDe+psdcLviXcZoj
bwofoa0cZui38IE32S2rcxugge+5U/GE8W5rDoHCw0DCKb5XKrnVqOWjlRkBMAoe58TeRcfhOsc/
j817dSxckP4YyWOXqDwC4NCsN8GroGV7ZlPsE8M39f9tL5aANa0fxxjRmA/mgoDdFdTyEdMIn4A9
uYQ2d2avwOAyklLze208oorAq9yRJqghNz+cVrTj68BuDmQqFXlqZ3AAiP8E2usGDQn1o//WfbRG
hUdEtKNfW5TGxyd5z3/6j7lduIOTWoMa92qJQXQXULDXcCe9yr7Oe5veHLTNhhSxEkzzKw9x85WC
kldczOPIGnd4l8z80bOoQ2wL52GTnKU32hyswvpFilzuWg4SW+A2YcCXIC5iCoqLRo7ncEBU5Aeq
EDDIHQHFZF0N7h7AjZCFf5O5TkgGGUtL6+ahkoGG4tHRDALQ6JKHmRm5ZQ2FaZ0QbbDrku8tT6Al
zJMhLOOACQ7VuNnUBOOWVSxiZp2Pfnn5C+X9Wv/9eyu7/f1F4BdGSpnKCVYmoNMlrI98FxvyJOsK
rTi+kuph/1lh1GFd6L0eQKQkv1e1cHf9wIUcUstzNEN/YopFLzcpmCe3mMEdLyEhrU3YwnmE+XYL
ub7LY26+uakk/Oyr8B18YiFhRX8O5MlzkvWfFXGLFaFhTp4EHyZKnyq3tXx1sIvDcJnUyc1MsTOy
p99oUdX793o77ACK/MiiYyozwkCliG2PhDP9euDd6AyT8lTID1gwL6jj3n91uNePeZaUVLK/e+3f
LnphFhLtp0hoQxDQj2K7+SU7DVp1KmN6JTIj3quI/NjgOSK/WRTd+j5NdzAEDj4FFTxMBAGBFZNQ
gWYk+1zPdqSW3Hu12luRy/SRkvoSNQBgwd5NMHM13BeHbjNpnok4H4PAB0D0BQ/6umkQlHXZ7CWU
PpxNC5ly2GgCeghFUhXy7vV+c2ozRMDtTrZp34LVDCYPCkut/g1Wm0DPeEcG9UdlDFawC17zbWpq
/pHfZlb6hIz4QMpJz+awvNFuv2FW4ZvTTBBD4iGPb0DvIubNreAX5gg3xVY+hC5/KOzUEhldfk+s
cM9cRl+twLtJCulJXkhabIRXotmvAXSYLYXnDAQoAWguCzvp99z03gwOW5oe90tMSAjH996ON2uX
FpocFZgdD+bbPCyFLUY0trEMgDS2tytxwFQ76kBh6Qq0b4a4rVmvMDrgzhRAhcqpwilEDHOMyXPg
BZrcC+/+wG1GD1NUkWz6vaDKAGhp2r5S43ICpkek09K4aYKa4O9Ia1icXwrQzLARPGAI8KGasjvA
iXkhj7lIc+pRKqIIbx+S9S8ry4HPj2URwyyCK1Oo7cY7VU5wKWzhBLz5bVVq4YEUWBC8qLy4NqJO
btspwTFRzaaTNKq6FtxhKF1P+ZzRJIEFSrB8gunPqBm3NhHndJFPMtQRSWqj26JKpHcv3AU8zQZj
YzhRPXaf/k4KNGAZ2AA8ekWX+Xv+EO8kcPPkB+Yhe2C3F0DUz4m53fA8mJI7txlFgGgn2g5BAZb5
CLarJ5jPvDs2lC19BGtseQaD20UMVe9Q60CjtT23fW600ZZJs0Cko5l38sZ78GHVluWEnSqSVoU7
U0fPzegdA9hAvlYjvtCbkNAwczf5cGO18iL5UOQeoGfmCx6v79MI2rp4T+NVhHHVQ+pQOwrJYF7P
7AnpYDQCb0l9HPeysreXkby4a0fFz5psVsftc6nSCJkaHR2U4bkH80LmIEmvHpzj08fvST2+UJvS
MQqMiyRvHhg2WPXyuK6r93p1f3zNwnXS+SiJHY10FAMwtDYaASUlHnvA/GBgNQDAnKBJSWwxwCTh
FUrrhMkUGQBw0YXNAqavKiPSB83bv3KhzIANP1SiqgfFF3Gh1JsYJFVoMQ2fqgdgjcmqdwW04KBN
+9wlzYvdm+X6sQ8LP9i1XjOI88MgcnbX4NDOXZ0fKYBFVWA4qomvRbv8Qh3LA5ElgeAtln2rkkjl
E8pK6CV6ZvT3pNDHSAWE2xuzrQ7Sk2SXVuxkaNfmt6Itvcnq8A5mr01wRu4Kg0ygBigebMBovfsH
Uq7yXlb7dlOWba4yLXVZI+PTes08wEslzuu0Vc5sr4Y4h8C2L8HuF0qQKejz3kr09r5EBuUqOgnW
/A6E/4+gXFl4VLHghKFJ8SHAmKmc2hrsDPj9neOdUP02mkN0QY0SzJP5DiBY/T5/wBhKpyqbGP02
x+S11Wq7wyC5zsQqKNG2qV4/kdqP74Aw//zGxfsVwG5p1rHQoDxhjhMLvDExN4tIUaVe3EtovBwi
FAiZjRcC6McHADX7FEWDvm7PBG8OdJIf1lPRU5SlAjaq3qSf9CZ/ALgq/5xZ61Luleh/KMbCh3J9
7HXynFiiql2XFepIWVm3FaJU8/xSZ8p9mP/2WNrqp8pt2Od16bNLWvEQysKBsl7VMwGNNVLsI1//
inirzp7b8po15rogUrAyjy3f+iKQhYR1Mb+/uIP8KdnNdtqO+yBTZcxCqt0p/0VvSczipLfKcuzS
4yRxphaP7VbjN+E2jQ1aVIFmAF4Eecu/j664VdDJa68v9V7J/8eJLvwf508+X1dY6jOt1Wr9mluh
xWx5g36Lgdyqjf2WfR7d9snTKNDICKZyYThottbayQMSl9GWtQmfRNh9bjkaKomF4OOyngvXdKK+
tpNanlCpcD2VzzA8WagAyyfJnB3JH7oFVJ95EF1ghGVwAFr3Wh4r7L64qz/7/fiQ7oC88dm7mBJ5
ygjBsEwQtlCvpmp8NkshLH7kMx3Ar5KmjZecNCRyX6VuFjV/x02U1VEl2zXoqbG91/oz3Ao2t2We
clQ5UGXQxncANuik+tLdS+1G5EKdgnKIS+BZANGjkdS65tUh/r2usfeK+UA0+ueolvemnItcCXxC
pCtM4F6bjA6485P/WjzRl86oVM5ILyn0ZEsC5r6fLLkRvHhPSAWXJj6wYu3yEeCZgVltO4Nn1WqT
PZCeLvcd7Y2shT8fPTrxMZod251bXeOTb/DOcKoM1qW3cqpK1/U9vRuO30hbnNo0lB2fh5BGnwoX
wDChJWyA+IwhnnU5hLMDZ/ZPjQwAo8YXBdSj3UyoTOQqwpwH/jCauSNZL6FVOpTDHIkdJ/PJ/N26
RXpxbXkynQs1i5PzCi2ujv5G/AU4FNkeHvunHN0gBPuef25N3MK+E4CisMNsBH58USJO7xiH40nc
BfezQP8cGno9fu6lxLZAQ2EghQYPrIfScbiPUbxAGfkgu5PV6jUQug2Yw4H5FbyiVO/2W/G8fqB3
y8nfxih+2cyNi+GYALCiAz5iOlAH0DyZqZu8A7fW8o3UQVsoHlUN6uoG7yKGfmdI83YkhVq2/TId
xh1zHvL5QkM7AqqVOZrBjo0D9NVtexrO7IGujd4tQPDkiISyzv380/cRfN1kN6tPS76o2wp6pSSd
2fPogR58Jx8A8SOJ6LymP4ag3rWlgoRQroteRdh9gp59+f8b8WPAcWgzh9nKzVuQP0sRhp5Ga/2E
112D+PV+upHRUZQ3MLPTA0tgUhqt2eyB0g88byd9+t8kLfR5EMqxDgqsZrqkanHNDsmT/NxY/yr1
8H1mf9RjKAkwvCXEFKEKfGMVEbl87TbpIfh3Id23qCX3VOT3jMRLUM7K9E4DnviN2bm8cRZ7sG5R
G4CsB2diiE44sK9S5M2BtY1MAewYQtGSOarvjNsb6VP4Rn8KtmC0bnidK9CqDOwBVl8/QMIFCYCU
hUcC22IZMdAV0BbsKWDJA2jOwfg8I+v0tSEo5hztrzjZZUum7/di2n1ZfrmlOOQwh2ef/6zHj/VF
kTzc13zszX7KwAL1xHk/JbM5hCdeLy3OpTXBvGKmGqwAaBhpLEFPdv5z97Iu+/7T8luBlp2SASgU
JDh+mISiVi5rpVvGpUDZpslmnmrBY/VYEHaV5FD5ReBRpSMA6DqcofiK4lP+KItql6ucW5vZpBV7
kIIKm3maV9j0DinquZ93uFnv4p5uFLHAsCpsM39srdSSdfaYWgVo7LMtQDnAIG8PoA0ErRlaRjZt
rlboZlBsEHWhq8Ds7Vj3ztRxELT1Y/hCfVhTtcXDkxmogYo7HAOyEOJeuRROvxtsntMEo7G9Y2V7
evDe2WCG2IB8pTZFndsO9vDpnSuTfcJgr1mcC6vidcpmzwFpJkUiGML89xsFZTLM6HXzLQA8vLfu
4O+qt5EQHxIumq/26BsRVD7mCciAY2SK3YJzlRZHwZIuU4Lj4hf+34+VhGcn7HJnTiaYR7pLCkba
Ee/OyU5dpMjPzA6caZvyAPYIUv8/YYXCwnVR+dAHYY8Vcof0xGtypYK3Zpe63qE/5lqLwKY/CrtI
bX5jtJBTM7dAR3dnNbt/l5D8tgFh8cqg5ZxnKR4GKKHxPzIxxKTGmogp4nOpb4Clbp4QXux/rav4
/eT4jdRFoi2ZAF82zF4OUAKO/w7CSLd5nokFttNpNBmt7dTWlC/TiedUHvElZ3AZIevyVWFfMTNh
mUiLlCZNOax8+Jiew32CeK1/Ym3G18t9u8tdAFIjqFO07CIhby9sRe19QJ0AhWT5pdjT6Lo9AXVU
MHpScmA+/LUPW/hEJU6GsASzli11z1n6XBYnId3H7SeTPrOxw1fbNiMY3P3LjYd7Bx26oogLdWQT
zu85OB2QmbT22EqmH3iAzQxcVvSN9aOfP/7PxX2LWiyui2pQas/JiDY41cguxwS7vu+evn9/4Z7Y
DOPy3YTNU2oDZU6BVsdC7dJNPenrC/nL7fGPpCUoRpGINY2S/zyR3rnZS+Zw1+FDsR/fFeTRWCSQ
mk9F816oR4QjDn0EyzXy62g5UlzlV7RLLwrh+iYc4pLrOQRmKEYksbMMP6pUwDpVomzGuDqBjoVw
RZFEzX+/cdCV0tVD2GCTp0DHzPR0Akh6WROE3E9bfe/vwkH3DRs27PzaoQ6Cp0ZPyql2BQ09FOvn
eD8lyfwjZ1kqzrp26se5JAP8RQAFujFIL0Yjzi5x++z5v6WmVL3sLUwesu5ITU9sYigYdYxAqhk9
97xV5dvOP4cp8E0rOxCfJABR0d1j6x14wBR3Vjgw5voX389Y3nzxYvsBqjoq4DuDg8ALPBdCEMy8
gHMANBxOEe5CDMdG3LUf3FH4aPK3svrwvHfCJ9xPcXxv2iLXNyZJNbGzBngITzF7yf8WzgzgVT+y
U7L7l+nS/0hTALmzkJZIvZwCdR+9gV2pCiEQ+XkEhmDfqaNWlRl3BD9MkOhd/s7lx4EjzWP9JUr9
lr9QxSIQ8yj9SuiciqMCAFuVs2ernoA0xIEOYae4vE2baJcm2MBfngP/SF4+H/lmxjIV5lhQ454F
zG75+xwPLMB/P+cWANzPIlBefKv/aF0SvhJR9iI0CFKkPlkZZxyDjk+VTIbWg3SXO8GkKk79GDjR
bm5KK+1gU5z6Q+3mBI/2lxfe9+oXYUJDlVUYejj3shSOwPfeDqzoMkmzA5mV1XSFEWSeobCZSTXU
47qGf41g/u2igs4tu1NzWeIHJcTqC9TNGZP9ROMhGh7VqFBrWNwRmldtI4yRGf5lhD8AKJ1kRBfW
UXadhVKFrycbxaExQgmiHQc9bgYXqw8FQUFWb6H5Mxf36SSBvLGbHwuvYG0zKjxMzxFA0beFi3Zj
W3ZiPGgSFC6jR8UCDhcaOyoT/QY6zaJVUw3N5pxYhADm6y28tnWLd1WeB3w8JbPifPaYuuCv6S7e
JmhPYS4g8XDxkSz6jVRW0vu3Rg9eFDPXQKHnztokaPJzhWbtC3iQTJD27dor6AMvxb4DR9s7cXZt
7ZKZt2/hSlt4MVCy4FOpS/s4OJwJnGrGRfv4YNKv00d0ZfR5GLYBUl7qsEca7Uq6sBuvuRkewUOJ
TI53BVNlBrb5wQC+XPGgvPCEvNv9svT/+/v5IxcxDUCmRC8D1KaNpzFtiXsUBHy9fmycxAQ+ihNu
/FOnRXsPCFi+5h1YN0bVqn4W9VEAwrnG2L+R8TYB3BLqGS6zPVDfCVHX7ADXTnzhoFMx8doEDA12
y24o3uzpbeXt2uLqtbRaei+lT3TJHEHiwiX3dVMP8hzn5WpX277qqJbhgpfOe2Yxx7LuC+53r3wf
wJcR3sQ7viiLfDtnKRLut8/p2fQkSa7E4WkmTSqQHcGilqoxmuwV6hQmGL6LXNC3xf1TLPrq+rf8
5en0j09cdieHUlan9Zwh3R7oXb6bXGDDGLJjaaItzEpwgVfcgteuVTOLVFAhHPOyaXlqEzQKz29m
WRSeQQtrVlmrgdJvO8bdKQiqhyJrwEJdEt4MJLGzLtxs/yj2vSjkiNDGOtQn/tKXbi3swB2atiAQ
POOSsNY3+S+Z9u9NXnjVXOTTKp1fKeUgaSFoAkvqs043YvckDVYrfighUDh2afq8Lpd4uAvPSck5
SEPmkQhukvS22Y8VpmlYI/AuNfVRhaBzY3kVaFOAfIIrEI78hLyyw0TnvnwAJWjC77PuPcgooFWR
UMhXo054oS8vdXMKOdXmSQpQbcyK1GCD2ZRootxQRvbGWSBKwicBB41oefOCVxzLEiiho+ja8+f0
ROGiXfDk76i3NjarjWf0m9ZIBQyx0E8RIT2z9oacV7rwZorXyxRmR1DqKrGx4MV7QpJQnRDqDCRz
nu+XP9cHtHow/bAyuM9+qnY7BOBGBTqrHXKZHXeuGAoGl8d6nQsEx0GStIil6CHm4pKaU05TuYtY
dMaie7jN+e0YyISO5b+Yz/eqFgYr8mGPR6g01wqTa1yqCXLzF+CkBWDrfcTsF6HX8i/x+be8hbmy
Ys/H/lxkKdHnb0YHIKza9YO/4SnMn0+ajDSeEunNA6APnXWL/UvTw7fohcXWCnjp+Qqi2V3wC3aH
J7Ea7zH8vp0+BwucnJ0Vmz7hzUrc4EXYwkt8W3UBpPaAIwwYFaNbG/kgbDhDeVEI+Fl/aQ74XuLC
HEoqE5hIAB5QU8saI35SypOcODF3pgJArIZPPgNueeAPDtXr2JOE30+G/SN8mZ/M0zSPlAQrLQI9
OYKZbVdtxYMgqEmqlv8GvRLNHt/SFkbSi+gm85kZ+kgQzDFKtiyI5SoF4HpBAPonQZBAyEd/9GNn
MoNMuHXuX3PfwhdaLDXowABqN571dWZEgS+p1DRaDXIrTZm3YDvq93wGFAUgs6wr8X1/9y14/vuN
Zw+LQogzCuaKkrLX6lGgvQXo/iIs774r/5ayUCO+boOwVrC3dC3rkmxnIdwcRZjdIng5Yd7jm6W0
BceAOhVCQLI+DmrlGeDxyRnChv2lUvbPWpYJ04Hm+gwMUdDK59xATri45hvGHrYYMBi1CqPWu4CA
M01QDnHxGE9lNCIpcyuL0E6CmpX0LlQi2xfGvRJ7Ju0rllxVHwVNDLQJx/YHhgbni+D8glYGzmSi
z1UPDcoAtbkhIPlRAY8n0UgNNLOir1yKyxHNqUAd20uw1ix+5dIIDPPndYUn+U9xYWrgWOHYVsT5
BU4AYO5NYQ7vH8IpOFf7lKCRf2mc+daVxQ0hJIAUyiZsYG1sMflp8ZhRGp4VG4AIiayWKG2yOmXx
H7wDjiOzNLMTwLUI650v3LUdXdwXfhn6zTAH7mFqtwDx8nfI2fq70R2sOV3n/c5JU2PELV44Fa9U
vEEOscWpIqsJZzPVi0APKkjg0EkE7ml0qCQKEgG5KY4xYb0EhyYuXA14aYeR4uAF+lJTejMY1QHj
JngTkxwBwd0sofK6KZ/EtMEia0xf0bQ1FceskAyKJlyDhAUt4VaKTKGEZPbQ1JYJge0sO+PHQNo1
gqVLi8uvyDHFHwwQwon+CzdSz+0YYBSsNdeVkSRmERzGUpJSzRwcAttFrVjfnOgd1ZCucpKUhYWX
Usj43izFLzX+d9LreUy6BEgi5r/f3DWhknh1MncQ1YZsZVegfAh2qOZaDOA08dA99ociVmtCrEu4
B6SlJedK7vcV1oWBPzWPCz2inKYHHvAmic5Rpmgl7RGs6S+v0n882HLuUfIwZxaBqnyuxOjS4bVz
MPyZbBVAslV2olP78bm/Zhbn+Hq1897W1YWk+osbfeinBo0aWDDPODxtJlWt53SsMcxhyM7rogh7
u5xRG1Kpabq5Kl+j/SNWs23yBgA+07+Q0mWEC05eKGfEAjt0mHuK83IvdR5KGBNBOe+Cv9xEsssO
c3DVtWE8p6wktQQiF4b/jABgUZN9Zey5XbJRP1p91B8qTXxvHgIjBq7gqTVa7YSssP5J8i2krV2o
Ldt0QhNIOMXaSBG44wLiUZbdh6xBQhUkuGR5ce8oYTBMINXF3mKaiTUKQe0GQyKOsq/fqPwSwcbL
4jHsPIgJgOpDa+lWOaLF2AbhRwAgdvr5sq6afynG/NcGUan/6WyyoZvSNoLKsFbmsAYGgPfp73KX
ole7sDFKiIfmbwER2nTE4MaRFLsTxS9u1CYOhiacu356I+G1aYu053F6qmgVwMLAlEsPwuwaHE/j
jPrav1OEO4PggoBN+3P5QRFRBVitcapGdJQulNlu0H4qa4oeubUmgp7bDvaiXuqgxwVx8Dkj2NM9
SMablyH/R+cxnfVJz2MDolCNN5U9bY+hNtihBWQnWzEZTM4i7DfjBw6z6I1aHqZd8yDbzOOAtq3a
yh/ko3CeNqgZPoFNk0HXMBhCwEaKGRtGG17iQ6+BztetLDT8kE7vL/nrf5TnK1a7uam4KfMGcX6u
pI+D/kqdU00sVJ4FT4aszriLGIJFK3NttE/rWvuXAt634EVIIXUcZn04CGat5JqfMFRzBKio422F
X+uS1j0qv2zMroexTtm5ZUwBIm5QeuCOJZn8XxqGvhez8Noyo3hMF0AHe60zR0MwGTUwA7NRQemj
Mhqvppq/8YESij49Y95YFvU1T5uJ+RpdUNE2qAH7kKCYBEfPL7uyB8BpKOJcD0jcyRzMAyp+0qk1
PdP3tXm6yhHRpA4EXyBvbvIrvW2PMYwHbHEm5ruiHXcEhKnyiyKEKYSUHKgefxpsLUZM7M+RcQho
tdYOz+mkejp/LDFexmmpE2qdPZqsTWJuWA8XQAL6Uy6lRBUrd1AEpAL9ref4mLUuCU+6+2rNMiwI
1cHeIy5JahQmj3OqhCZIh4DXxjfFjHQFoD7W8KYc1xX7fvbtW9Zy/mjC6+g/I07P5SNlIswL1AaI
Cb+G3UP0ahOE3Q1pb4QtsgxMQg2xEGJhwmHq1EDzT+25h3PVi0vyyLscr442XFZECg/uJ1RuBC8c
ReylA0XPIeakg+BGdTwW+PWUr/qgBdP4ZNduCUu9G5DcCJzv9xuX2IxDnIrN1xG2+3SHdO2Gt8dt
SbADkpjFGyEPwqxQ5pyeF6vKR1+D8FrlOZ1KjdJMfEKO6P6b+2ZRC6NL2mZi4wlGB+hBc+TFx7YY
H/qIsgQpNZsKnVrgUVE5uXIwY+xkef57XX/ueuEb+Qvj65vazwUGqx3lPagUtQFge+sS7vuVGxGL
QMDzuxRD7Di3cYP+grOgt0/bHTrGt8PTuBt/lRjH1uXtQFjY/eIXy0uMAOJGgRYWK2MB6Tp5FIeU
lICeeAr8q6MlpRjwBt831Vhhv6uE0GZjdstLAJYtutIsmuQoN+3D+gbc32J5jkUE8BJ+4eDd6G2I
SrMvZigYodVPDYZdLl/XBdx1oOy3gIUO0aUQ80PCo40wv2IWNnpnxyP3BtypdTFzwPhHRupGzGJD
c1rJZWUmGZCe2ccpBUde/mvcknCDSLv1R9ga4WbysFv88BKIMD3F09fXcb8AdLOQhUIGsjx4Sob9
YnedKZigrz+JL8H7R6mnLwWI76JX6WVdJOGE/uhGwCDWf4oU5aR2k14CsWXv805MSsPePSJOQOuT
RAMsb5lyluvRjzIJ1gwGTlXiLLHcp6B8SpNryvpq4wX/aitvBC4ugXwM+Kz0YduNGLtMU8xgRq5U
prtiyEDlJsvb0a8sqVesWuntkAFFvRJdmCzgdD6pt0lcE9pa7u+AzAtIMGBIW1zYAsJMWBqKI+iJ
blyZDw5JWToiCMcYJtmNiaiic+h5/XDvx3Pct8yFYfh9z/NDAB8eNy0CyG64StUA0vv6Orb1MQ35
57KincTzjiwLmvo+Yc90Ca5JqtSSKTaHEaUxhtoqubDlOVoNWdaSef//2Pu25bh1JNtfmdjv3EOC
BEGemN0PvBTrXipdLb0wZFvmHbwAJEh+/Vnl7hlL5RrV6e7XE7HDse2SCgQIZCYyc621SfQaSg6V
Fg52/8U+yRG6Qx3MtftCOxrGufZVUbImNSjvTW54NHdTj7Nu8fnsLrrDd5M7Oyw1SbLebHBYBMtB
xcpHnzfTMh6KG6X4Ls7kQczjDyeur1ibi3bAoiZ0cIlJoaf10dtrorTtUTdwW88r4dlasjCouP98
bpe977tBznbLXCmZ0I7ANOtikSeBrkMXE7TKIIYCx/PksexZWHPA6d1w9XJy+u4zc+qeihaUERCx
Quf+4wSTRpeTnOGfTKm8kS5ttW446mvXTsTv4+C7dQdgUrQr/C5vbWmO0lod4yTyFmr0GXwDD6ry
+PlSXhvlbCWhgGL3WoNRrFxGTBs80uYBH/sgIdco1X83ph8ndHbcTJFVqXaaUJxDWctFS5fOwNo5
+KVl74th+qc34sfhzhwSDKdpORU2YpF1ASia/Nj8p5tXMALY+E/M7Mx1z8Hn2sx4OUw91g6UCN1c
LuS8MucumMw3cY0p83f7+HGss/dkKyYGV2AsXkFkYpo8Ih6qcWPQpx7soFpqX/EQF9JQGNA2zRO7
KeZ3jtlhqd5kMeiGl9Mxvd/JrXo0n4qXcTmDqKjwUcNzo37VPKgVbij0yk3s4mQh8nPi7LCw/c/u
RvXcDqDRqJFisIZHfag2lVlHTqGg8qvyV+m6Oy12v31+EC4UD08T/jXomUsUcZs1lYZB+zDbq9Jr
SEAXqT8byOTWu/LRgIbwA39RB7nPbizcldCJfCXD8LvtxCMg6EXoy06Utmc3JasbGyWcFKYlqzwL
epfzNXLAC7orpyFM9xTUYmHPC75QuTJ1MmWnnsb2bfgKcVfUsVkIiaX4uTsgz+m3u2bR3elh/Jzu
0zJEMad5sM2lNBbIlxlXs32/WdPT8zDTYTCnOv0JGXkXZNdTP9aD1PKlcAfwLNUHqhVXLoYXVtXQ
dQfdZahG6uy8sa2UCWdl6eToaRzWw5DuHe0adcmlZcUpsRxGsbCAfp+e4d00Sk6mfLQstKavteUj
347PGTjCt23U7rRQPzTYPFAwBI4BXFvoVM83+lf+RoAunpbXsLYXLvgQ0Xz3LPTjs8x5TTJb2fmy
+kFU0Idg39O9bpms3AitaLfiu3VlgS9c2T6OeGacCLBZVcYx+3JrOz67ayGZo3YNssU3seGVtwUI
797yqzwZF8zEh4meWXjb0uY4JWa+3Fhr6wGEm1Ed2asaqo0gT43aB/o0fm99cs/3M7CFEV2xZzBg
1qCdA5LClt7yigU5maWPkQGWwWEQpHFt9Bie61XX0+BkiaD5stcbJHSSdttkWjAW4wr/+qUhZhk4
mf5QzwxKee0ui8WmqHHSHWJ3wNiYN3aL9HZMVxrroZGF0E2wRTPmCLmrK5bmgi8GJlS3bNuF5Co9
r6brokQvYkbypTPVkVLJbaPV+6oChMGIPVXZV3bIacv9tjK/hjsH8PWkUaDRxgYZc+O+QuYQjSax
n47Nl89fwbVxzh1HyVnKc+yIqalW3Qigthw3Vqn+zemcuQpZQB+3E5iO2VGAN/dTb3jq6nX39348
bKd3i3bmDQy9cx3VnkbBGwmtGT3ASe/3EJd8HqJrEKQLceAJJAyldceBfziPZdrMGXqWzvnS1YTh
8ZpBdtD09dhazc24+lfe0q+xzsxFxxtDDMaYL2fQxiTFHih0tK0sPh/kskl+N6PzcLNjcd7mmFG5
dY7pQ/EDfdyk9eT9GOC20ATmQUJGcVWZvnakJ0Zlr2HorHa+mQhsuuM1PrbLJ+7XpM+MlRqNGQKe
U77kziotEl93vo7dshPfymt4qov+7t3Ezy4ogyHqwa6MfElVvsiYb6bXXMylEXC9swkxXcLIOYse
47go1ALHzIjXHYGul7SuBO8Xcj3IPJoOMUwHkkfmeSjkaAo6yCWWqw2BBKNbc9OiuXkzohHusVw3
Qbznax7VX/+FTfN+2DM/zuiQ57aFYYv9i7L9el+/NKFGPfNoB+oL3c8QBW4eu9vJKxbxGzLN5Yrs
3ZUJZqLsyrNc2jDvH+XMjeeG3iJqwilJE+gFAfEytahjUsDdstvMev184hdu1B/X++xMpnrv5naG
09J1z8gTcLvzR+jYmk2J/XPnErBVz3ezIz3zGgj/kuV5P8+zc5rMrVP2YLlcivlArQetfJuKQ1Lc
X5ngJdfwfpiz81dNpLBqHW82RZ6grLVlA7lBVNYBzePJ5tRynLPBlx1e6XS0zb0zv7Ey7Nzw8+e4
Ntuzw0kRPzaT0GFnTbVJ49EfBVBUDUTPY378fKhLp5RA1dOhzLYc4zx5SfIxFl2NDSQKtOS5ANeN
V0a4uKbvRjhzt5xyQ4B1KV9qhgz19AdJb2QxBJ9P49ogZ87WmFrDLDgGcdiwtuf1GNf7ll9xSRdD
2PeLdeZshS2yLnZ7xG4/9NCEFuTX/KDtgT79oR1xC1Ob/FqR+2Kc/n7IM1uDzqTeVP3pgGtruwun
EWT+1oDe/mhwAgfQn+6LBDFvCqp/Z+V0d58v6wUZH5z4dy/vtO7vriwDt3memSoHNWAfkp3yyi9U
hPNWrEu/CZrvcjmh33g/g53EuqHrsfONNciUw2Z3zQL8RM6eh4fvH+XMBOQsrqWWYCWGhbxnmcdv
tFszKl+t1Vs/evNei+Lea3x6rwV8HftdQPab5FDzK07nosW1HEqgsQ2Y4blby5EGnm1bIi6JXTBL
2Ohnzzg6WocC/UZGdZiq9Io1uKBOe3oJv4Y8s0oQMcxN2osc4H5tKZ9VyNDXBJj/Kl5rt25YrOa9
XEbAQhX39paAsr3z2bO2NFbFXXW4RtRz+aT9epgz20TqqhxHDQ8j5rWEzSiBBL+W1bzQIIMZU8ch
yLWg0nF+SVLCthBVtDnai2jq9aGK2kg9FMciAtIEpDwBmpwepa+mf8WM2MgAYEzmIM79uN2zwrWr
NMMBT1MaDfWq7JIwba8kri4lkQzybpSzJZztGnkMF1uI7KwIsD33pIdCV+Cu2J6YC+fEE71v7K0D
va3CVZTdS+azKw9x8TX+eoZzoFtrUyujE2banpoIikjKElJsV8LrC1LGeI/vRjkzy2Xdl61rYKbo
3lzVt+OCTJ4dWju6ZYiYdsaP4qYP2m2+B3777toUf87hN4vxbvQz45WTzGjackCOY8LlKCgcX9+r
dQ0pPQYNNPKlWAC9HTmQIg2yF2OPropQNV6G4+RA/Hj+uvWao/GgB8lNv/hW+AAGeNoNC67suZMF
/+wpz4KqXJaEgMAFe24sfBkf7Phakf6iybIhuIqimWEjgfZxV0s9LQQ5naa+TBZVE4FFwdebxiPQ
wUr/+abd0yv/NdjZdGJ3sGRrYzA531F+yxkolJMfss98UN57XQdaFP3L517q8gr+GvLMM7iFkRuo
9Jycv7rJUv6d8vpKFv9y6PtuWmeWQavJSPW4xs0M11Gji4qJ+RAQ9fre8sCe6xF307MdyR+S0b7i
cf4Xe/Frfmf2AprcE6o8mJ+2gdzOQa6qRw0KIfYDNu962tGl4uh2I9/kUj3PnTc8JqgmXrEXV9b4
vN+SJhKpywy71BXopucPnd5fmea1Ec7iRLDIxiLl2Dg0fenlt3y8pl57Mar+9Qp/dna9i2XklEml
CkxhyAefOEir7dM+8Sq3vGL2rg10FiZmvJ0goID3VRdzmE1gS5Sdn9uTZ5IrI1224v+zM34GrO+m
ZCmRV9NpZ0ixtoxlbe7FtZaNa0OcHa6O5EbOGqzaiMZFp0wXFsAo166xF3Q4PliNc0YhlQ5dqg9w
FF1Q79H2vp6W7TJJfeUVj9B4KDx7NbIFCrfDo7WMb/8t+3Gul9mllCWcNHhfaOYTxUahZ/XzES4V
yt5bxZ+fv3tRtHDGkUzY3LYdgM2KrL/Wu27ZAjw7H83IjeytZ76kt+1CRuWD+/3z0a+8wvNK2eDY
ZQvx2XzZkDfibFN4fD5e6XW74mPOeW+qwtGJdvIxfNok8lDWkT7saLLrCbuyltdmc/r83VI2pQlH
xzBSTe41YniiLBZO9/wvLBnIVXUX1SbT+kmp826QIp1Vm1jYErwGLoLcTKjwmeqKU7kc2L8bhXyc
SpHxIrULDqPKPcSBfNuWIHIAYjWwU1+P0KW8nYNytVgZiO230z10sqzv1ehl22xALRlQEYF70MPn
Uz95k9/ikXcPdWa9pDEW8WTioUpVv0CwPajcbM1Es5CWthd1vkgLZ6n0Mfp82Ivm/92wp8/frbgT
xwXhQJcuocPwglLzeqiu+bCLO+fdEGc7p+4di4jTckPuwWNp4zHklGU9+p/P5NowJ/fwbiYI7we9
JBjGACON0yYBTzpPG1X4+TAXT9y72ZxFBc3EuyavMUymzLCfcr9IC6/jkG9NLY/q1zQ/L/DywUT/
Gu+cI7WiUuaxhghoA7KB0Nw22+SWJECc1StysAK2r/vAfo4XkN956qGJmfgK0MgVxEIYRxG8jMRh
+fkKXNky51wEY8XdVKV4ojQRqELUaL0L/r0Rzs5CPGZ958xY45RVQQsRuam68havbBZ6+vzdZpEm
lUARwZrpJo70iDNNofD0r/S5fHh5Z3vSNl2QNyosVUMeGeqOaVNdMcuXM1Xv9sdZoMBTZyg7ibVS
/dccQN843vRWsRhM6rcW5LzkF1MGlvljGBIvdl/RU/fvnTt6FqKnEPCdM445Mp74TAQowAX5dMXP
XegH/HAMznsjqgbSjyLDKPm9JpGJOXF+fZtARRfZ3507M6xXMkyfstYbfXNtAOsAKNHSOFSvzX23
TVcQN2P3vQSmr0zwx+fb9YLI3MeHOzOifQPOzPh0Ik4c5SDCXFg+FAfDExHCEMbb+qE6qluwsXgT
OnM6P5g27HFaTivQCu8GAOeSr9kif9CvokAuV2p+bQ77bJvrPZrk8gkP1g63phuM89OQJkHeI23K
/Bg4K7HlamfXBzbdDrmG3QKaCDB3fb4+VwzGef/oyFmcyhFP0bffe+MRbY6ff//FwN+xAWf8mTK1
zmbJMmaTjsCH1fxHYiYAxcaLfuKeGH78MwM5FjJjjmWjGYYRCqai88q8ilnMtQZnjeRPSQkSlKkD
3X/uIaK4cqg+epnfRjovyuM2a83JXCJwTVBXrjXXy2RzEOAWM8028yadXymbuz+TbL8CkN+HPLsI
2nYr09zBkDMbgU0bVWAn2hw0g3rucxNpXvBu+MWEzZzk300S3ztlYwCzC1Ap5+k3txkfdKN3Vl1C
7uK6HPzMKo5jAva7qgUlF+TJHBfMjM5N4rpVWLXirm/Qw+QMcqtX0CE1JqiglhlwuaUCPV9mZ4Hd
u0/oFQ2HsZo3qGy+JhaadMkwaRtHdPoXSrJHo+D6tM6mWJoPc2eqYwW2oVoJ4Xi1JcUXSEzb1Etn
8qOc2Nz46BlH+w9yP68yH2TlM6NLf2Rd3oIgWEBQpFPNVyLiLjR6VS4EeLc82sySh4Pu/phQ0EH+
P4EmXpmg8pjN9bbkTeeRxLgvUhANWqZhLSaoEQcgan11uLF3XTML2sw8TGPVerZxEvKY8tWYMNBq
g+OiICAyc/sYTcxMO7Zd+UYmC9Vunt+DHlzgoswGL2sHukrN8gta0dEqZFVpMA/Auxed5imLRKmG
tn4eswVzmvtUpxsty74JSwYNqQ6Csc4zRPO1YMo8NCUO+KznaSgtgbMPks7aRcSt2tkfivxQufGO
VhB04Zm5T0GlEqTpnERoh84jKKq0oNqFBDeVYJgya9CvlTz32hr6pRRUePuuMV4akzURaYw5LEWG
5FMBVIBhbS073rc1Pfbt/NymA3ZxWryi+8uvk+ngVMXNUEAklJVrze1CNI0tGCDLiSt80RWRZhhR
r9lf5txYmnp5sFoI+ZrgFFUcVO2uDcKp9NHW420pcT64DfQJdFrgDoryWerqlmnlDl1By4k1y2ls
wqwHR0VL1rY5BVpT3TVWvIhda+3U+R3X1NauQHdJ9FU2srcC+9B3p/ElhpiuJ5Jx9jLAYJFXYCuo
666nOa2hP+guCzKEp9585ZqbmYIHl7OjqdebWRm+6q1wQuA25ehzqqx6V9PhrQV+X3XzG3WV8toE
qAnN6DzXlTdl2odlxqLYkttCgP8o6ZYNpSDa7VyvtNWLMcVrPXMXJRZsTHQPB+LOVPJVZ9W3lvNI
d2y/l02IJqNdPuqhpuqN4XZHMuY53vxo+26ioXjdVzfZ5K66CU2TVrEdeXXsFeQerPFNQRxZAmjj
ZToP6pLvipLeZsN0dOMy4oUVERyLebY2Vqt3nj623wbQnXkxdVdtKfeFG6/6lHxT9pj4Y9Kt7VG1
oeFmAVU9KthyWRnDUq/UrpIuQA7f01KFgD4ENJ4PXKJZ35LRJPojcAm3Rmpv7bF+FrF7OxtAHOVV
SFqQuOhzMHF7U+XtDBgSorjanMKGpt/NIntqWFwGtKve5EjCSrmNVzRA2dTAUWgZCGIrHWR6on/W
S+drTbRdIdM312kDd5TBJLNk4UjJPY10txoqgFNBRg/R740WTzdp1R9T5qa+oRcQDdCm/SS6B5lA
FFwTgaQiyupe+oKMi9EGIFuwNS/c0beo2Mh2WOtA57Zl7QO76fXtsHDjJLKU9qMBiZtXx+ARtzry
oo/ZS5YZfmqoMO7wFU4adY7u6xwNMoqDNLaUC3POo5kPh97t4C9Ai2zWaPtwwYfm1L5D4xQRLg3L
ApxsJauPveQLQsegnOTajWWkM+OY2hbw14n2TDUrzNErLUrpEwE6pVkDZI75aTpuh4w5WAyrDEYb
uC/VrHuDhpkGbpFmpkgWdckhL8STMqatJgtI/DD5Qx9Ak2j2k+1ZVuVrdbeqGaSVJ+SajGFb6eYX
Wvet5ygCUwgPURqVNwEu6AEIuTfHFnQ10t0LOq+6HIGVGIHEzKFZ5gxvlt1vzawOTaKiNAHnB1XP
aDw8Nia56fos7FK+pHOysKX2anKysMkcaqxLYf2GyIGEplJ0kzROWMjcB94kbFptnfa4P4H+4kfl
lA9plWwYqaPaUEvRyQX2E4rA1rSD17gDl2CUCPuFa9MxToiNpL5c1ejn1MtxC3ZybH4RKFaEg2L3
aBiJOoLrW5uFYLeMYsVXoHBexy6aR/R24ZTuNqlwl+rEfZfPR9qPN21chywHqUps3I1dnYTxQLwS
CbmcA4k0ycg1J5AnQXshziJ4r9eWqJ2WTHuu8q8jiQP8f1jocCZC09ZjXyW+0OZXdOM+EpGuwR69
5ibQWkX/tU/LKLeHoOdxNEBb3XaLp2nqw9pgWzR6r6B8v0MtNBCxs3bhpmRWpyAUsx54o2/7wQXd
C7KTBSEvNopockjCklkvA7SQhpwdsxncqLm5I8yK5irZQ+3mMM/EmxMSTFOKC6R+Z+oDOALcfpED
9pKXOVh7212dmI8ySdauXsNPjqDftuiCceNBS5sCmwn/omvkmbr1OgX1HlHcs4Eu7a3NLPv9BDWk
vN2O5g85dWE16x4ImQML1rSeQVZjV2+zmfuklkBZ9RBXaVjgobgQpO33Or3pC9PLjMKHNvadzOdI
ZAmUN2tw+uqQKjHVNssRmbn9QXPBPp4Cb25qT8g3RmCRC7KkgcJ2tlDo17HmboUo8YDaT+AUiBpV
6VekWY1GttRa6mnlDC16K6g3k8/1HmxmetSXaArOrWU2FqtCi9QQ2ujv4WX1AgexUqDGtDgOuu3c
9CZZc9AOe0kJmKJTHOCVfVObQzdJj7pR31mtEQljOFkEUPaqAHTex7rU7uyqeJQmOo9zugaY8mgk
bO1U9mLo+8hlsT9k2cpKh0PBTZ/ReM1q8sA5KT2EfYnnFm1I9HZnmIhLhA5J8TyyWmvvVvFNnLqe
2xWLJq6eCJFRy9gKeOqDZrQ3LWh0vMSYNhaClcnpQ1vRSMtmUM0YWeyrodoNTb+XphvSJJbeZIFY
3py2eTYthkJbDamxmAS47pm+RUvAYbDse9J1SBGo2m/b6gvl3C9rFSo9x0HTbrtBD7MxDimt/Kas
H9IYqCNbzU8qoYvKSlaznvlOzQ9AhKEhua22UzwHOPBbrtXbbG4WQykOfdxDerd70pL51bbLwJic
qLL0L1k5bE6S3ZDzACOhU3h6x/BG89QNSW+G3WhE8ZQEczVFPZkDu66XguvSsyd3wwoVaGnpd1mD
K3t5CtHEFuC1jZl0ypcN+yrjyvEcO8cNQ0J6is/pdkymFR/qRy7UXZt0D3FroGc61RdZAztbNVlo
iiJ0T/ta18OxK/eOU+meKfO9ybIDupmfq8ZcVzCP0GYMew3yyHYFGt/8qAm+lNpQeAj7B2+eWsQV
1RcLp9+ysrXZ2I+Oyf3WQJA7Z9FQdGHGSJSlxp2Zob5bdWGRJNGgleHQyqVWOm+ZkfUeo9Jr5vip
GtS9ruDX5GDvk7Hs/MEFjW8pSvxev7TrufRtyEhQ3Dxoa/wYOnejtC5MO5gllP2Kzg3MJF4yq7ux
53SFpjHuMaGvWYXMOihkEVwP43dnyvrAAqcILcrcb5I4FIgF0cCyQOsBAGj14E2IpUsLfsZ14k3r
gokHiW00ec0M7LZ16GSAwOdJBMuKq7Jt+SN4LuPCRSQvIhB53NQaLgVW2mt+zjnAp6WzMqx5rXXT
68xpVCu0T8OBtRY9ssY4INcdUgbZMq3cq5geBg4YsW2AjBwezjCK27E4LbEZqhn6hchBkVHfikwt
LJJDxq0c7zmXj03ntl6LtTDQfkFIGzZ5BUsltuiqjlinRSOfgqS071oF7zvB6cvS2qoSuVYGfEPH
bU/2fJHUbjgX2j4Ryoio1j01oPEmBgLcUjJIerhOqOeVAe5uqJ25RuT0CN5aeG23mXYlCM49uLvA
1hCFsmRG0FrE6zKp3ga9f+HVPIL2Mf/aaJAv1jogLLRM+pwOHIkh1JGMbi1MREg6LrLe0BjHpGwf
iTPeipJEzdw+57KNKjmmeK98a9UKkRDVt0kBHeZUfyoc+mg77XGkECPBHrOA/E72KaDorBn9ah58
18k2XdJvYyMOSe5YXpaCJKiVYenqN6U5LxN7BFp2Xnb1/CL0aSWS/l6W6B/N9MdRaqlnTe5RWdwf
Kxht7i564ewN04aBdnyLG75AEV/JIZwlPQLJ4bVS/uhH3Y/zae+0TuRQ3BzhJHtNLXiloqQSdwrN
jZ4qWdT21Za7ThWwvg1HKpZVSVYx5VeqKB/zLf+4yTPLsFzcaKATepYPaaUqoNiNfIvdmqFsvHye
Fj8TIf/5bfw/yVt98/e0gPjbf+Hv39D43GVJKs/++rf7usJ//3X6nf/5mY+/8bford6/Vm/i/Ic+
/A6+9x/jBq/y9cNfQi4zOR37t266fRN9KX9+P57w9JP/rx/+x9vPb7mfmre//nj9DrBLkAnZZd8k
6j5//2z1/a8/AEMygQ9COv8/34/yj584TeOvPw7dK0/eLv/W26uQf/2hOfqfjk1cnYGcCYA195Qj
Um9//8j40wZ82nUd4CmA6zh1/fG6k+lffxDnT2hOuY7LcP+nSC7htwSuB3//yLTAreICa4c0ImPm
H//9fB/e06/39h8cd7Y641JgVj+pX3+leagFAAFhpuWeMJHIcpyX4925HtuizxxEzFKIkCgr6QLQ
sA1Q8gBEyxhqv0ZS2deMoQvUeKp0gXTRO2VWUM8KHQ2+1jb2g21BAaXogtiYlKfRHABqFyYuf6Ll
oivznSPtW8esX3Ne3VQUx9qthT928VOW6CvbGXABLN+GafSFk63QZf7iAghUugilZfzNcsQR+MPe
L3ITiQhn8oXE/RAE8HJythwKE9yCyq5khyZPwlbo0CfqZ5/JyaMmUBi5Free1VlP2Yy7hRzFwYyp
8GKhPZKueCAOKn4DbjhD7powMc5rfUrjIfh67Gr7dmqM9QjnQVMeZo59CzYPXxuySGMMLEcFjfJT
ntRyprcJoTlYLpLH0ewfFUNFsZlvqZ0cZZ+8zbZxX8v2kCq2Qy8pkkT9vI2Ju0RvwkOrJRGrzaBt
moVp9Atih3RuuV+A1YYU+FbZooSbE4DTB7Vk2NQO8P0qd+9o0i7oMEagdrxLrV06UE9mm7gKBUsP
daV8olZFnQfwOhyd0+70QroXwMAOquxWmjbskC+y8KrRuIh0J2KGpA0F154AydU9WstNRss1gqIy
fRtVGbcrlwzkmCsu5GYaVc9BKpWDRC/lK1bS+xLNELXXOkIsJk1fCFsjd7nbxnzfWNbMw9HqFnNj
dUASExHg1d3MifvDyNt7W4iMLRvdSqXXaT3xh86ClDFFFKV1A67OcXszluCNWZQlhLk3fQltzP9v
x37asRNx2/9ux0Lx7bX6mr3+bslOv/fflsz+0zVctIIS20KPOqj5f1ky9qdtWhSZcPRrAqPm4KN/
WDJT//OnaQFVBEP37E/BoH9YMnwEqihXR9+M6RoG/vxnLNnfKb0+WDKg/GFJKYFldIF0wUO8r+HF
1DbYWEhnGVs1K3Zj24FQW28zXPEmnkc5026bpPItpGCQ0pjKEJqy9TOpBqaHttBAGzLRpoN/bDSJ
Rkg2on41JIbkB2R0VIr6qUi/DWhI9qy57baORsVOQVgYxRNO18haaBBk7of6zbJ66NLrAsEU8KwZ
pFAgiDvYghxrPdF+xJoOnkLO2AvHXQzZ5KmCdpLJ/Lwr4ptSTPopqlC+k2eBgnhMzJoXQe1o6LNb
sLCvHdaDkFyMfqk9jLX5xWqMDZSebl1hO2HVNDeZwWwEtbgmIIO3cRJzASu2GBz6TVfdS9FBHcrh
QE9JtC9Mhh4RVlReLF3E74YKBHODfoxnLyVdNKlh0wDK7puGu0zbZJcN2uNAuxtRF6GD+Lfu0CKQ
g1NcxtmypQZaduWyTQa/c56sVPiNgTKTgbS1HGEs84k8pLhWGdOwFrRCEiBDxs4NnYpvtIFGJgK2
IBcO8Skd1zPqyXUbI6U5L4SLBFclCVLjXXtMXWDZy2HbtiyIabXQSnbom2yD6PCeT9l9bcb3SonG
z515O+XsvjGaZ12LBWR0FXoNrBWydIdcDHs6V0B5xTvdBjPaON5BZRhEqs2qHZGpHlj5bIrT6wFV
tTey6j62BTpqhhfHGlckQfJ7HPR1L/uQl+2B5PnazPmDno/fOmNmqz5vkZVz09vGct76yd3OMfLi
ySi2mTboK61Pnx06bJmFq7qjYssDNzQKkvPeaMdX8Os/Y663iQA1h2u9VjVVHmiURhQP/KxKVnDR
ICg146N1otIYXbqLq3gF1VLXK2iBW3H5QpLpyEgRpaq8I5q4MWO5VmzYdS0/trS+z820jdyE7brG
/RIPA/ERbH8nEKGcm6kNYqfCPSu2Ss+Iq0eUoKDVyPGuM4cCRDk7wi90iCeRqt/Fg4EEYwanEY5Z
kXJQWqNeBVBCTy0fNTSFKpy2pppkkSK4EsopQU+CM4eF3SBTomernM7ZrTnCCyPjOnk9yR6QNECH
vUHnJUnAKKfhyzzRlXcFCebp3iwjDVK0iT9zgyz6PH76v+xdWXPcNrP9Q5cuEAS3V5IznE3SaLWk
F5Yk21zBFVx//T20v1gjihlWnNdUJa5KXFITQKPRy+nTMhpa6ixoVnFSo+7b9bLjw43clMUAsi9A
bSuE4MwZjFdeaVY4NMg+o06iyelOrsTLYHJbmIqHfAQ/xtx8IjHikpzXqyJPYkcE7TVmiqlWmZPL
OECY2CD8jExjk+cMUSzvnb5idyhAIdbzgSPrKSIpMCCa7e0QM0yGRyhnoM7kSU99QzG+EdlTrh6o
CmA0UmUbpMV2CssOAC6utcp0JBpcNXmBuYmoK9KhcPzOrC0ygHOuxzh7DqbojcLLCG5ABdSCWWPa
Ems3Q8fWREvECsHbIRDE1mL9Cq7QqtKCr21ELyOj26dMsxuh2n1co/ldR/q2i+55D0Ry0twInb3V
RrPFPFocYLmXUlTPhmpEZWdvSdkVK56ljtZEDvXNDafRKuZ0JUrfaf0AoCQLEYet5pbRxO5Ao52U
G4UFtoQND4ttrpuvoESz0lzdpaJ30eXvmIOyJrQDZxho9CoSPicp30aluVEq79FMy1WSBHes7Rxq
lKFjCvUqKtRvOQx0QIx9VnQAUVcD2Jh0sJ8iSuO974KUYqWrEB7KgAkDF2Coth6Lr2pH77OUvwya
ucWorHXs6W4p9BsvBTtGhqY9pDSEujab/kYYrW/VerSmnXbsmmwfBuxZx2APq0vFK1LHyRF5dxTa
Av850FMPGdDwKi4779LwKs9RBA9h9zRxZD62u5SKZtWl0StvyVVG+ZvC2lVZaLVdRAEG+urKHhlU
0+66SrLbKhyOKkcGufAw29YbohIFgH4sp0q10yQ6xsYg7rVKEt+lcGhtVehrXqDCRZM+Q5IyK9ac
YDJJVeWF0xsiCVZ5Iv2CYfwX941U8n/vL128fAurLP3sLo0/9pe7pHyRdcR8ugyWMBW5JPzVX4Gf
8gXNsvpI34EgD+0Ap96Spo4tN4jwNDhHADqdOEvAQaLfGw4WaLd04584S/JPaMIHZwl9NUTWGIO7
RvGFE2fJN73CEEVcbsyOjGVqtFgVqNtL6HrpeK/cs1RJrbIge5TBhNUVBqhG0EJimSHmI0kRa/ZF
RH8ofoM+TLXDG5KzFcmzyEqKsfwjwAesoeINDJW5T8OWOook5TZA3je9EIVtGE130EBNZkVjppNL
5KYs+pWpR48U82XiILA8vU+cmgX5tkZp3C599RgRZCN1ktwzSUejcZbrdk/iFajsVi03Wyce4gcy
VEdm5neJIK8h17a9WYJzR8UjTsNh1+TDPojRoSaHHduVSfyoqK0bqb7ptHFyyXHj7K4IH2ojV+xu
LEpLlXlIFJbYPiZDlIp2DQ7x5z4qH8GI+FZq/bAqUVOyacgu0ZL/LPQS+9aU8phivWuBb7AIJlRL
vbYbjGZV8FZzowHpXF9TnIrhpmNC0zU1Qeik5699r3ZWR7xVEJmhZdQ18pLkBR7NmqPpwW59oCRD
VnhvEs06qbBCBp6pDhGgVXVZBxsUHxMS5rbiSbtWxNm6000QfHg0WBOh8JXaIOJNvQRhGKovge7d
9azvV13bDVuViOoiF/hpNUS6Wkv878TETBpgTyrL8LCBKUMBk8csv8wq/VvpVZdc8hOUxdvGUpGy
W3UNqn4dZiTgj0cv4Ot4qJHrRkNEjFqDB8K2xGiKFUjYb6icZEBlZhhZxzIbVDD3Ja1vMIZbtqW4
Sx2iFzt9qJBroznGusXaSpY19HkIxHwU+HcXPIkos2LO1FokA1qdzWpXKHLuaNQ7Bm27LgPlqYmV
+ziR3jQFKbaeaKsKqa1mH0TwHXcGyZA51eW6S5Aoxr78F0r+CiXPpsTWyYuffC8/m0aGH/vLNMpf
RqNoyIjRkFKAvXs3jfIXpLtUGECYR2TLTiJJan5B0xT+D9JpskoQMv42jvgrqslEN3X8vpE96B8Z
x5+zez7YRkOT8WUGxcx3UJtOYV0ai2STJ6rndlWg+0+Z36BxpJVNQC8qFTeWZhUUjsq3BjPR6ENz
UHz5itAAWjINH0NSgwZVKpA68XQdRz5wlpj9ukp4isEQUVBuUlO5LyLANGrMSJLUdMV49cBVBdiq
ZrAKmew5PDud06diqC9Qdl3zIb4yQWcYhqoGZAe8kpxzF+UAVJ4CuXF0UV3SlvZuwVHG8LWmOQbo
i22furDANZQCSdyxobstkxpFzTI1fcfMkmIXZ/BrO93T1rqGFLrOQOWoZE6H0dJukqWgEyvlG2Hy
Iw36LS3XanA59A3sEPDUF17hi//yL7/yyAZy8n/vTyBxG3++MePPnNwYBfcESv47VfyXM0FxmZA7
ZuAh0xToK+7ZexZZ0WTcCAreLobkDICSf2WRkbFhCpp3TR2907hv2j9xJ8BFhtzKyZVRCdqwdfR4
yoaG3BAZXZrT3Evg69Rvm0xxiyF4JLW6avR+06XAGItW2CrAOYJH1yw1crvwVGCC4jC2q7x25Lr6
EbbiuqXqRRDVTlkFmkVIsw7r/t7rq7cAg4NAC3aFecTPMRUHpUhBsoQEi+dl4GpXH/Eo5lavaG/a
oLyaUmbriGAGJBYYXv/OEzZQKkhPlMaDWhUPZg9IRzlchRS4oW5AV0mbHEicrhXJeCha+SEt2vse
7e1Zm299P3QaqV2RrnJomO8KHri0q4F+qQUe4i5uLcwgtvwSWDFFipE/Ka9RYbJkYfi22gqU9NuL
xpcwf1cgbImb/NooGAdkUXezzkPnIrXLIL41fDDne+mdKsNsBBUQjxXSJNW+CrJdjehwl3ZlbTe9
l9tdVCuOwYoNLbWXoKt6p5A5hnl4GjA0VWz13AexfGBe8bgv12VNXzFoqlx5urbGsPgbMNZ1N2kz
wOvAKLgi0p9CNd3oHTJSyMH0dq+NU1IFxrzAhIEys5IOwMaDVLU3H9NcekSa46kypEPZ0GNq4Hey
FLRlpLws2G7ofZAAoggb1pxcarlpecqbWVFLC6unsGi9I956FEzlGGXXSKzrgKR2mee+W7U9xlGG
w4pjGmaNqcjVoO7NNP1KqmGfluIRZdIXFZB8zG0GXKDV8rdEVbc99KenxjFJgfkh5VOWmehXU1AT
rVTDwwBkkOsjGgN0yMt2KqreQ9Zc17FeW1XWP1BoXVRWOdqS4WKAyfrWi4CP0vs2QK0YIEZB0psA
rNo2jF9mNxR5OW7QtVTp1wCFYgquYGn93UhR7gf60NfsQcAy4xfAU1xnnXKkwlCLtZcYCWgqOpUr
ey2qh1XEM4kA90X1lSwVnWeFSoSTi+uyeM4J4Ed9gpMrom9BjMnWpooxsmoP4+8ndbCRWB+Ctlkl
q14b8y2NsY8q5AI9D2gAKyuQObISL6wG+EtR2qCqock5cjF10u78EM4QALAq5pJEoEvegVPSG1xg
yopH1asBy01DYfR3HeFVZklSq3foH0iQgf+FZv4vbBy7cf7ezK9RLoyTcCZuHH/uL1PPvoxEnnBi
ED4i3GN4Bf4y9eoXCgIKE0l4GX9M0uwEzEtwWxRkv+kHU29+gXkHSwb+BDH6GIj+g4LhGBeeGHoG
lUAbnoLCJOJUeHETQ2+mXa5RoH2RNEU/hVa7iUfqA9CpaOEaqm2fGBLIlv18od9j/LWfxMK1Q91B
NfHQwfc7fV+Uum0I0QbASJBICZW3uH5s4WOdnAbe2N7P0tNi6OQR+7W2EcxPGMoYKhnr6G8vN2Hq
j5XT/xvqsouUtgWZivrY+U+t6F+SYh8l6et5OWiTm1mOiVor6vEyBmVMOyBC7hnAngfNRmkIpmrJ
dVwjYy/XQbthZiW++pokqJUDV/vae01yF+WcGE4fI0YDTFeF/5cqEgWNtcbZD05yeog6TVtXYF1H
R139zAOYXVDeUqCwlTi50NA0fxHpim34yQ+dk/RQImcKuihgPg99SL83UvWiAFKVVp3bhRFw1n53
q0UAy9aN/KIEHKhDAHpB3lxHb30pYjvViGqjKPgjpOTG95UrLy49S4qrH2pZg7AprdaIidHLSzW3
8PRNlqHtyFOPouarskFOm9d0lXjdBj0GTicZa49GF6A6R12l2VGluFB8BfhUFkZ2ViIOFmZn4X10
qzLap+kD6IK/lWm8J8DW23He7ose/K8lXjoSOCWr17CEjoLHicWhjlidWS0+0la5d8DXA4Hkq/02
yvvkIfLMvdkX/VPopyCkaBAr+0zpXWkEHvoDkQ8xAJhOGPXmZcZDhMEBa9YaJupscA0TzK0AA7Ms
SbKrEzEiinKAzUztGI5VYg2wPqq1ewI8uSV3CoIDkEpZqEwFuZrvUVu4x6Dt7qBSVKDh210BKuM7
tCUHxUBtQ6mLow54ocJDIDcH3rngfkeAzgdAnUCScsRz3uZXZd8XaArIfeNYaaS1q9g48Iyuu2SL
4OVarnTFikwVH2huEjV60wKartMGU+o1AJPWMhGvLOoeZCQNrcrgplXl8l3VgwpUjQFw1QbpCvWf
PUBNHYY4ejeZCoB5Xht3UZJ9pyp4DjI/JpdUi4AvNsP7No8He9Dl3B7qPl7HbSM5Wc2yVZqSo4dy
mGPgTbW9DlNMSV4IZFyrfq3EBorvbbLr9cbcMJFcUVk8yzEx1yFneI+joFqLSInXWj08iiQJlWPU
VOxrVOqXuAl3iRflNuI5+S2rtSCHipblIYxl5SDhJlpB44s9BoFcybBWlzqGt16hHYUCDd8sdOv8
pGH4YK6gUCqDNQYUCGXyMfY9tSReRPSyAvX4JslxLHlktUXrFEoBRPMxSG/lQrKS+qlm/uq8ZfnY
JgQwx0+5BgAlijzGwxMz6cVpo3RwbDYDf46bh/Hp71vMN5FBZf90XtSMCVNBeww+JJD0UIbi7Ycl
AsknkIfP643p1YecNhYRfKPXd/9OysQkg74f/SQJpKCOY9UEY0S4k5VLlBQ/QS4fzktD3Ri5UFkG
hyeQOpOmycggPmpnnthEBJ5Pnnk/UtY4rZFlax/4TbnGtOmAVontBRJz4zoG/VHb7Xslu/253v88
ozEi/HvP6CJLy3Gqzif4FX7qL78IaIGRH48BxSaDu/ndK6JfTOAOVBUE/Cj9/8wm/RUAq1/A0A3u
KsqQjR1hTu8BMEOiCSyqgB9gbA2QAfRfeEUYBkI05IrU8cPwCVOEHZdyFSmRunVTRXY8Hx3KorMa
eVcSVJP6bdbRBVdlctE/CZyk7zG5IR2YVLVuXqF6FouVohZ7ILg3+qCsJF5vT05jxjOaGrRf8nTd
wIuGGB9Vy4+3HXzujUcAJHQbTX7NYp9ZviEM2+D9mkTVXSViV47IZVWCyQXD4L6dFz9xzH5JN2BM
4fzBOf7Z83zimKlFlxohH1eLKmlvSDvO0u9Nlm9L0ZQLOztalBNT8EnW1OIADyJoiKMMq/6OixKj
hIqF+SlLIqDLp68DkCJp6ylYTiBgXOoeOT1AWxc85hkhYLfGXA8DA09AHj0RkvpI+vM2at1eRbaS
hWVtmSgTnj+Yn5wsk90atUFh49Q3+on9P63TeMjQBOMG4CMCeh5UA41hVQGxG+UijzAGnYAvWOts
v9UsRUUh/aAW4AtprRI9/GQ4MPogwl2u/A/J9QGQeurLT6lsxnP88GX04yaT1hM+KiOtq4TElbQ3
D2Uswg9Jvze6W/OlfXpCqYfG1UrFIDmE/82V7oPAKUzkuwh4jjhol5iV5jcLubMRhzvipCZHomdG
JrWAX7gxi+xG96x+uKEGkhvMCcPNYFyEGFgjyD4PLtVERm8JwO1w9HhwyFiA8Y36mFgC29/b+UOc
hHS/durks8bbd3K74IygKEO1xkVbXcsqB5PKvks93Cf9RQMNaQI+i/MCp0xanyROntsEWBe4uWbj
AvHnNEZ2BU/I0qXMSk0BkI+EeQ4Y2wNvENYWHYiugebSINsL/6Vrr7xoF4lvQSGvpO4uY+k2KeJ1
0Cyq9mjSPqk2QyiNQBC5zamDk/mJVAam2rhRV2+SWkV3FRri6UbRn1AFWJs9s2IAk6QYY9Tlhe7r
mcuLYSUmLB1qEADWTcxt0deNhLemdhsaH5CuXBc6W2C9WRIxuR8xRTvhgI45tw9MTJEKkSuLmHF9
/qSVz+8U9k6FxiNFjfkryD180K2Im1LDCLpdepvYhWVa/obYylqz+QbZqx1YFjfFvW8FTmg/9Q7o
7NedbaeWZ1GQNse30pFs6k2wK6178H8vGa/Pij8eLMpM8CrgwRqT+4hZMbWehRhZ5z0nyJRt24tw
hx7sFTBS69aRV9o6c7RN7norbXV+X6bz+nADIBrzw/CiySj0Tye2AMXiBZ7XVm6g+rceD6JLZAli
O2wU4P50eq01g6sBuAF6SFQ6iz2a1FXU3j2wIIbYQCXCdSGVjfhwLw3d0jieceEfVR8cxAxbA4eG
IRc12RgAEsc4H62gvsjsjr4USHIbUriwCVPW93ETDFkbK4Cjb6b/zJKcGB68XgVB25dwtYt0a+yU
N9UJr5w9KuWH6gJKcYXpxbeo5K6IQ/fSzt/6d8beWHiMZ1ybj18xMX9lNSRVyvAVvF95ieXtOsMa
54AFtvYG3CIK+OfP/vPFYwYF9oIaKi7Gp1GsFJPeQI6oCreTnsOW2zV7PS9gDC6np3cqYOIbmq0c
AbSAXmnZuOq1S5HVaGR9igfM3mWgSWECsPslZrWZe24gt6gB04LKLapOH+85BuXE6C0jwlWoPeby
5XWL9tTQYplzfnGzu3ciaGK2EsmUVI8MOC1g+/MUMBGUE86L+Oxt4oBORCgf15LFRWEaFCJkpL+N
PreC/Eikq3DJ01zas3GpJ+pftwgb5FFOrnS7RJZXAeku0ix+ieJo2wi2MJ537lKfLmtyqasUBNZD
jCMqYvjoHgASV318f37rlpY0uUu1CjgbmJqwJPMeKTf0TQXyBaU2/3peztJaxu842brEN3w/H9Wt
Lo8GqEVS/SCCh/MyltRgco04q3spCyCjFNEqUNJL8Is6oU5uajk4nBe1tG2TdFHgk8Gra2wb/FEg
kxInlOEg1okt1SgqVgubN6WI+ml3AeIf6WuQv/mU7dAT9FcryrgytOvUjgBZhOSCjNCKrPvENYjV
01W+RKE+e3Hx1lLA11CImMYjgRxTP0lGqySTuzqKV+ioe/6DbTwRMdG+MGOl2XpoMB7QWkdBgQBC
YXQG+5eJVi2YoVkFPBE1UUBQjZdKISBKbsBfF3lWlVzHGEx5fkGzlvxEykQF2y4LtcSEFLgnCcYj
C4QGNjkg2WbWTt6756XNKvyJtKkWZugCq1tICxXDUfS7kVgo4tRO49V5QbPq/i5oSmaU+UCat60i
3Ni89YC+Y4gaGVBzPrPNaMnLmHHykLX4rXcjQvODqQBRArqWsKr4QQ7B0HTdbbynlIPZQF44rSVJ
k6cpbUIzaEwsyyjsbgC/hbarCo5OZDATeJHtl0tD3WcPbHxt4UjBlZpGKJhf4yloOIO1bXobkZDF
veeKBk6mL+QSZld2ImjyUlU6N+OaYw8734mzfX4c4K/JKE2vF9njZs3Eiajx4p1Y9t6ouAc8P5Rw
7HaQv6NE8ydX90TCxEoUhq51WonFGJ2yMqvbsTtkqBdUfNY+nAiZ2Ad/wBRsMIoLt4kOaJtGsea2
QXfw+Xu0tFcT8+B1Usz8CHY89FQbKAYkA5cmxC6tY2oTkDxK+wDrCKlu5zWIqwBES9fn17GgxwzF
8NMzN5sQKp5DiOZ3VtQFEMRXQQeyyuLmvKRZg/p+LFM+WT/OJTAbQLsAd1gnBrc4u5Pqb2W+R5SG
Thdq9UtDWxd2kE2sQmCQutF6HFIDCvZo8MDBEIKgii4Es/O6wFD0GwdFoq78cQ+DRDOjtISYhB9E
exA8WVC2+UN6FzBZB7qryiIA8Rn6NYAUTC+q/tgN17qxcHGW1jFxvrWM1aUuQYxRlDYdDFtdjFXm
V4IYjKLa8xneGYcGuDRS0OU0aNQRebWWwSoHcjKjXwgt59fyW9D0neNDnsdV00HbMH1Y8541f8Fv
XBIwOfRI8UOWly02K+m3edvvKU3uz9+YefV9X8P02EWXh5zjPIR3T+va0fntgFrmHwhBKkDDv4Ak
Tud9gEGtlQXHiWRmY8m52yfg0TcXcmqfMYp4I5Fr+C1lYss8Pxoy9O0JF7SN1aZI6tc05T0MZ3nb
4GFryqxwpEFeG7kpWX1nrtBsufIEWiN1VtkSQ4U9aIYLjXPtTy7v+5dNDWAWo/coYzjHQf2mh3cl
fTy/v7Maj0ItAXJn7PsYD/nkUY0JOspCrRFuEN2gOz8eLgGZDOU/ubonUsavOJHSR57mlRVW0ZS5
1VHFklDmPr+QWUfkRMTkWQ2o1qMPBAvxCFoV62SdYr5Uj0Z+vURHwyWpFphEZy/YibzJC9tluRTS
VAiM3bzPVZR/vfCPjv79aCZKqeVqijI7VqQqGgDYFz2qauf3bPYGAxmma6ieIpc9MRIE0xwCTrXR
SABP01xy/6Vv1/9OxsRK5EHgp6oHGYlhrNCyCKBks2qGfzhz+VfgagJYgY4q0MFPx7lXAqO1UYpH
2J+jHqKAGE5borWfksFPZfxMF55ocWjoZVxxyEADEMbk5G/8EljLy5E0uL003NpWH6Xb5Epz6JWv
WNUh3lZvA1+FtnltlE7s7P4hXfqnD5qcXwkETdzW+CAAa0oxOIBYAedZLZzgXEYa6YDfe/sTInGy
bgxCMsX4NLqlwzEk5iv/Htu6S9YA8lzqoDxavYSOcQmipHhB8qxPhnYLZCJQ2tX1yZ1Ws0jRggJh
k/csgWOTgDvVWe0aZinZgqTZ23wiaXKbZWPQA7VACoLEyl2cZi96J+7OX4TZ0PZExOQ6I0jKW3A7
CbeSjgAir4BWAt/kAY3gGGK1lEmev9m/d86Y+M2GIXSUViDMKL2bUEoRuJO7hi3FtQvbNq3h9LCC
6LAdt616wYYBh/1HFup9Hcrk4Si6qsg1rAONfpeRFB9YrEgW48XD+cNZ2q9xoScq3vW114sWchIB
MkutAl3Utq9+nBeytFvjR5wICcI8a4kEIQ3Y6poqsMylEXxLy9A+SlADFfR4Oi6MjidDjZ5GSq9Y
fvt3y5jcykjSMWJvPBMw4Vgp/wH2t/MCZqrhcMfer8rY6XW6UUCgJ0PLIUHCuFi0QVjda3AFGMkm
dYY9/nPrZtQyXWHXKP0Jq1Ld8x+wcFWNyVWlnDbomYFad/0RLd7olrS6VuxA9mP5ANieF7agFebk
qmZSUHe5Mj6Q3kXKXgD7PP/7F3TiM/Av7GlXQSdYelSxnV3mWUO+IGRUrE+FpfcTMyevfGf6SUBz
nFja7eMYTGLgjALf+UJQM1sWPFGM6TjhoR1UrQ0gBuOEL6tN76pWf0Muwwf6YLjlmv4wnryDL4GW
0ALJ4ouy6jebWxXVunohYpj1Nk/WO7EXIvONthw1lIubEiywIcYYs8EaQH4Rlxd6ugQQWVKSycUW
Gihiigga6QMbE4LTjqcLGfLZYqeCfjCDAYFC5Ck1vkgHYBpKLIlhSIIKPWkkm3lXYXZAt4GlxdcG
9ayiWtjIuat2KnWysEExfPQEQSoI9frOiYiDXJhi2HzpxJYEjX9/YnxNveF5JkNQhwxlA+rMUFSv
IDUCg0vHnVTNfpy/dnMacrqwiQ2L6JCSJoE8ch0dQDiW5o7IdjmxoyWjv7SyibWKY4z9iX0YkMDY
Nmi3TjfoqTM1cKI455e0IGjsTDndwqolKnjAoYShB44RA012CkBUnRjHong3om4WVHJhC6fTY9K4
H8p21EipcnMD3a3g+c+FfNvL3z0erU0eLHgbc7fs5Mym0IsirjBHTccCZS2zVb21+nJBwpwxPpUw
sRtprQ/Ci8ezCu5b8DnLKlBOkbI6f1DK6PhPzfGpmMmtqtqCU2kUo+Cc7OSu+CE7xFadasNcvrtL
b/2L/GVYKbscNHR2eAECnav0mN3n+/hQH7Lb5L7cBfGC+syvHY2goDVEvDmFauYJq73Cw0Pk54MN
T8XBuDVLqxfu3fwZvkuZ7LDec4WDIBFK0zJA219NpVs4w/lr8C5hXOeJJdGFFuiSAQkKeDwR3GUO
2PxQeINKnj/GKfb8Z3yHlMzvHZscI2KQCn3okAQ+7i0NPAw5Y5jwh66/NE1uuNKD41h3qzTYD0b6
0LPawjDPhVObi8FOv2FiN9HDlUUAkSLPMWxSUAYTqwCBtx2rB1AFL7hCs5HmqbCJ0cxJowVminR/
tuq2+ldxpzhsVegrsHJI19IuB3vNjXLUrwy7/3p+r5fUZmJEpbBRWV9jmRLYcXIhLjw1WoDVLej/
dMLgoPR4EMYXwST0u4ScjA2W4GMl9c3CNo5q8fn2/1ab6TRB6kdeGPijgmbqtgBfClG+oUl8lQab
85u2tKKJ1ydlKsUQHWxaMQxWxl+bpLUZ3/47IcrH60Y8jPTSKmxbAAqV7gelgH/9j5HjbyHB8y8N
uCNUpDnAIzFJpHhRavboAoH7+uaBvBkENS2o+e1MXfVswXosiZrsmSjKwh8wqsPlGA+v6N84aPvQ
77WVa7bLAkwG0BY0W55X7ffFTTawMhBeyDIkijV9Id/zu3wN8jDd0m3tEeDhJEZ/txV8/5NTexc6
McPhMCQYFziqhuTZsTw4vHsg6YL+zVvidyETSwx4MKlwoCOmaAs6ugosXr1VKLDH7h+sBu0jyJUC
m0enTVutXDRVNpbQagUQ9vBCRZs8H8KFezt7UO9Spv6V6qUt+GrGeiDAhkb+bMoL+zWDfAcWYGzK
0mFjAMUbN/Tk6Yo9Q2CMh467tM0emE3v803mpg5/Zna4clc1uLNX3X0lLPlPLvGJ4PFWnAguZUxs
zWIIzjFnppaGLR3qS5+0t39yTr/XN7V8JCG8kcGq5pqJt4+U9ICptYhn2NN5MdNZ078e5vfl/ESx
nyxHZE0dkdHClmuxlQ9Awm4Gt3YwW+6qXjizWRt7Impye8MkHLSOgQTKzMujJFX7rIue024xDTH7
aICoRlOAckB74uQuST3JK6Dd8c6XNzwLbRaC6MF/9OmSAZxXQtCw6qDQBtB5ml1pakzAa0NIouj7
cJ7XqD1gIEe6wSich0sCpFlxldwrT9/KaOF+zW7lu+BppoUWYVYFTdC7bV2vhIymBlAPDn+CEUUn
EiXIV8sj98pHVZc5BwVp1iHwMzDjr70wKtVSB0x2av7kTgGDPdap4TRNgbVcbkuMuUBpNMzk1dDG
biJrWyn0F8TMKsaJmMmD5WdxqYGmFfmpuvymIClQD5j4lRF6QYLyD8riyomsibJz1OQFSE4xywnT
KcxkwDyh7+ev7uyTwTQT2HpUe0GX8PF0mFKpmJqE01GG0gL3KHAXmV2RYzTcddx3zgubrSsDtD1e
KfAGQPU+SkuVbKiFhLpnPagB5nHBce5FsDazobTLId+nXZ3bYGKNLPSaHNWSYVwFBkYE5kj3jc54
v5TdsATFJziS/+i1+f1tCplE832rVlVb49ukDLO9gos0Chbu26zmYPrh+NKgU2WK6yxkiRpSJsa9
7iJrMDqxCZLS7Ur9Fq6wsaCn837Oibjxc06MMsXQH7ByYkGG2+725mN51W26TWwbV94VdcQFOJjP
H++sPTkRODndXAvaAjx48BqjHuMKr8IEG9kuYLNnnQIV9NWmijII6mAfV1V4XV70GVZFPHjylSZ2
RZ8svDGzCXcAqXAtMGsAVNwT/3doSwyQGsrxPVPeOqe9LOzqOwaOPWEW+rZ2yFrYoLEv782t7iwV
oWcXeCJ7Yl8wxxG5da2AQ1x9o6EyDgBbuIazengiYbKFKW1jI1CxulT+gRmUdjK89nK+omIhlzmr
D5h+BtphbKY+JYfrAY6NA8z+cgcf3Gs9eIFcP/oTZJ/yLmSKHDI6U0gyg9K1xQ+O4bbV/R8oNfqV
8Q9aoAEK+ahvpKyKUC0zHEcY2Ky5kMBzXCzhzGd3CvSnRIE/CkGTqzrytHdqVMMu0usQE1ErIVsD
6gbnl/JZs0ZUg4LLA4obglaej0tp66QA5na0P6y+RlZhxxTt9ryIz6oFEehPUtBGjkOZvsFgOmFy
peDIYyRG6k4Hp6+JARD3QvXt85I+bxkkQbc00EeAW2f6cHlGToNAw7l3BC+JnoDN8r4HzuG8lNn1
vEtRJo9CM/itnke4jENlWiXqoFL3Q+C1lPq7fydocjZ6hvCpkbBx4IDGWBuna76xBKTh9PW8nIVt
UybWhflpVPLxgFSQ0/Jum3LhBMmCgVkSMiriycuDstSQyCl2zSROwWIQoexSXywIGX/Jx6zOBwVQ
xo84ERJ3oMjzAihAHG7V9HpYdI9n0o0fJUyuPibSVH4V4b50nK7VzrsuzReQ3lsYytpk9EKwCDPc
2GHIgsFGg+KLoQV3509rpgiFT1BVWR7bH0FqPFEL8ARiakgfI0Dtw68g2r/sQEg7ROYlhl5tmJTu
MLrKt3o/3fCyuTkvfO4UwRKqo6kRvgru2McNlpRekUbCWFcyXgf2klMJibMFJ2XuEE9lTAyfDn5h
TEYdgwNTeog6cZmn3fW/W8bkFGW4lFFfjWEBEJPU23AtsFW64KjP2Ql0ZYKmWpXRpzi1e5FE49Cn
DdaRJDdSEF+hZXU1lMWx5Hm9YPlm9+xE1uQKgzdeTZMKaqmFnVUqVyx/PL9jY/JherPGaSMjP6WB
7stJTECCvAhNH69RyMgzhtM9yi17UoSRghe6eAiU6A1kQAul7Flle5c5NbR1TBo5GLCoqtBD25Pr
vdKw214Dl/L5xc3tHghOxpQFCD9BA/RRqwEvwiyiAIIaFhxoaF74Xriwf7Mi0LQKBlJ0mmjTSxsK
tUi6EDZWL66Z972Snv5gCSe/f6IA5RBhpCMoRtyAISwq4mNRqF/PixiPeKoCQNlij+AuYLLDRAVy
NcQEtwYqwJvkQuQSplbKIN8lhh2CxrooyyeVEPBF+AuXdX7rfsudenOdxkuvHY26BGVDd7HvLxUD
5hTtZGXTJice+EWT/zTqPsgtg9AJssEGJ5lzfgN/ptY+7yBomSmgeghTJnrW9XnASwxIdVubrP6f
tOtsjhtXtr+IVYwg+RUkh5OkUbTCF5ZkycwJYMSvf4e+961HNN+wVq82uMreVRNAd6PR4RzdyzDZ
uY9f86vwynSAQeOXO8PJtuSQnoqr5Aq8h2sjT4tbqSKTjS5m3TLnncxNUGSKFuADLPkUg9xZSd8v
L3HhNQ+gxDMJM+c9gHymINM1j8zYDhDtPkm9rPasm+Bo0XpDthiJb8KddR35lyUvnuGZ4Nne9rXa
Smo+7S0gnEn8U7f9Cid5Wcj0Q/46wDMhk5c8iy+yjODCGAuUCcydUK6lSrgq2RlM0ICIFae0GGpg
9g4RrWrirMBU90XYIMdyLgmsKG7UOz5olZsWJKG6KoHARstBgc4+mDUAYguDmsI6RbGy07VqDQpm
WWcmFipE1MCPmoUbcheGAVB3kduCcaQcDBn2w+VdXboo0cv2j4SZ7xrKsRpFiF3tyB1Q+hxg4XCd
oedkLZ2zJmi2o1y1JdCvQJCVeboRAro79zQ0YQF64xv38fmSpk09U5R2KC2L6RnCRAMYzvwuWnsb
rJ3KLBCL+8As0w5L6Yt4Q9L0oeLW2oT9moyZLatxMIIRDCcPkhyAPFsxzQzQwl4+/EW71TSMNQMr
Bk/Q2a0CfEFR1XmCi6s/aJV+pXStg0mZlVBicSl/pMzb0kHVkKA2gJgZlBKg/wtPrbXWkbmykL8w
vqw6SIFDhRBs8HKtnOCxoVjNymW4qMJnC5nZShGXDUsnKYMARBoYcQJd9m0QQjJAdV8+mbU9m1kL
sFMsHpQ4/ol6mSTGqdW070RFZ6uZPuHMTADnnEfydCwme+jMjWbeXF6CuuiwzwTMzCQyos7SSwiw
XqX7wB+97gHEU4NLbg38GyTlj+ouPPY/jVvDP4Jj3EUxdmN8ikfJXUt0r23nzJowxhiPaYRPacqr
MOlovzoHtaaBsysQNAuayGWYUhletWCQ6YC8I3/LhyLDAnOVZdDwzIQkUVWZ2hTDMHGtlu+tfSWb
V4m9Yq/Lav5HyuyiVeKwV9u4wtupe5PEZ9tuVUulYbm7rB/LO/ZHzMz54AYNwcOJqLwGhXN1TINT
En9cFrF87P+ImE8ZqInNgYGPlYRiTCnPlSutj/79nDGirj+HMs/imQMAeBjIRkEfDm5D5MAt6ZZZ
a5HAyqFYM9/TALQUmHlT4ivYdzUa8/h9aHwEPF1xPIunAq5L4L+C9xflwa9eQQnVaLDBZOfn5c8x
AVE8GOlq4V4+l+XwCmg76OOFGv+FrRUHWi9VUxolkfSrMgZ2r6qEkdNWaNDJJYA7t4pBowI08GrW
eRpP3hKw3wAwB5B8lz9lcb1I8OKvqbgw75yQw0iMw/QlTfSuxq+N5nfjdxztHxF/tU2MEtdjOUb2
jYDMwbZo0/3rzi2o4JmEWZgIoK7CClM4n06RHMJ/EI4SU2GvnNriVmGbFNRfEBLPu08TuWKtjQq/
j4oajbEeHlyBTuY7azmTMtn02bUUhoJUeRjCx/HG4xYoyuto1+R33zj2MykzNR+Ktu7Rm8PRfIEe
yX3UfoR44V6WMTmwvx4sZzJml84AlGPQUWC/dO1W1byw+IztbZcDf7SUMLw9gtpgrbF20eGdiZxd
EEaqZ2YeY/PCJjvUhulWZHy7vKqF3pIJjv+PGsyuB2BcKJ1URFBntXODytwNjbjJgLm2z0KQPed9
5oZ57+YS+uRt6ySZ2ndKDRY4YH4zfwOKfqbuWQ94ihyJcp/IVxWQvjUT/GXBdxzhmZCZw2XgClNt
ZJv9SPlAO74LtkjRZ/7lzVw2qT8rmYV5VUnQJSFNQgpkH9DRrNge68P/p5SZSaVKB+5eGT49FOBX
uW+VY9WstMIvK96fhczsSUdhRhMlFsLMdyT50Aq/lidc26qZNamZ1tujAglJ3LtWdi1LGfh0+YrN
LksBWrBhE90EYcVX76NrHVpGBQwolm5McRg6DOvKa8OPi3c5SKX/K2Te56PwfBhQysBm6T8TjAK1
iuzFRurY/VpybVESyKsBFzGRaMx7faK2i4YggSStf7JUAPlg7tfKwUUDioPLmrwmaeYVkjiINQEC
ZT9lN0Q5GCylhg7SgZWg8XcT8l9O1QQGFxDiAR00L4JovItVocGpor1npNpGcwv3lL6KA0iTXHjZ
DHPPlNH71E0+i3BfrpTQF/UcgNzYTkThmOT+qh9Ek2Q8/HFvxCCPxhPqEJvFSkOFuijDUlBChZsF
DefMlpB2EpKRQkYvJwXt25rsQsIoaFdvVC31ScmeGi2rnLSOH0hsPJg9hikxcuogN+jxWH8OQ9Aq
pbGC2jj/CTBlpFWTX4EebgOpTjw1kzlFRwXfoh16ZTJy0XzOPn3SkrPLG7iAvRxDt30D+Hmqft2P
T6TL3cuqtrw/oDxB2K2hsj2z0SRW21LOTI5nd/fQBtlGtf89dAisBX7qvyLm1Q82KmjpLiGiCm4x
ukDrdo+g5FvrQM+MAtYxdGPMLutIx0F3qcH9ARhpKSwzXCtMTD/hL2OxkXCGr0GL5l9cLQAlUosQ
TyxJdqP8IYkBYpvdCuWFo3n88qGsiZrZf8QiiYsRTy1RR16dto+yBbQyuzh1Xejysf+OHdrgmUJ3
BvKi864jicRqPiYIAcYSs9DsfXXrFpXsTMD052eaDNgR1WYZXnVS4xThaxn+uLxfi5Zy9vNnRp6U
oQzAeiwgzu+ragBigK+EH5dlrK1hZo1G0PVSmSFPaRbDuxhK327llXt/0e2fLWOmw02UFn07pY/j
7i0DDSQqoQBRVWiR/pdf8f8cgViTNFOwmCRDkHEEMWjDoJaOn1+n3TVTe68Dy9dKGLC2czMXk4c6
57aGZan8rgDNWbraS7+ynDluDliwtbq0ISFhbm2PvqVeR5WyQcPnZR1Ytst/DGVeQRB53bX5pAOS
nbqBBPL321pSPbDIoRz+rcc0aJ6By6liEGFeaDVNboMWAMLCHAjnKpXrbcDWMhRLOwfiCwMeDU7T
0GZnk6htbRgtLMcW1yK23QynP6IChNfpyt6tSJqfkZkLG7zBUDm0hNOEeWa5t0CBWn9ePqJJc+de
+mxB8yMaA2002woLGgxwMiUy+8Hb5qSrnce4tgMrzm7Q1bvLMpeXBgwxkKGBbGdejASopNzKOcI1
E2wfqch2BWj84rE48WhzWdKSo8NYigZqXBPQzvPHGnBAW9YMWF1ihp8CLIVkLH5V6hrm/e9Q9q9d
1LCaqUwGap+ZJzJBAJXIAle2McaY8soYOLVD/V4f0lfOevPQRiN3EqVtb/G1L1XEDx2Xf6mFogDs
CQ3OQmte7CI9FoHtgVXwDul3k5bwoTQD1kZj5cALSLUXRQ8OFu82SZcftIBkmyzNPDhZJ+rGazSm
XWlGvC+UfHASycZkW6jubKHdJmOCp1d5BM9oTkE4+sxKG/zkaCvsU1QwtQC8ZXZYbFqeeyOQTCkI
fA6mFoMgHKAOsQI2RUSkV0JVj3prgPa6jsFcJaUtzYb8JOJoJQuzqB+YNFPQL4Hq4DzXU1SEleAx
RozF913RUzO+VcU9qdfKXIvacSZnds1iDLjJDBJwPzPfRX7bTqxv+poP/N169pdunEmZXbZAux1B
NwkpLFSPQLPwDBHs+kLak5i5tjHu7RxQfUknnSou+SA52TJ7KKkRYei/iiuvGpS9kpsHA/xolWQc
rBa0qZaq656RZw6xIg/8rIjQTWUD/qxjWah+EQU/EiM+Nkq4t2U0neQlo0lGAE8c9T+zkI9UhuX7
l41t6d7CiMw/xzYd61nUYoZphrwIji0VPbiS931HVnziooSpWQdsNsT6izWl5KoFdBVE+CNnr6Ww
0JOEasc3VnEmQ/26iooUE8MDVjGyn4LEyGiu3SFLt6J9JmH2jBMgzOLDAAnCuFOL9yyoP3kFEBWR
PCrxd27Fc2EzHe87wGYmFbYs11RXVoP9GDAP7Mbu5V1bW9NMyUdT6jBPAjFBDVS5fGsJ8KCI98iQ
N4XyHad+tn8zZxvA/RqFhaeLqEMA8oFoJdpraEr6/61odtOTCkQ0oYVTUvJUO4688LNBBhKpbNCi
Cku0Pekrpa9l7YZiG+gRIhhbmmmePARVkENigQovUThIALaX17To8NB+/78SZsqgjlJugvmW+2V6
D7zTujgaaxnaNREzReisLhJKCBGsOCXWqxVslPL98ioWcxS4Ff5ZxszR9IYWEdZhoxo1C8HsLP0i
KiYwwDS9VfTiFVyVLjGzPXqbUSXIfJbFHkeXbEL0jYZOE5sQ5o2GCV6lYBep8nWgJ8+2OjA6aM2j
xepHWQ6vGFFXznfRRn7jdE4Qqhjv+3q+eWXAxCWFo+ZdOA2apIKNjKuaDRkdlTUjWVQmAh0FZxKa
DslMmZQcsMkV17k/3eklqLPRK3T5GIzF0BEjimA7+Q8VzNf1NKWiJj2oxn1gjRQYkgpusrg7sj7f
94gpnQYVOA+d+Q4rMuayoH1X4qih6C0RHsuq91grj22lvYyirahsZfs87cCOGVeHsTH3TS5+AQPk
iZfhc8or7lVFfxjifidsSQELt6ZQRQ2Ug93zyinHlFMtL0G+PJBdBpZvu5Afq4b5oFRXaRGQu8RO
5G3DktIdhtzcNUOIkZ162IK0DEPLvTVSI89BJFPxN7kNHjKmR5h8q64Lohx7Ow3Acz74BWiXJIaR
bTXxsph5VQe62JVdxabNogUcl4VWQdyjBi7Tr5sqooktD5SJPtFBzwDgDDnUvUjaXZaycHSYA8Ys
E/j9UGmdFx4lI1dKG+9MnxO8X9rXhiBvCaYxTGuAwLwDT/tKSLfoFkwd9C3T+A+omL8uC8kuqy0K
gthAL9ym/8jCwdXWEoATLeF88yaWY+RlQKtm4A34VcrQKAK/i80LkrLbKH2oOnUIIMFUvlJqbu51
vXmqmjR1OqbQTu0RfgVur1aVy6MmdIQo3sNcfVXqJtxyUgtaSNUNuuxee8m6NcBhSSuz6RyhmRsu
MABkW5tIlcBsa42BV5fWLgG1VpvZThgUG3RO74NOu6m13L98eouOBJXQif9HxfnNbDtqqy5BjhpI
PJieLVTk1ZKfur4TI/GbbMXZKosndyZsdmdoOapbRQUrB9bvKc3DJyE3gZv0Ek2j+MOsJOJg3Ld3
hdQdw0FzO4W7fdK9FD0CJ6trLWDAsLWE38ILYZp/wLCAjfybNX+1tlUTtmC0QXVT3utoLG3bU97X
bhSt2Mmkln9Z45kc9atCiaQodV5NN43U3YW9Hji6RJ6qOtmbIJgyomjKgzuVUq7VThY0GW4A1F/o
HzGwyNk1ildmq3Qx7GUIh6eqUrZmv8ZNuSZidosOMddzYsNYKusT8ehEzOpd1tMF1YGXMZBkxgyE
+hdjU2n3ck8YLjz8+B9dIwnHjIcctIbd/1fS5O/Onh6hmoLjVxm435pRBa7z4TE18TzlgdSvaMSi
5uFSNcEMj+TFHAmgZQpukgQHI1umR+qi3gypxXZZawEzBPb4fHkLFx21pk7+DFgA8J1fFwa4ikEx
Mo37mMR2gV6pU5v0jZMRDezaptPL+VOuwJldlrqo9tNcsoWOdTjSWaQC5BA9yHMcnD3cD0rn1vyo
EOYoE/P3m9L87NNvtHcQPOmhKwQ4qEgNfV2nSaKyHwbBfVCWfrSRuTcl20mF+Z3TOxMzs+cmAiMx
GPsQ1HeoRUXPfYWXd1ZsDLFybouqfyZodm52gOF0JiCoD3O/qrcxTzzJeLl8TIsWfCZk5pqHkOWJ
Zsvcl+rCM8bqqLTNSsPFwlWDKU1kzmRMM4F5c6YJAWvTXE4hQg2byqlE1dJYjx+kUQPtuto/hjZq
gd9Y1ZnImS0zZkWKHmProiC+Vdr4ipVrg2YLKBuoboLse+KSQ3pwPqEF2u1AaEkLddPGLWPs1ANy
xc1A/OpJtvXSBLV1CFororXU3BplfErCwRt498q4dF2m0JoqChVwsFsBuDfNpz5cm7lZ3HjMGRMd
vfcmMtpfDQJsFVUrC1y7yHdvCDqRyIgeNQx7NVSL0o4CjqRccdcL/FbTrvwjc1547EG6kGQRzL4b
NpZ+4KYMwg0Mse16+UFtX3nxWvU3XeZFbe9IIdl849xxX8gIR220+MxUbTBg+maGFQu7+0iGbAtM
9jUMw0XvTdA/hvQYOv/mlbtOLnie9RzRtZa5dXhXlcLT2xiYWd9xNGeCZqYpGXFeZ3bH/RAwwCx4
GMsruXohbFjx1It+xtSmKMjWMQY4U5NG0/Isa7AgwNjvldAYaCyUI3oy5BWrXNRHRNYAGycWRrpn
pzPKRWIHokLqwECzkKk4qnrIwIPWGoqj6U+XVWEBrQKaeCZt5gNsu815W2FZnfVepNetwV1N5zv0
0/4OUwr1gdubqgNWza8yDGkYpN64Ri63uLUWfB7GfsC7Np/CIWarC1Th8GQZDcdip1hhwM7/99jq
WOmZlJmipGM8kqKAosRor9VK/VjmgAO5vJ1LZ4d3F8otMp4MQK/96kuaDi/BOIFHlYBcS0o/0TIn
SzpXyXYmhoUvC1vaNoyZIeBDMWRqTf4qDLEx0asWZizFKIVYvQekg86xqxVvsWTJQAMDPBWa0cFv
P1N8Lat1jlwjYkuzcngpgI/LkAK4D1cx6RYXpIFeFCAjeJn/hl0+iy3VMrTjPmHIaJXdbW9YQK7g
1xH27vK+TYcwf2rgxY/OIlD9ybiUvu6bhBREyOwS4bgRU7xwqb0KfbiAIIlzOZMxU4RYDXCbqzWe
TYPkCwXYEoPGNuiE9/AOEDSVRblpjCQ4jar4hTHCkdoyuL9tHbzjCAkLbHLwTFRyyiu2N414ZQuW
BtzxfTaI1y0bofX8WkayCFUPgWu56myXjLHTlJUPlB+MPIHWESTbO3D/Oqs8Wov2gTmkCd1LIfb8
NcnbopTtGiecSSB7TyRPQSOXGQdeg3ULeUVzJ83866DR7D213QAbdB7qFlEvp11VoFaYEu2QagMG
JnPmdF3jxKPkIM9l7M02vB8la0XyoltV8G4B4hIqa3iRfdUxIWCwbZziiiUjPIFuGidJkh9iDcO1
RBOvCDiAEjix0WNmYUrpjZue2V7S4SkPL3jdNWvgEItaD/iRCcBHw6HPrhUQlPOYGBHCnIw8KRmA
eElz/w3DOhMxc0i6aADFhTFipNUxwzhW5ludRd53ZGABgGfAtaVP3urMR/BuQLaDQUZffyCrnsTf
WsOfnz/bpjFRTb3QJcD1ZSFCPwdYfit3xKKXs0B9iDemYpjzO4LkIgQ6IFbQRPlH0tovdRa/NQr/
uLxRS24bDKoTzCI4spGk+rpRSDtqyoBqpG+AIzjqcaMijYoXZRFb7mVJC7BNFjAL/hFFZsnAnDCS
lzJE/Uhp8oDU8PNreIg2hhc8cBfDMtcone/4ze1aZ93STiIoN1C4NoB7M5+4yOF/q0AjzMfspBEJ
2oJ0nNn/HhjKmkCIAFiJ2wItfDNTRi1KlvJBZXDjNwZ/Y6tsb0uWeS5g9lTuJDkkqJAzXxFPBrSu
KleelmsCZhdeoqhRqbYQgNdGlvW0GF8ua8CyAIAoasDgB0vOzPCLTJZr2xTAVIt0Wvc7U9dXjGb6
CXNXjtQWriygIyDLOTN7vWa90Lqe+aOqurn6UqRXIr1F4sQJ2KmQjH+fRMfj7I+4mfGQpJPNEnUq
3y4scJYaCL5/IVBeuSUWtw0OQEfGCcM087hXSEXFa81ivqTjrmWNQ4K1JtolL2CiwX2iVDNhpDPl
lUVeVsEIEb1xGMKSxtLOLgF0uTrIbC6dEEI29GoDtQYMjzNJoRHLahhDB2wgxXlKUfWUjwDKYeZJ
saWbspOfu1bZjE1+XwT9Vg3yA0B2PlCJOmha5mlt5aVgzUajZNZsStmqaKEMB2kwaCcJ46gm5cR2
B+ZNVdkwRCq5NDqCifekkt/7yr7mXBxrMErQTDc+Ky29U7nhpnbxbBTmHfjmf8QmkPeKornhprGz
ilzxLJFtx6I9jVHtMl06kDpwlByhGmtOLNedJAIGqWBe1OX3LNTflShVaGPkG7kQNUa84oLahfai
2xh1T4o3fSgebXQfybHpjcTw0PqPsfEYt2HvBkXtAVByV7J0k4X1MWp6Bi4G/baXjE1fd0dVbjRa
m8lAW1tIK9azpAXIaZoyUVDn+iu3iUePrARVy/BGTqncvgbcohNwk4Wex8ueYEkSUAzw8sFDgeCu
/HrrNCxu9EivmF9zZNLVhIZy44yMu7q+Rvf5mzFm7hNs2UKHvqyZqHfNvI6MSZQqV1B6lCq0DKA/
q0KVsQqjq4BLNE8jj9dA/6gr31DETgw6jRm7R8OvMxL7NGDco0cfAJrmhxBVuHYD/tANycFa0Y5I
vSnFTWDlGym23iIm/yAWL1Cvsz+Vtjhwhf8ESPsRqZWtnpd7yex31mBiukdDjjP4paW2Y1mAVqhy
/jyGKrr76/4gkuoGDOpbgIFG+5qR6Fqgb9fB4yOnIVG2qtZ/II2fU6ksiadLFQrurDYoRyMOVaPq
M+xq4yYbwh+FHHtRIq4sVGTp0CbowzVF4uEVvR1z5UHt2Wc/KBgBEUlIk0bsaqn9NZTJT9aUN1lR
4uMkTwzNSyiKwOvL3kNYTqjCgo8sq0HSLDcP3IpcM21ATQItL2QLVAm6fJTNxs2yoHMya7gTReKB
hcmkLAWq6GU9WnKN52c7hfZnYZ6l6xVXBc42lV+j4ThKD5d//lKvGMFoiYb8DEBL0VD4VUBTZ7AW
zhgGYKMHwAaph9RQHoiabEa8z8DBu6lj4agd25cyO1RJudUsPFOicivKesezzm852xiBdi0Fyga3
92OaJjt7HH/gtt1h/vjBBK1Wkvf3TZJv09G+LpPqLor4LpQ1OkjiOLaozgf9TVtZP7CV/uUFfjVE
XMLIuaJZAJ2zeN4Z5rysVWWhieFADcmBkXhxwmhq3AMI/Sq0N5cFLZWCv+zk9CVnR1WWwOFNtRqB
JmXuQfcB2OfCabuDK3scLA2lkzuGZzrl8QmEfUB0dhWf0beI9tvtuA03t7a7SuCw9PI7P93Z/a2p
LGyHgSMydLnXufE297JN7psedwkGhypqOOUmdjPnY62ZeAkO4ct2zLxSKnQFiJLYDnvbuGRPbrOd
9DM8ECf1MCmxS33JMa/VnXxqQVyo0u72sXLCxvnVHyT38sks2tAfFZ8HrgVyEKnCsQlWL2iHMoKU
riVFF/MIKJaZyKZMoF7z5HmE4Sbwz0LGaJtoskGTU1dL+7bJnrOoQu5cBK9JisdHPpg/s7xea/Bb
XCIiDvSuaog95lastX1XRAybLZO4RAmhDalG1qhHlheJIVYZf2PKZg6zPpAkLXN7ggzO0QLAiXZl
xnwrbAxANLxwai0+CR2wQeYAr5ANw7+ftrIUdNujD3N6vs8Ja4qIkEzXxtpHSgb0qJGjkNYxW3Pl
Zf3VYwChVEUjzJmYaa/P7BjdD3mQpxDT5YHpIHG0aVF6cLRCkr0u01axlxZs9Iu8mQfmo5r2A7Ij
fuPKoXPStvaTXG0e0CJie7TxzNRFYkQQRz6km+qxXhs0+a2as/DhXP78VLNukKUkgPznq5penU4P
O0Gp/3l3fDp63j0I2yLq/LrFk3bFKqfX1lyujpgfSTB9ynXOXssREv8NqPBqkB+g+OPbB8v5gWS7
8yOnV5xyx/D9z9Nr7A2U3vWu/4lCA/3saEf94cdII/qiOInH6Lana9xkS8U6C6kogqowtA0vkq8q
oMrZNGCKT0vp4cdhcF9fdyE1vaen6z1ztiv7oC7tg6UC6Rnpa8x5zBylqWHvcw5hYpNT3UcDEVWd
3htcxX2P3M65f6toQulAOTbg4e7zSXhvjL5497cIepyfCe3p/n77sdZfu2QGoH3857NmkQczgD+d
dPisXva05g0lKyChZ+rT5dUvpC5wR/8jZT4bLLRSjZsRUizzXrVHJ47fzGrl2b90M38RMp3AmUUL
KU3sPmhr0BSqfut1u3fi1E7iBu5n7nSUEomWjz4mHwDKI9PI2yfeSH8V+9zdp5vCv23pWjl4wV9/
+aJZJqK2OEav4772zeoqUk2A4629Cn6b7V/mdbazMzeWkqgdQxM7iyBkdN5N+lxCg3QPWD2UeZ3z
9J/r/y3ybPfH5UNdQub7sryZS7PAoWSnXVf7w7O9Sff49b29Kh+tk77RG5pvVEq2ZBWWbymW/SJ2
FoFpHG8xNI/ggrjKMxrcGhiXxgHvxV69sW66Q7O1doan3FXb2EfHnE9cdjBv5W3ySO5qPD5QfD+A
oWnbUnlr79ZwhpYgGb983syrNEJHcx7D50n3YpMeEAfR1A9u0it83c739vfhJnrtXtVDu11rw17Z
GnSyfTWBnKTNECWQfYBL6x2TEofjH4UCvYImruQMNISLEYhTJa91Ewo7wF/bR2nf+LgBRsq3H7eX
1eSyEaAO//WbJBCZMSKgoZghooMC3iNkEy6LWOAInxJx/+tf8ED+KiPozd7uC6xb3euO4mobc9P6
ClZ5J92FNdWBpg9TZ4+Vn1AHHDVY6AfxfqVu5V/+kqVb/vxDZl4+0/IuCRUsFhBquNxyh7gVfVxj
6P7diPl/Wz0e3l/Xm+tFgGrXf6z+anQ+Pg7Przl9fpad02azewUzKrVc3KIFPb68eRn9iV+O1/f3
W/djv3K8y7fon73/HU6eud1RlyTCNXwLc3+cakjm0LGQ3g0OgXyLqvSWb1cGpZcKjucHPofG0/QQ
JdVJqEanx5fq6M7d50/i+gXVHIQL7ZrEpRvM0HQFHe9okQFO0NcdjypS1XILgSJTN711IyO1WLNv
DI5ZmPTTkeVHhfsvKDSWyb1ljNBjPYxCT4Qg29WselMnysrIwJJRTsOmWBJKon/VEixix7Ai3JWs
7t8lormqhIG9y7aA6h82ZaamqOOi9gduW6Rl50W4DMxqAozbDKPaEtv1gQJnmBTRfdB3+qYYh2PZ
FuiYT44FGVtPiWtg7EcFgAkq/Vmrreewbrwh6vwYKbWNomf7UAmcpsUIY9VKym0dS6YfDClCQ4Hx
6UADoXuvozvf7ccQ4BG9cgpMda9MfVRSOYS0K4cXVQFtjxTjsrfza8nGNElTRrJwEi2+DVvDqYN4
04xg8A5j9EyolU4zk92wsA+OwIt+SqzirqqbzpeFXYNdJSueYsvYJUzeyCx8HDNcvPh/WBYW1AzV
t6aw8Cc62t/7AGMElc2cYMgyoKNwJ7IBjyAZxUHo8rXNwJaQRIfYqN6YpdM2QPF8TE+6HCk7kcrt
AWhY8ckgUr3TK9NJGnYElUROlUS4QaK3vpTzkpYl+kUDDky4QY0dken3GVNcaewfWqnb9WbgsjCP
97bUPrVh9JrIeJMb/aEE0D3VbXGFTUOurDT2wpavRNWGYKNIEjrw4irCq5OiyH+TCcD5l02tImUm
Spo2zYNIrX1hlu9stB6KuGnoGOvWZojT+0Qo5say4+PYEJT9Sd/TVNVAB9JFJxtt9RiiKN1sRKZN
SAIQrUnoEauWNloy6vh9O7zWzC4CU5XMy0PNxsLVGJJwpl09YNLpSSn5qcxT9PRlTiTrGxM5QAuN
rHaFmch43A4k3WE05kTawW3U5LrvNbftCtdOUpcYyJYMyR6dEw21G2VrCMtJhsq1pOw6jDrZwamL
a1BzJNCoIXM1Er91NoIOqcBQ81VfqSntVekYtnZKNWFpKNM28m1kRtG2AlyzF9ts3AAvq6HAU899
BIM/AJr2aEn2thZBRGE0ezImvaswsouT5Aeq4phk4dF7agz3Uhff5VAWN2xkTMoC6whL057DoN9I
InxseN46Ied3io5UKwZqkYTF6J8cO4rFPVI1iROR7MbqUPyWolMhY0C+r686M31BwO81vR+knVvI
5RZh6keel2/AZ/GUpP8k0vA8QkXQ81XuyzpEjosV9xnGmTad2DW6ClQfW79FEjqhba49krpsPMNG
n3eKBnOnlDvPbPo9D8fORU/esdD4cawVN5TqVxKRU1tr12nc7JsaoxChxj5TpbwDH3WBTKEGkJeq
fB6rwEf/pHCqRsheYsPSOzl9VzlonY1q29v2vqnILa8aLFXTNqTIR8fW048oqV4LLdgpar7rrHyf
x/W91eUJ5Zi1SbNyP5ilp+ctstRI5ALxLYo3g9XvRS7tZXQuwCDzexRAW8dg0380ZFcs720qTBb6
QN/3iyB8IgYmiqLITrc2YQetBp1ZnbOj3jcxBTDRi2T3TivXVGLZVk4DEE2V/Kiakomv4NfIutyH
SRRsSFQH6FqPRiAs1pUjjcZJjazfCFB+haZJCgoVL0m1RzVONujpH2luRxtAbEQ0tCugp4ZXydja
t4mRcNqyOKNCxXB4M6XRFe1k49g3sZphUs5MwfamVy6pk8TRE1BP4l3SUhJGvzQ2npLEeiyQsFcl
tQdRT3XgoXUqR3T/clu+j2LUUUC10XliBNdKpT1qqvTY6TChKh4ydEoFB0lUMW1q8KQDLqWDNWm7
pgEVgtwYtsOCVKYGAICcWI8edCXA3YlRYpBygzAbI7eYWmu1FyNvByfrB9VF0qDziz6/rpoh2Ji1
Al4M7VqV5GfDUl/+h70vW47c1rL9lQ6/001wxo32eeCYg1KZmkt6YUglFWeCBAlOX38XVeW2RGVk
dp1+7QiH7SoNSBLAxsbeayAQ34EZhThwnj2EJUKLqY3jmsRW7PR9XvtdkageUsJmsMsptysiPNyT
YG8+TlMGy1RNoGsVs/ZJE0VlPGZjqudOWdJG3jJTDLbSJUXzoxj6hK8khafpXSVo0rqdglQyKyaP
VtUqHktHHqrHzmgLPywPJtz0aJ7JPu0BHDMLBSlYoWmBVpshrp796CAS6n7X65qfaNDLm0t4hVBW
oR5fDZYE8l5frKtw6N0+EqnDk+qqxGeA55vkyDx1LDH6XanvYaZwlVQx+LaaA5HO0R7zDPJQRN7W
A1sNEl8BYX8Z53HQm63qhBK7CZVMs+Fo90PrYGOTNjgKs0y97cfpURnKINHbLYNYctjWHrBiaVCU
k+QxCt+WLv3RJyAHQPkIfhYkubD0AvgdmWzDEURSI1PgUBxdmXXmi7p60EW1tbRuo823XUNFvybP
Stm12ByVi6SHvr/yokhxDEZNj9tHVB3MDnhn0C0v0zF7i6L+tpTqq4KV+1gqIwcs/dXQVc95Dl8s
ZbyWDM2NDWvV6vi1CUUtZcqujdrcK/1wURfVKss4gCz66NJyeq07BP9quCVGdgAEyw9z5Zsu6B77
NLqI6bAVOrSO8YITpzHENbyC/ciS1kUHBQPF6An4eLIa2VKrWwEzKo7tVY5YHjpKCGS6InNDsRpR
K6Qm0Li5JK1LKBU6RVoQR9czsesb/Hg6e1pkY5au4MS9K1LAMAkt4MKY17Gbh7SFf2rrpIWs76hV
SW5rJoo3FfCxilv9coxBKtTUA0v1H5XOwQvib2OsuFZrfg8jHJ9mfwG8ww6o1pXajL4Uxd6kI9iS
ApoPJhU3uBvZVUv9LtYi2GWTqwHOhRH2dZaPu7SGUUDMfMWiG3mCRqkqHDSLXroSZtBwdGWl9pwJ
fg+sE9zcxirdlHGuBySvI2+ksXLJE9rstFzmODnh5KB3fPJYbSKLaK0ZcDiUkt9HxlXG+MQvAMoq
nEEfjPKb1VQhtaUJpt7QOkw5X02YTKRl+puBvqrN6jBych7D5lNWc2hNcIQbDY3y01nqkQIYhQ8v
pKSAd9GVJaxUh5ZlbZUERcBYckA19yayocx0rOSc2O3nKwSuK7oK4AMAcsB0wPBmCam2uiQRUA2B
AnEo3AZHZ5jxTZWcM255JyP+k3W/j6OA7qKBWaGoXzmYdIy1sedAHeqNPEtqSH6Uqo1nlfqNlJi6
3Y5i9JTBpOtICpt70QDoXKfNOoebBHAZ0yEzB5xILA/M0NBs3HtuWmZCynpMr2mh7ONKexTKiBNH
6q9HJd4ws7gsAQ9HZKG2GM3UyVqsaJKyyhFUbBmSBRzqKH4ZynjgaDqmGri6SL5fwqod0Z8tfU2H
VlQaIbNTLARzoyU7nHcweScM1hJqoEiq7DYG2cAS7EVH6CniWg5MJZLdUkDkoDZ7dRuxELZpleGg
Hb7lCfdZLK6FEJDv60xXbceXAkIoeCJBbKFZWLZj7SJ9vYTCwFPCisuxVWVbybLMniKQjOu6CW0Q
qC5lAT641GqXJYnWoE1dV43q6UZ5jh91ZIl8amMuSluoao2VjKtB0BDNJlN4JQMaXFiG+ztr/n2F
ALoEQhQghfBQW3KBTTi00X4mAXLN6/rc56EH/C7Qzr8n+P51oEXtJ0ELDkV2tGUncVOWrxSdj9NP
8vmFvXdxqAzgG/wgAcUxrcULg9xgohiNUQdk5F6tPdSAFtWhf3oQ7cht+eModP76hxKHrudaUwO1
BrUfU3dwb3qIBzBSoVPNdzJD4gkHRXckwlUyM8ZWkDd1x1FmNJN9mSMxH9MmtnFv8Duiu7kwnbqo
L7Ux2ugd+mhslvCR630PuyVcmSaXd3EE50d+DxvPe6pSBz5JyEYn30p1RzWZyzLyDIRHYUPxMuhS
jqQsHu+mie3ZBGa3yXJ9VWc1EBfUUXpzV8T56J1+J59f/M+ZRSOSoEEHpBWwqZ9fSZIMag6qDegF
TeJDogjXBMCtyN3pUT6/eIwCeT8Zdr5oMUOe8kudSy6gDS7r0KqqMmDE1bf+XDv/y2PMA8A8CTrT
qOpAHfzzY0h1leIUxABlhqjV7ROOhMs6Iyc3F/2+BmR0jBV40X6lq07Q1wyHAuj4KWd2x/dyUtt5
ipsPNPslKq/D/Nvp1/blqXQQ0EAS/3vARRVy0rVO7WbcORwkcL+6kXr4u5hn6ztnHmtRhIxLY9JF
NI/CL0YNCOgUd6K2OLPDF+3o95X28WHetVM/bL5KxKkpQ9gzqCvVh4CPW6peXaKF08vBEN7E7LqX
fIG68ul3+LmS+3XYBcCv03pJFgKTFtJuZZSZr8YXhDEH4Rms8BfCnsuBnXnWz/WyX2Ni7kz0IlFj
XHKAEyWVuAoMQwD8lYU70eAqg7pJW8ku8xyWaMmZKuDn3OfreIvo2Vh92bczE0muc0eqDSfOM6ce
iR2H59AZR16nCtovCIfzRvsibQmsY2FNBRgYWlS9wZH5kBn0lUj5g1bKpaMP2T3IdasqpWe6govy
9Pszfhp4EbvLilZjLYEDpe/7++qWXMjASW7VVbviHsRDt80t7ibZN2MrtsWZKvWR1wvIOyBXsLl7
97j7HFyyss7Dpp65emVjKxwiD9YjMJAkSdzTa/XcQItjFnYkSOv5ALIetmDU3GmpcavH3BnL+Aw4
48tIi3i5iCypAubaAAfFYCy3REyuUAyIvB6gPHXmkY5G/g+BeRFcCs4VncsYiMIkiEWw8r4//c4W
nVMsjM+PsowryCqUSE0R+pmHYpjbe9QGwdEm28JpV8j9AJ1C18g1fO4oK1QuXcM7/Qm+ROnFB1hE
mEiqsNfV2f0uxmVwxmY23zJczU+P8uXweR8FYqYoBkOqYBlTeKimdawq8KuxIE2SXlllbvfdbV8/
Voxt5XN0zuPz9s9w8wL6EK1DKdU6ZgIvSFXUg9LbzLw+/TxfYuTieRYntkiNulb0VqDwnzgqJA7L
FM560VVY9DYBovn0aItu7q9VArEjoERAT4Xr8OfnaaOQ8RKOLoFw0FbwwkD25p4qVkmQobtMAu3b
cxdwR16VTujpZ3bBse0GzuPMd6QzWXSxC0qVtgloZdCMwwkeas2qRk65msxKrCZND04/67H1+GGw
JVKnQFujhQvcbEAg2aR7Yygahf3r6UG+xmPM38dRFqu+DpXcKCp4mI4BcCCXY27zdRPcpj7fotVi
V8+iszd38vYc0OXYwpx5najYAKwN3fjPEymmroTODgxaab/NG8OBDPKZtXJuhMXSt1CtZkRqRBAp
NAGsuXvtauN3M7v57X14isXqH1RpbISgs8i+YZsNR1l2cOrpHLH36LL/OM4yzqNSUTGwB4L4wnrS
9/HB9AsPnbnYb7ehz1ff44duAw8br9tZkV0OzrmNd3QxfnjQxcrXIzIppJUhumsaF23fQ3s/egDG
9d+ZM0AcQQ21LP2L6UbMG150TdIFShIHSZrdptM5cs3RZQESKOjE4Eh/0fZPxkpNo1kTux0PUfSQ
Gr9n1fQzRBFtvsYArWl9Ue9v1TA0kxproqOAwySbOi4cazyTKh7ft7oClDpBUvNFn16ZwtqwNJxW
khWgeAn2yVV+E66NQ+j3fvmcXo8X1Wa6a/Yo1f0bk4SmONrUFII/iB6fty4rrL43GxxhOQ2MCHWz
/vfw9z9fIfyEICkP9DjM3RbBwRQtZ71hICiF1o2aMdi1pucMEI4dXB/HWISHdEARkox4inIdH6xN
uEm2kBW6UwHWZsBOpcAwJc7gaN9Ht7zOV4qt13YF2NK4Elv5jJH0sd318bMswgj4Hy2FOp4IGo4u
YGsFAyhGtVWdGYbMieenmy/C1cdxFmHEzCSO/qgGU6UoDy8yHU9iTCspLR+TgW0E6R/GqdjUugQE
riT2rQnsNFXbczfVYzkQagjQ28L1G9O8mF5NGCNV0kig05GvhfKja+/z+m4yXkS1Es3N6RPu3GCL
ee71eGhokYqAo4tgGGgCqorTkNrh42ZQUIFHkfv0iMeyBKiOoERqUAsQW/Xz/ii1VIhcRc5FVG+A
rHFCfqjVVgNR5vQ47zYkX6bTBHaVGibMV95PjQ/JHUQOR6MATSYQGyWQN+W6WocbcVUHcODdamv1
slpV3uCMvr5Bs8CBUuam3OU7cjj9OY6u3g8fY151Hz6GIdc9ZCeQuTfhg0je4mRvsHPPenwMwOxB
qAdmbSkDwWTCWkPBkkmLYiUKtMKGp4TU7uknOTZzEAqaBfcgDor1+flJJJOgzadh5sYMjnREAR0u
BsrB6B/QvzuzGY+OBdU3VNFQr/siJS5yaSj4kAlk5i2U5b5T+NAlOrAB5N9JhCCLjnFQnIQcwGK7
CVaZ5hgDt2NCvpMDfAfcyOn3duxM/TjCYo8BDqELo8EeI2P4Q2JoslH6b0UNvCjk/ejWKHRJ8dQZ
KlwNyUVg8LRy0rIPWMcCBZYjlj68Fira7RE3vp9+siOzhBoyWjewasLSW2b8xSTSrGRoWVAFsvmy
Tr/xMkscyRpvkxp5+enRjrzHj6MtU36WRdjmMR4xqu8HlgEb+3h6gCPb6NMAi6NbSJBmaNBvCWqO
2vVYoAfU9EXjQIDqTJJw5Hj9NNIiKFBrIKTOmAiEggmDCgmShBYtPQXMSEv6N3KuT6MtQm4ulUVp
Ie4GVAsPcgZqnFLdSsk5zZujqwF2baAbYdt+CbhYeIqZJwUumOCU9uZhTHK3Klc5ZKJPz9PRhWCg
CQrcIfCry3AHzn+pWbxHMaRhkPDZlM3r6QGOLgSoDeL0hbDvF32GvEBzFNAWXC6B1OtTaTux7I4p
IBv8/jh4V8AiElSNv8SeordK8FMR5VqjeC4m3dHN9qIx2Nls7sgxb830EDQ/YDTxZWrqgWZpV6Gb
a8qQFOutonVqURQ7wCIguQIOIFe/UQMSDeqQ3sYEYDyTV6C7ZGgcQUH5ImuGzlZUiN+hwvA97q2X
opMvScWRfJoQUTH7YnT1KXJNNV7LRr4GRMxVAXuyrOJQtpnTqsShMvCGAMlcpiK/qaEWAqWiYdP2
1i0tk3VDtT30jw2UfXp0ayP5ArW7u9wKX+EPWtqYEwB1J+OA9XcNhxPgtuSDSEo3N2O3aojTk8Yr
Se5qw/ikgBtlgiaKm4GnmOMIhwfltZ4ASTKb1BkzdLRpDM1pubtWdebp+jS6fQ/MiMKciMRe1YZr
TZNSh+Xg1Cadl1fTI4+Sy3CkzgThFPh8YQg+SelTasI1qlYK2yrNVdqWhT11MnMl7GTUWh8HrkEA
NrZglierTmPRQwPYhW2Y0m1cqGIlgdDlcsYSG7BReQcthXw9tdJ3Kw/LrVJRA9gQ7srD+GoY5new
7KFB0aFJEhXbkJMbtTV2fAL0K8J31yiIJyoEPxVk5Lz01ZLv2sLCRFiBzCa/HKxtoWuH2U0jtJhb
E9WGEL5piwRAPaB7hjwGnmS6iy2SOxTY8LXcWpkdNwSQQ1Nc8qZYobX9Wk7tbioFmijJtmfaSjHF
NVPVCzZlL3rqZYwFdatuuhSNjj7iO8kK3UGwR472J7TjGy+POSwdTGA1myF+yKtyL9WRBhym1Nqi
BnCJwvGYGSB8K+21BextaHT3VKuv9Z7uek2YGykDXkBUsOtLieR2KjJJXlNw+QvPLNpvA++3GSWo
YocdwioVVzEMccYEKll9DPCnDphS1R0spvthRh4lzYB/plgraXVJTfZDScRKtYpXK7We+6Yt3FmJ
MZfIphvVTW5oDm5g20RTVtJIPb2efIlTp1A7gMfoLTiVl9CwR7FvTHat1d0ksLdIhhZ2F8mtCVyb
ySxHF5KXRLrLDOIyNvyos3jVydY9PBe4U6F5YhbjJY3GDaQtZDstK69Al70CpE+buoeM5AcoUrq6
ztwOKuODNVyKkoJ3FZm1AxlYx+D9KzTdHIjDV+thnALF6nJ06elandN82Sw3hlYAgglmpZ1kVLdz
AIpyAbRa2HDhqBF50o0udZOwuQPD8proaeWBgbXrR7j8yD27lSv6VikChTFVRbtXl38UeuNnRFsb
kX7B667CpFNINljZnaA4R/OM7BmExnlZP0W5ltpak/rMCuH6kNPSK8S0mcrOLUZIbp0OtEeOJlQb
0M+EJA3gEXRxtatrGjFFRYEeIhhOU+t+JG1U9QZc5DNdlHdDosWt49NIi1JQXEq0GDKUYPsraUX2
WmAF2oaA9ANQMGgtM7lr+5bbwfcA7JZA+N8fahe4cadxO/tg2AY4COkKnFnco8mjciarPnKuffhw
QLt/zuCBOkXpZ3aiosUjU7e5BJxIc+awOXI4fxpjkUTJslpY0Xw4T4SmTlN1dlEL88x8nhtkkT8J
XY/ENPfJEK1sYV1o2u8p0L8XWX6WsVVYBBNlyV7OSiiS6R0qvzAHsnN9q0b7qfNOr8qj0zGXyn+N
sbgYhBGU2OUaY6hGFkzVN6uOfSqfE9E+N8ri2qbxGuWqGe1WdUMwVs9dQoCu+3H6UY5tMFC8AdRB
UDHA+F6sLLUHFouhYC2gpNftBSRW1IysEhFenR7oWCbzcaB5ZXy4TpdKDTdjmHMFHcS/VGQWortN
qwdDf62gLmWQ59PDHUnUwbrFvQIeAUT9wqGvW4paPHw1AokY3mTuOyCC5UsTBWU0qE4PdWxNQ/YV
gkDAB2HBLeZJEqUaJSIDWUOHxq1lJD8qAOH/d2Ms4uAYJ7mZUCScyEoBtqmAib3+342wiH+mAsPb
KsFTqGYO0dL6MgmNc8SjM29qqWlWFQPuwYYkglwohzE0g0xtz7SOj22aD5OxvE7HTS40yqMOVsed
DynAvYUtChWYM8McW15wBlZxawKkEyC3z6s5lDKpzBM8ScWHHYMopa2p0YMlCpzEueFXSXJmAbwr
1C7PJ7QPsEmBuoHA8CI8JyHlVaGGIuhHC7JHo5I7vIpqp4vQnymSgu0jFcj2jHbQItOlzGYkXme6
tI0beRUb/LpgoTOF0i6O8PeGtNH68FpLlBWRKELxZP1IqFXbWQ/dTrPofKTTPhR5g6pVLxpVw5Ui
Yq4y1QaQS8qejOpFmRIgIpVeto2CP5UGQN9SYwWnl+Wx+PTxsRcHRp1VaZMOeNFa0jpDlq0B2Haz
gqCNfSYSAh+CSTv1ipexMKk5i7iKE1AFbQBIVvTprbjBG2tROe5GYDrJsAJ62lMg32pXk2EXiuLl
0KJR2iqIWbMyhXyh6tqTaUZ+yvvRrqTKgzL0DtdVd8SVJVWtvYU7yVBehFG6gqqRr5uqNymjU1Xl
BvrWhWtorR9P0wYRDNjqCMm2nsZ+LOA6DPy5iKyV1shBb1UXLTgwU13pq7asYjtsZ0xrhWtJ2eUr
bUz9fmhdc2zgQcemyz4dHo3SDMAeCwCN3SXWsM4VcQvgoeIY9ZADIIMsi1bd5PQx2RVtpoI/AJc3
AF1B2Cfge/P+OZqkLbgfli2DSQKCB3f6mbkBRup1RidHUqkd5imYDvH1bC7at9SOM8umElCMdbRK
LbI1SnndZJOjDXxLs+a1lOHlJ2cq1qQWNFrt6lV0aCxxGHpjA119lIxGthYi3UVq/13WAe7u6ati
Rft6GO6GrBwdOSvO5Z4L75CfqYSCU96cvRdn2Z/PmxwIeRCrBpwheA1B7xF3ZlkPzlvitbYZ8KvE
Db3Tq/3oCvxnRHOR58nIyiH+gn6kWq8s6Uf9e6LQfz/RTP6E6DAU8hZhC6oRVaz26EANEXjZCUTq
5WrDFG39+48xK7QCTgDM4xcHRDERaOHNGHQ4J43WsLUk/Uz8XagC/ErzPgwxv8kP6QREV820lJCt
om0MDYKLMKivIYTuauv0fvQfh/vpOffOqVYqx+YHZ/wsu69DjW95ukiESaGIeQvxh3GjbLJr1Ydz
k1v6iddttdfOrrzeT25pYPnaKt1Ia7GqV+fgGsc/xD93okW+wUeTlQ1HDk0KspviLOi6c9Tvo6/3
Q/q01NLXIX3QMxntZGuXz135zbTiK1DJ9rIP0olT+ONKPzRnJvVoivhPzqYujriet0pRy1g2EFiE
SM20TyzFzTOw98zMuGBV9k1A/+33l6o2++0awO9hvS5eZsQqApDkfCEZXgy0z4b2jOrlV2TpLJD+
YYRF6ka6KJXbHGvGmJ4Uo9Vtucp9HCJBOUzbXiruuF7f1BLz4Jv1+/XWT0MvAljStGMvU4STlqMa
lBToamfSuUGOZVzomisog0LdBpKYn3ciywFbtWpEyVaH0g5wNTkLwIY6PU3HB0FDEAk2hEqXqp4p
oJ5VCDnHmb9mxwaqx/h/ltZnVsN7k3+ZAsz+DX+PswgrRcl5VeU67lxgUR8A+H9RA2sffpe3IKCs
Tj/TsdTm41iLFxeWcZnyuW2NfzlM3UURfLn57QiI2emBFlrCP4Plx5HmT/IhWAK4YQzQMcXG2lfC
Yc/ETw/987RWH6K15jKn9Nd2OgCGaIKH554e/NjM6dCwJbMuE25ji01txrQtUo6xGZFBQVvP7oUw
TzjziMfy8Y+jKJ+fUAU/LKMhRgnHZCslPTKzRvHBcl+B5YDS51k4zLEBTQpTAkgdAuy1bFLj3DPh
HdiOAR7uSauxXACec1UC1vaQPWNKzon1HlstHwdcPGEr6VUN2UHsAFK4nAwBkPmdTXqIwkXnrFSO
PxyukugI6TBRWsSNwpILDv1mjMV2VXgXpW+yGSTxVimfTi+OhaT7z5X53nb6OdJSsgmEFAWWiXgq
stf31W3+2B30B/NyCrQbyx6eQsnpz+y6Y4eMJUPaGrUOZOLLtjHTohbFeQl1iI7aY4c6tzk6nern
mgV+9Avc0c8E4WMb4OOAi803lOHUyyV6/DBrtmev5EYbbEsLTr/Jc6PMU/phi0NwQOKGZOEck5pL
GH37UdL6qIqfGebYyvj4MIvDDK4AtOdmiJVRgSHNnES5SCF9g46UGV6ffqJ3aPTnWAzLj1ltB5Ie
ALYt+WM1VGEzrcjHAEgCqmbOBLqnXhcuMROn0IpdNymQ9YbkJdRVpZq7YCXZNDnQHnLZkJZAgXvd
tRSqBBpE76BSNZ7jQH7dkp8/4GJLxhmkQC24CwQSADdjfCMgayxlsznnmSX0NeMDpghxBgknxX/N
5eTqPfYjSJ1B09xXxlNEfz98zqAl6BSio2Sip7kI0s1AavhKYsMP8R1k7ACnaF0FNCL4wjtl9Evb
/j+/D/8vemOHn3PY/Ou/8OfvrBp5EsXt4o//umUF/vmv+Wf++3s+/8S/gjd2+Vy8Nctv+vQz+L2/
xnWf2+dPf/DKFnJvV+KNj9dvjcjb99+PTzh/5//0i//x9v5bbsfq7a8/nl8LNCaRNvHke4vZ/vm1
9etffwBzqc53gg9LfB7l13fMj/HXH8Hza/P6Vh7/sbfnpv3rD8nS/kSNRweMDBON6Zixbv3b31+a
gULobMP6CznpzA8sGW/jv/5Q5T/NWYEacvoA+SCuYaU2TPz6ErrHM7AE6oggMELw+e/X8Gmi/pm4
/yhFcWAJCDl//YGUDnHkn00JG0KwimHfYmoAhCNhfr84fIgzaqJAznLS+lWZ5MSTmXyZVOFllqGo
O45IzTQa2rAOrYMISxYcWOWhgVQyA+8zAnvQyybgerNy1Qqz8Ntq9KAZsaqR1s9NpAc5VNwmjLei
qVxQvF+zOHMhGHGdTHQPCrvd9bIJE8Z2bZZ8K2WyU/aQLahz7GygMtBNqyVb5hmUbeI9EuPSq40k
RL0q/W621ncYH0KyShh+pkVuF40r1khvUqX7aChu5UhkwM5p1G3QQ8ZVBEjJCU4iPEuDMGp1N+1a
yLwMKF+T3M8VpbVziztiGLdDOu6sDmDsuE02VlFt5EjdZWbqJQWB6Af1WJn4dUX9KIo3/IW546to
dX+SCr/v8l2aaB4oXxuuA/o/FH7WEOICdXQhtxC2q4uLcTK3qlZf1X3msDJaw51rIxLTznvqdpN2
Ww/NJjXMtQJxGokj/iRE+L0ZXU/xABNesBW0hN5AaeUgNAGBBysgbXKnc0m2aWatJCY2fU+2ehI/
Nn33zUgMXygTWKPppU7Gi7KBzMhkTQdo6WyFZcw2TH42ZdBpTtxUuS8mzSmHxDVldpsZsmum3aog
iYdaI3qLLu+fqh4alMUElY7XsAT9XYxuk6Q3CUJ7j9oXWIv+CAUcMwIJW42uB647lT5+g2SLC0rJ
hloUlqzhijL1BrbmAemFK0zpLkszrzPrq2RqnQ73qdqqXWZaN9U0HiDSeIj7cDVB4IYNQE1AwGmX
yfltHIEST/t4xTq6axtpz8P61lLktZFDGwXiCrt66i4htB5EkEzAq/fionDTCArV3ZUmT24fKhdT
N+4yLbxQM+0Ntp17vaArJZccI99ApZ20rcdjCgIFlMtVaUf0skCblSbc8jIzUmVUj7JsiP0u743J
Tgt1WA3gp12qGRTT24aU69JUpe3YGaqfxWYPRroG1hzkRy6lnEFTqlFJZ4dc5as81ogCjAVI4k5b
Rig/wAXlQeKKjsAdD5ZuS7IpYQGkkI0H1ky+b9M+AamclV5b9L/IHf8X2XXE4f/8O3B+jexJ/j3m
OBeOxPb5mPgV25U/AbaDHSKUlWF3h57bP7Fd+ZNCbR9/B/IUAPwfYrtC/6RA24LUiMs16GQqqtK/
Yju+NP8+tB9mJ2XwrpTfiu3vAOVPsX0+WqgF9L0GhRvoR3zOIUuJZEPNRb6SrBSyMTnYzBAHUloO
/IJFIvDHradcrtlF3RvIxUDw3yFKr2pDyLsmjzzdupyUVLObil/wDGWwiLi19QLLvQfJRJLWq0nQ
1oiuquSldQ/dEwUN4Bxon2dNkRBqCRoZJiIWaunE2GeVBaGtFvEh309htZZ64lthuRvMwktblHsz
Xrs5RNX6idx1VnI9GbPtWOP1MaQXVdDqiuRx7EZXy5Rdy4XbT81LkRpALDGb6hDWSYRvhjQYBnFo
iXVvcch7xo8a4xv406zrRttH1XPMnuTOvGwk2dVIHqS12BgAzUMN9XbKs/WATysgKadAu8IyShep
miPp0DJTodajEp9Y1y3sxlTASkJ6DzMOH/LM25rWvhxBvLRLHWFA+l8vtgrpvVGJnNpsd2N4LXXa
xYBPmrcvcTauKU6ypkfDxaod0SACawbK8OYuU0enhBhGEvWQpM+2g0qBt4IJAcwoyFXbhd+UGPJp
ZjtcdJjOXq5WMrnPItlXgNkZGitxujS8QE/9Xq+KfV5ShxWVk4xIaXm/B2wV4JFqz+WnCjJRSQHg
FqzFegWw86RTnifgZ+JBDlJgS2gFLTUteSys9odMuwcCk81R5ReFWl7TlCo20avUNoDVt9tebv2+
kNYx1BtsiDB5PB8fVVSjTcq8MtYfrExGNEd/i5KNNmr+FKsFZFuqEJihxEsZXZdpuiEGqsssdpQa
PnCoChlYeC9THF7GUealCmRpwU3PVAYETW1O3jillyUED702VbZ6qB2iWlqHONdQvSjtto1cng1r
okODJ6OXwtI3edRcNkUJfU/1aqQVKjTwRLEhnXQL20NXS2JPIuF9TCLA4sWtlaI1MbZ2muoP9WDc
DzAO1PTB1WmFCo+JDhCWsES+QXIHcuc6JGyUb9qQbQqW3yXdDyZuRsCJ0k6BSkD6LcaCZ5LpJgkL
5A6oPkDAwrEFtwB4qQkQLdYynxvmbSqAlFO0IIr4swyzM64VHtBGo61HjQ01iNSRaH4xwXuhiySH
5OwxU6GlqzbfNLnK7MoYnFiNXNJm5moicCNUwpeOS9sobbdF1zt6DZVAK/N5EUO6WsldoPHuOqME
G38qN7QOiQ3k05tZJY8NTS+wxja9rH2Xu3pfyKFfhpUnJYqj5iqMZHLhGJRBpTAyyvZCyPSHksE9
LapachUNqb6SkbvYsoBiCGlC7tV99fIenP/vlJo5GSdOqfz59a05ckThp/4+ouQ/3y+BFILl0NXA
cfXPEUVw2ECHA30wMFT/++qhmH/ivMJ1BfdzsB7fEVp/H0/GnyaccSiAW7KBSgsscf8+Qf8HVw9z
voN+OJ2gtDp32mGCg2uHgWvQ4hKsF2lYlKoyBZ1hlM11A2O8l96ICvWZ92mE2KCEcesOkdnGnrD4
ZaPnW+hMbqsy55DLS2I3Zf1e6lLqyUniT1mFBUquYoISQhYTf2JAO4Ut2Yq8dhpNesoSOBc1Ehzf
Q4ShgV3kMrsstH7WOHLyEYdiqeHmMz5orAxGrt6EIUTIFHFlZdUhrbONqTwzGtty1rxVGZxEDX3T
6iu1R0oYGVuzZf0uaQdGn/RMaYinlbxJ0UeNTegA0gZ6feiJdi9mGIejQ1r9h1Gj4tfDFg4lD+hu
vuojzJma8b6tWCc9sFokL6GW/X/2zmM5bmTruk8EBbyZAihL7ylOEJREwXsgYZ7+W6DEK6rEJkP/
P9UddNxodhGsKiDz5Dl7r71tMbMjGVcojy0tHo4DfczIem8s9Vbv7e5WRVQ3rP89Uj+O9PQ+//uR
2tLayB6Lb289Vbzw11PlwMnCU0h3hSpvGSS/HOqXp2rpmiEjRwf8PGP+eajnyaKsX2pFjaoQYT7n
/Zcny/pEy5nEtsXouXBv7b95slTt4FC/PFr8KkpSC6oj3YeDrl7VqE6VTTJnnhC+jrHcZlOofy80
etxw0bgJ5ef7sWnwELhlbHOfAuXjnp2suHEezOdbWR2v5yg7JkBXEPk9cGjKzkURnjqdfRcV4Af1
snJjZ7iyohqOmxVYp6PK+SqtwHGNwUNv2X5l5pdaZqzzYdqnvRhXQyVtRO+46qzeTX11PEdEdbTi
UooTL8jCh7GByBqU9xQlCDDz1g/lclfZwzUtrNM5KSB15WDswuzKiVo/zZS90qApVof1NE1gjrKT
LNA2jpz7qVzvpDZ7snTJ7RvKVqsiSXWO3Rncv4sydCXq1i9t+0tsmR5LIYxzNYTKqm/F2PuBYvpS
A3NQT2Nf4fyYod3ta+miDcoUliOkXluI/STFgHqNJ5JhESpt0hJmfGz4eZXS4DTTL4XdrvmcjnNh
fmZo6cMQTn07Hc/gPa2GwLouy4YyMWP/TMPUgklQUleFiZeH4AB7EH5BaIO9LTF5WQV0qCg0/WDJ
kpq6zCtFe4leyDMSoHnN1O+VUj2fQ8lXy+icblridTM0tLE6mTR9ZRnTrkIRq2SGJ0Vi1472BuSb
V6ry2SBZV4TgrgbFukHY50bheFTL8ZOGiGzhq6q7we45KEumK9fxShdCIn7X8jR12JcNPE5tuNWT
7hIYzQrHGMKjqb8rHVBhqE/XQ1Z8iyXZM3ttm9HzwcJ2mZJehYR+uXwBzqqU4CpyZg5FAN6o8yeY
czMLM46Bz0Yt3fWGg9g5P9Ol9rYJNd/QIbCOJdzEUVt1NjakOjY9M72blHRLlu92iKcbqW23Td+f
VE227k3yuerBFp6oZoTTSj17HcWppYyAUcPYI9dsnVgZn3FHDhBUZT8Mpn1hI7dPqys5jYGpThiF
Bvrx40mYFrtkkvehk++MYDoq+zR3gXyBqLUTrAfVldLHBDRz8JrNalWkEDArEyoXkppUeLNmR+5Y
I5rJdFVfs954XUZ8Gie1M4NQPtR0+7ooQHGF4cjZxBsjQu9LUbkaVwuvm16v9r26PNDq3NTNHgV6
XG2noZYv2oahrR4F9/p0LJ53ln+bw4/NgRrknc3hqfjWTG/UW7zq185gM/miPEJ/S9d3yWt5vTOY
9OOXeTfzqmXTeNkZzE+Q2+FFG7SDQTDar3YG85OKx4nZH/oeAqHNv6q5/twYlummw7UJOyO701wm
IK+6vVOrVE5XV8uUsw84ZbVatE9tvQwBGJvV0PlOvK0yxHIFJzWpVvJ9NKnxVxFo4/w9ze1MXnGM
FQOZkcxhL7CyJdqjrAXzFyvRs/ZSey5F9AartPVcoEhLrWIvVYu91C/dcykzJek2KySgqBOZesoK
fnJwBUSRSEeS+9rLRA5dPak0RNhZnJzrAbXilcNK1Kxlh/NnlUnddVaVXbL7d2P/uLH5ot+5sR+b
b09Pb9zYvOrlxl7qGoKkbaoX5efd+3Jjq5/kJWaaO5Skg78oeRhrLC4QizKKIYTzNyXPgb4JoqOi
yxQ6sCwYcMPl4OF6fWPPbTjb4cAU1s6UnQLN14bYPDEh8EQc1ft5SpXwWntePwdJU3I3KXNzujaD
Pq/3uGRm7VjowUKgd+RIvhrwhOYrA0lHdlKNk2m6/260HzcaJ8n3brQ8zrryrZEZr3u51Wir6iga
wYxaGiZCfvJyp2mfNMpmEigsHKeoNDhS/pqYcXvqCgoEi3oXSd//imuGadBRVQ6YDLoVQvj+rrh+
Fku8OrcS4Ef/FsEljXiZPO/DlOVKiLbLnKHc6jXkjdQkl2tqRi83q3FtMMpIx+bGyoMU8UgFT9PS
vaEkiEIao8ht7fkqyUfqYa0t1rbW74J2vhuUXl+Foym7fTXdgoWnAyhRfrRdmLnqFOPc0dLHrtbO
SlsnTi+gm6MMT1YRHGFoJJiHMAEOFXslpoekDMWm7vXAFXp81CWJuWrUGKNmzq+Lz6GXfevV7DEp
6YkFTnxtOHWyAf+Nhde+whcq3MgYLyc5C1YhYnmUAPo2itWnLDKu48i6tonJ9bIwJMlijzmQeFXi
C7L+izOPD9DAU6IebLLtU9PrluZSXtep79T5Ny0qH9tpbN2GYYcXlea6NITOfyRd0VDbaCLKiCZs
tz0hB2M1b8u+8YBXRG7ZV5XbCWdXG6QFD4zkrWauPW1sr0Ytxa5oqX5iBhe4Oh9TOCxmFSWXSTMH
biCNAbmsjVb0+tVstXp4kwUljHRQwqkuP1r4DJUIDd0gB6spcUbMoNUX4rLJyrUvGr2VvDYk5CSe
B6/KBxN3UI9829jLZXovmth2KcivYbYiXrfQgThx9NAX6mmN/9arTVjFpi1/rdXyPnH0h1ozLyQz
pL+rZ8xOnWMlaWGd2ZXmZVF4S8O48IY6OY2N0PFVY9gIPbqX41Hfhynnlb6aj3JSEwNjyol6IGkk
ys1duvRMtOJ6nttzuYpvRe4MvhUYq1hOVhw7LC9sIMybMu1IGW0MoTvnaid1HgHE1c6xpsxPuC2V
JDuKRHRflOMqk+TLWKfFknJ4xXOtXua0gDlk7YvhKpK7I2sqWm8p1buAKRb15VOhS6siD6jkB+s4
G9tbE7DmOh8R2JOLca9LIyEqgia+PSbK2YDNvqxiP4xpxfQKcwa1Cvh/WnCsajVd6BHMYmkJry77
M1ovJWzJ+JR6Y82rg+MuRRaCKizlYNaeB12Wu0zHTmg5D34jclDgIvyS0UC1nercnmPw7dkKOeam
UCpQqu1+zGqL7uq000fLt6P8PErKC701VmnfPukcCLTUWJf5Ri31TaUcZ8Uxc5TO7TR7lYzGQ2eg
Q9OmreZMGuL49EipxL4CnZgryRGtqVPqowsdxSF5ufdKidm1sgt07tChK74xyK3MFuQOu7fRn5Cv
6+sl8WJtFA7uOJA8nBE9lwZX9hCfAqB8COLcdnWz9cy23ddkJlsAf925nOnZt/MJD8S1ZuTC7RT1
a6c3J00kQq+ftZu85bjWR7lrkG2gL0HTA501rQ9wlDpbbTY3SsX5fWzLs6SXd/BZJHpV06ZO22xv
6dHXRLWPMjQSfsbCFnbtD6nYv6atwdbzzhb41BQ0mMo3qi1e92sLpMZiaEc9A79PXiZ3L3sguyMp
owpaPsp3KMfUaC/HCPuTCTGU3i06RlTOy+HjpcFkf0JRSwsYue3PV/1F6/aQbM1phF/DZmrDFmRc
uYwwX1dbZE/0TiaLaKu5BJ64D18yP/JCzBQ7xU0fxm1zl2/sXesSmxiddVvmQ+nN5fGNfpRfQWQO
U696yrxthMUWtdfRN3VDT9ZLTurtq0/2Z8v5tbplKfp+26mf/0wOXConHgV71+9/pq1LNVOOPtoC
6l8aHgyOvkv2RdntKjldS71M+NHX/79LHoxclY7uXqMul+yxkCV4nO2z1D6ppJTZ0Ly2pFUwfMBY
ox56910efBlRnHe2FXPJVs+uHQZTFLA7AFkf4JO4ed69zPJnvDo6qlFaEFHVRds4OMdZLkMJqDQ6
UM2JFnW4+z8S8i/t/z++PIXzBho2xPyHMnSgQ+gAk+V6yrVprumPI0bPvaJ/7NrH/4cv7dWlDk7F
tRg6Vvg62qohTg8ZMHnjjuGDwCEvWdCplc+TmXnvX/MAJIvwiptzkU8zlsfUinrp989zUgp77HQu
ylRybTq9NxFt1KbSURuAN+mn6DwHxwfbbF+F2rEWMl+L25WulFuFwC5TNl2VUaZqQJyNws9OgNAo
J7OhDL3K+TsK5h9/6yKLe/3dl6kg8Hn57oVK5EitMW2/e//jWD7iw2/71aexyDNeX6HqMLKpVROR
QnPa1cVpDmV2HowjIT6iVx/Q5f58MwfPS2aESahpfPCz1q2ScB/Xp7QmNol5Rns0sNdV/6UElp8d
5/pHuav0cd59l8vPXz1DZpQlMvCuaJviaXWtqtx2bfnBCvTRJ3nwnNaBU4ehzTUSOfIiIVb0xjeZ
BZOl/oixcHjqPryHD53SOhFCDKi4Vok8oYiOR3NbTp9le22DA+ni76mFmwoocnmTGBxTTBKe4nU4
3wnjIyfXW0u9g84GHDFjF+OQ1Rein2u1li91iiNvNE+0IvdS6a7J7nMyPKrum8g/EtV/dMmDVYOK
cayyikuOlPBzRiGnQn1PPREgph79Ad9un3yUO/PWqvj6fS4/f3UHxUEDHFEqWRWJtKmU06ZnF2Wy
U5zaQ/CjSfGbqvf19vn2k/LqQ122hFcXGwPHqrPlYnWPRGIIV0J8z8v7goOWfqkPO8QQg/SVmB0O
Th8t/2/taq/f6OHySMhcRwUfbW2n9Qo1XNcz/XLC795fdw4MQj9XA+X5OE+dhRb69/co98kYSeh9
tkMonUppcSxI2mrpyKMAPenK5HORKnu5RyOlVsfxh2arZ+PdHwvfq+sfLHxlWDZBvCx8aH62WZej
gM8Z6wSr1q72Ttdf9KHY0kX1bHSOgyrOEgKfynHeZXO5puWw6boLvpZeUT1LCx/Jza3JRiT806xP
65rV2qx3IjK3YPR9xak2ZSy5uui9tEg373+Ub9+avz7Jg8Vt7FV2BoVPsiCEr53l9Wj1u67X/HSw
fLm7e/9qb5Uj4LPQQctLBvthF2ZG30UQJvfHEJOgZheehRMvy5pV0I/rfLpkBPXBjv3m4v3qigeP
XhVyVK0TrpiCP9dszsDEF77/pt686V9d4uCB60lHQ3ZR8HRT0rmdkXtYTXZd1H9Q8Lz9ZL+60MHT
1ZK/5yhw/rfqbDNQvUL3htxgVUE5Uo6LovCcyXJjKFa6/DWVxg8+SWXZYv+46X9d/vCh6wNHLSrB
wtKlYi1FyQOhittaEPw22fJZZIUkGHUnzFE3hlTu515gbu7SW/qCHxS1b67hr/6Qg8KmVcg9Ey1/
iF1noBKQ9oJpVyO3aL9axlnOyE5Wb97/jt98THSF9DCAM7S9D75jRY26PqriaEt02agxAqkeOnHc
F5/NXvjvX+rAqvpzcXt1rYOvedZDbZbThK9Z/xyGnMnMYyEY9RPyEKX7asohp10VyO/ev+6bz+b/
LgtA9/c1VUKg7+hlRpqpDWUs2I7YEDNCrcMrkex68G7vX+7NL5G+L7Sj51Tig8uhE+yYWofRVi9B
7FsXs/lY64ZrB7nfx2dleFuXH4FP3niHSCuW5jTHE/65PMivdsZhwknR5U64NRIAEmJeVabGGDwj
WLA5yYrqKRyDD4Ahb+1Uv13zcP3pa3B2JteUkuZrUY+eIqd7uop7ozPuTJqiLuO5L008k4bbHAV1
tv7rj/nZwIKN3IC1cTg7NNq2lyTVCrdRgWyCQ3wfH1fVrq+3+jiSeAoXNvlgnXpjPfztkgdvOVSd
We50O9x2MMpRR7i6BahO+gAV9sYT+dtVDp6SgB1VzA1vLIsec9mXunvHeCBF1wvqzfsf4QFv4PmB
5FI2z/4iHWIYe3DfmNLY5WC5tgyqNuPxeK1t562zms71XbwxVvbVuMIrsQfworvfetc6pvHrfnSa
e+OEYHHwNIAe8FUaz8K8VzevEpmJkKA4bqOAhBlpHlHK9oLtrMJYEAYflaxvfomvLndQ4cSyU0oq
Xe1thGVBWOArofelHwDV3ticf3tPy47z6j3Bu6tNqeEitlqv9IqPTfsI0/DRx3bwzFuZFUj9ZIbb
OiDL+sic7o14dJX4gy3pmd58sDn+9lYOzhVKF1UhFGnukfZLEFxq1pepP0oUpgNwB+WauPHTxPw+
95+b9MzUBs+iQLZ6JuYK/E1r9f4d+8ba+tsfc/BsGEanpVHL55rL+X0sZRsRdOfqNPpjx4g/Vr71
xIIn0qx9tHUtT8KfnwIsVtyL8p8UgtQO9awjqHFrCINux+OsnGIsdo3iLK6ODYPg22kDcEqg3H//
HT9T+w+uvGAPmCdzZQSwB4vOlEpTnYVTuC1zAp9qD/Kit7nLY9c93tVevrncFO5mt8svmG55whUu
ojX3CWWXt+End7G32nvGuRp4kl+dVN5V8sFX8sat/tvfd1BARFKqDUMwhFsnVfyhPEmUjwBobzyx
r67wB50wsCQ9StuZnQbfA6UiuQZQkYePjNS4Xv78kn+70MHSIOwaiZOsSJtOhEN65/Sa6RVpJyJ3
7mtQteM03NvppCRU9qCQ5CF96IjaWJVqeRY0JRbFWL4I7ZrWoFM9CJusbttGy6L0mr2djCRexSNQ
pdA8n9PBNwMRu6I1YOpXWulGkrmVs9qvquBeGoJH+ueenK0qZ97XOZmlU/iIr4yY6i+NgqBxqu7T
Yt5rxLH6Q2efJIir3dyqB1cuy4yzVZL5rT2FfkLGJzOVUffq5JG063N6dvWC2iTqB3djKps3og7O
JMZFejDuWjBgJH7nx9UAUqptHQzllXERJ9FeFuXDZIoLwbHQrBxjNU/KSd/DjtXaHVr6jY4Ushr7
0yxMLvAzrWsta2taA0pIFClMzQvbzAL5PpgXaY1oAX+VVUSsqZF6uTRJx5nFgVYxnVVYpSTZ0u8a
QiXxCB47KtMk9KMcLo6QN7o0gfi1/Rg8OwQs+6jLlbM8s/cJMsMZvpPQNS+cyFFumE4WinQfVfbe
rNNdbYr9oM8rWUpStx/4TNpi01c0MrXsW5k466lrLzO1S9zQ7m4QrW7qcCClqCQIuKVI7fyeAVzU
ld4ATWNUs/siaC4Azz2qY+07k/N1XAxKQXSW96Wf9913zvBHsaruehq5nEn3sBy/1lH21eQv0Q3T
dVT9fGiyDeaidTBF0PcS2F9RL98Ky3yQIOcSzgwG1MR+U2Jm1DYF8g9JNJdqpDHvz8/sMLgE/8ud
cqfT+ibL1h+KYFt1xlGd86EZyGWb5tay0C/Z8n7JK44C1bUCdccR8luTN9vQZlUJ+UhI7j7r03kT
tPa2HHAHqVovYwaxJBjLnNyzfhVkxk7K24sxTI+bpNlkqukZWnajZ/paOHnozmP/6PS4CksldlPH
PHY6bcMmT6h8l9yqJG2CjjojIBAYzvhZqavziT9RksPzUEeIW8WLE+u06NvTMdTcGuVCHxknibCu
xro+k1UmrHlq7BoEY4qGmSRKlM0QkTZryqedGuLHrBmUShXtifguiEO/kzLDDZXGD2RSpbnvDZVJ
JWCxvMuZL5aQ5jTPiJ+1jNaSH0243bxnHHmkxSiE+5io6zzYJcH8GDf6RTmEFS6VZDM7VeoFXb9L
Q2KfZ+NoNp3zUehfy6Tg3SdHYV9cjV3Mzjh80ePioiyCk1bwfrLwBrrbg6jFUQT7ltXdt0J1Xw0Z
eOU2XQ8thuTSgDPACh+Yu8KB0Wt2mV8b5m40gnWA01abZqbA6kmdht7s5JsiHBvPhmwWdvN6ghKs
JkHkM2pGOTRo17Uk7uOsfRon+vuEcKGScHtD+FbFKCPiWJTW8A1osbk4NPxA2J5QcWBXE+mvynkg
WTvwa/vFZ6O3E57QpnrUSyS0ekGKd3DR4T7IQkS9la7zG4zv42wzr59aJL7tNa7uWz3TzoNY+pLL
zQ681KM2pStbZ9xOrKtcDGuhT9iKZQxM8zapnFVFVLwmI6rOkaeWoZ+J/ilPQo/8U+Dd5b3WO/4o
h9dTVG4yTToNuoQBsXrpKOI8TCApq46rdwJqkGK3efOjLvo3L7bY9f57XnzyWDx2b4nzlpf9Ni6G
xoOR5hlbQMn4a1xsLagNsG2qbBAOSp31Mi5+9iPoKPBsW+cUy+97mRbjAZIR9GFhsPAykJD8N9q8
52nwq4IKbR6AeZwQOhNrft2h0UfFnzb1BfHvVcTI46hMsipHkWEk8tVsjn3nNn1uOEiz9SY8EW0w
w1OZRTYqq14Ww+h1XTSM2zzm9i276UoOQ/ZxR0b205e9nzV1fDqORYrVUR7Qq8ZR5llGODKkUpTr
totgjM2Npm1mfTZPZrmJlBXMzBTqX2n75hSqKcbPYqPOWusjltC4w4e8F/fPX9u/+3dhpf73/Xv8
+P1xeuq6pz8FD8sLf93B6PYWExg3o4ovjB+93MGI/pCJ4qp5dqPpi6b5l+hv4cjgvWbEb4N05NT3
cgs7n2x1AZgZCijk5dH4m1sY9sZhpUpnCd3hs9iBP8Y6GBOEUZEO9SyV23xs1Bvikmx5lVhJlbF6
axaJh5g0tLxvvizC6ViWy5UsZ9hfEquDGwqgM1dEt1cw0eIh0IlVtgDRy0SOxN+HVvK7GsbsOH63
p/xKzYOtrotdUIer2qrO2Kyj3YgT1SV45aSRtNqbkqh2Ta1V3Xmyt2GqPMxqejT3UuMOs/mk5e33
PnPuHbnQ/bgudReIwFNW2fE+jIdqDypiPKuDpNqFhXWXVIZw63rCkdvFHv39Zh3L4+iFGRR8rSn6
UziyBQzZvPYj4bT3dDU1qknV8kB5Hg1FIq8LRVF2duMQepqL7aDnOgbU6psk6XutJzCsFPTGhCy+
z4EVbNJ4yHyhTNdJlNiYXu17RZdODa2d/dmk2nDqptqAQwiPLSrbY3zVEsG/quTLofHFKSxxLDGb
xRHRxeusAfsUzbrljrpzquZYBnM56XHUjGdDHZ8pc437T5QniNxvUNydOLx3IKcQXtXPszl8jSrn
pqsz7aYspJlTdJU7mFfsOD6FNWXclnG7nZAsDrelVk3eXFXytA1MnO9zWV3mwsh/Hov+LRTLUPa/
F4rzvise8z9XieVVL6uEsqiYsKbqiM1pxb9eJRYROqIHnHfKIopafvSyz7EUECiFWImVxVSgLb9e
JdAt6LqMWw7xMAPAv1ol5De6JVATaQqzWuC7VQ9aN2mjpMnQp3RLggqkCFR0fT4x1Kjm9GJ8DUMZ
+489SSdTZg2bvNZKf7B0iNb4rq3AXGdllvpBmdX7tnBCH/Q17F9dn6+QSnbXU0xE49oMYlAyAN3K
M32ibnSSsryJcySVhrxpinDpliRaguM6LKJupwzKd+ZvqJ2kirs7oInr1gbOC2eY0UtGer4dhUMJ
b3xGdy3IPaJxoebZAFLaDI7KIDAey6BXPKlAWjxGF6qWjESyVNFNuvj8pMGpTx3UokNvXyeyeWqq
ldVCrabucOW22OWzUsheimUDgEkah+tGKbVzxZSUY0dipJmm8rFc2/N6ToR5wm8SezuZzoKg+FyI
OvcWCfaqbCHDxCGTy2TG8ctBJEzzy74t9mUr+6aWHdWt8jRJg+d0QIIa5VG3u+OhqE7Bu+4XG4Bf
TmI3kYewDez5cUyrlZPTOsq0ULpLAgR4nlmpI3a5orJvG8AAF4ohVZdNAg3e7+myg2cudmWbSH4p
zWeOk2wUa7wzc7S6zbhxSjvyzJg5VRkIxbPa/Kd05N+qsEDj/3tV2MZZ1n4pmxLn3J9rw/Lal7Vh
WQD0/66BsYbgiJUNioRFzviyNtifFEujQkAk6CgYWHiiXyoI6xPbPC17WVGWdiB+rb+QTD5noh0U
wYBgFmomloE3Ov9GO9Y6cI1N1HbjCF2I7R5vSjkpK0hEGiVv9Vz/SmaESdBMpkhbGijFWRSnmXRP
pmA27K2uBYGhKklBF72l5X0SmtkIEXywGKzptUAj0WZldNd2stwDiJ3sYZ/PRY1CPZYQ6DeFvTWa
1thXZajSoZiKXdiXjgyRiKVnyGnjzJU0QQyZFToE+t6aKx5ZxIxAv0yjvNTkEdJFN+nVWjUlokbV
/ls0kTZjSc3k4lLFPgmRehNBkV3NvGkQ8/2R4Qwj7KRGFV6bZdpRHcjp6l95/eyoWZjU7zwfZQZR
740ng1e9PBnGp2ehFlW19XOT+19tbeI750BGxrtGusYzHuJXbb2c2XgqkBvzCCzHzZ9PxkKn41mC
ms2tjHTxryhF1h97JlsyFToPGY+gTo/g98lNUEqanWgpmv84CtdWal8WsebqBaSdQJyZ7XisQpNT
Iz2l+Z/tAKYdERSXukmtnkvmQPyYuBbL9FOzpW9tBS2l0tN9q4sV3v3HQRtJB8+ByuXpReQIcsKX
rCs0VF7b2dBZmEs7NcOVGkMYup8OOkvTmt/TRDEvBq02/bnN1TUBFOEl9/o47AYlcrwxMfdmhr9d
Bcnppbq2DmtR3BJ1BlQVWIwHN2nw6kKc4PdHqBUlqhc5UnAyLOr9rKV3JWbF8ikJBjeT+xYDctas
LZU2dZ2jLRn4faQE9Cd5Oe5wQywwF0Hbpuu9iqrAFQxTCNxiQOJKXbnXhkgaBnQwidDJPSPqy3Yz
YeXzcRIkoVjDPUPS2AeGSwdxN2N80XKprH6MqP/tUSYHy/9+BvePX/HCvGFqW1728hDqn2yD2nSx
SUJu/I0VZnwyFhekQxwgzxTF6/+2J035RGlK80Qn2/PHKfbVQ8gv0nAE07z54YX7i+1JkfnTfp+3
mSpEaU40mJeBkjrUz68HqGrXTgTEyGDhU6bgCHRcEBEXk1lCKCE2DQRWtZla67gkAiB31JtOt5B7
ZtPeaZrYYFbTz+O6TRmcudaSS6ZkznRqT47pYcYERV1GOvtIFDLmcDDO63K/doagOE0XWp45peOK
NGL1OG1afTV0ZbvO41Bj+MR8JS0izqVBobvQVchoUILoXG/mx0k1fbhYX8lXKPbYXcKVjpTOrQft
bhimm1Lq7wNCUuAS8Samcp5cKHlguiZZXrVpuUllguELO+pueK6tbejElp+KyFnP7cRa0VnbFJWS
Sz4jbyewIOdrIwhViRNfH8GtjSXFNcYQcmQTVdoZ7EWdiDl5DB5lYZjmcZbg3fEaJ98L0fCgWkWW
udlM6KAsd568PM8R/97Plke8aclzw8cTc6z3RCfBouqR8Y1VQ/Al/3PnCBmdEdfGUZkjecs0JThx
2kDx8slghWGpEYUkvHC0lHbXFLkEAFLXtnKnaagzpkEE51OZOl9FY9mb2XBOlTRPKSbMJO2//NuL
n/di+91a9az9+lRmj39uxsvLXtYBgEwcReGsmku1+ZuzRwEnCBiZGA9apeRO/VoHVPsTqEDISzan
naXF+2szfqbKICZZbK8qhkjKhb9YBxit/74O0Ky1OCzbOlXyUjA/A75fCSkyEyp/lRsqFs586k6V
UUN7WynZAzPX4nsf5P2FHMYx4YVh4leOPDZX1kSDB2VkveLe/Yz1tf+eNDKFbRl1+BlA1Sii9BIC
YxJYl4MeNr4imqZdiQyZlpMtVIFRVNs2j7VgVYzaOU1Z8naAtONlGzKbhE+7CBKSZIr+CXyYlCKe
My4yWwVsOsmYEZkPxmoMOWbKLp0sReI2EeTbWxr/XjaugnqGm6Gm1TYQzUUaiFvIaPwtRXdRGqor
OmuXNSMDrBaqaWfYAabRRvhV6UxbXW4+50W5MlXznA3dzw1jN5rV18JEKcO3nHgjZ2TLqe+Vdj4i
YvHODrQj5tluFveeHE4rYoMAj1RVuAlKveCImXTrerHqdoa+ieohOKcUWalhepU4j1bluLU9yKe2
jlVqmfGpAAfl5tTSi8GfFWNdCxVfY3SSZ/XnvJLulcm5b4GCnNNIPLZKCgq1g4YymoXk2ko8efYo
z3By8y3dyM9SBekkqWQPpu546eTiUo3tdebYzaow5y/q1DTrLnLOxjzUdtHUpu7zcUHJmeiN7eRr
jfkod9V2SFD29lNQwV8hpRKtKoCfqdorUX/UZO1NpaILUwjaSevrNh/WdZReRY4KWTbwAmw2Vg3T
zk5FdRGMkd+HkuoOynDSxe2OqFP8s63iRhaj3kZAB7TExh4kNxrTAVZfh/Zt7C0vlqS1EldMWCO/
hCPENGFVxuWuttOtFfU31aDcqpINHBEy75DBQiFoLVKdy7CZzzipHOltfds29m1k4aKego4WLrM/
OyRuWFwa8AfhAnyZOhZNckXcaLLunaBc6xMkGLxJfhq2x5y2HtIuRJVirWBVfp2y4WaWxbpuI9Pt
SK0VmFPxCF9Q5H3HQuU7aUyJGhgWt59dYSyOLswkx9mMKbclXH0u5K0MNmfKpbt5qgt1929x/nFQ
4lj/TpH29P37U/N2mcYLX5Zn7ZO5SOPwNT63A193GPVPWC5xY6qoBH4SMH6dlciUAhkum2QTwmj5
tTxzVqI60226CNAumG8Yf7M8L/3DV00E0AP4xGzgXo5Bc/EPbrwjUEuVBbPkKlw5sCIDBWN1w3y7
+HGT/Kf1Y6n2/ryQwVvlVLi839+rwRzolokKpd3ST2cFzUlLizfNUHmvvoLzH7/wtcOE8K0PLrT8
/NV2k4pglqRIa7foyRQ3rKi3BjWfIC+3J6NjFcQfWO2l3MVPal3egirHjFJj6pdKc4SY3Mh+rKUX
2jQoXqY2Dhbx2vaCoLwl3WwfWhRcjUPRFgejslEMscuqrnD/j70zW47byKLtv9x3ODAPrwWgZlZx
nl4QlEQBiXmevv4u0K02Savl0L2vdke4HbKLYKFQmSfP2Xtto1ZdWsY4o3AqxWScpbjqLEk50fqH
yF1dmyD62JiQZ7a5m4gGNe10P0/SNkWAexWL8Lrr1ZFSUEHUOJuenKVIbaaE/AmhuVYOdjRt0Vg3
1W7q7X04hjBpY68hmSIROUMGIs0Bm2f7SQa/mkpf69a4kwbjSVHGtamGVyXsCA8+AWFplJejxUJX
olTjjJtGm75l2zQmSIRlmZh+RGm+6rvupFjV3spVfuKIaKBSu2u5Nu5qQy/YhqpjZsEYs/XuetSV
yp87Jqtj4nj51G3jGQI39KtJe0w13LrKQLwQwRCqbyQy9IkEmYSkdyc9Dr6R4VCe4hRGtxMg9olG
s0E5P9kes5pXU0SOX7WkO7dMUzntYlSpTH3yMzWXbmf7ogjS3Nf7RrqnxZ35TqBGJHXEpDm0CezT
MTpkMq8WVnIJSXF8noywWgnLzj0HgRML9ERyHBqNWWLW1Fnd19oM92aSseZ2g6vp0TX6A08z7Ylz
PJhcOEcSbyt0drMWXI8VijmngxpQfevtgbNzGV0NBEmQ0s2uKlo93s5mHm5SooMFLDbNgPNaRNl3
CmhD2xW1sL4lQp2PjiAnZms5gY9Tej9p8lWqtDetHB4DPiFVHcCJORqA1RaMbtHtrNK4LfCImaW2
ocrxools9Yxn2C5ma8t9pcpvshOSkEuDb3NNHKMil37Ydcex7fY2xmEzHNdxbmwm2SJNkIDxBJGU
Jn3vxOCGCGpLSV93Hei3LHItvXHV1oSmDL8W0RONRn8QCbj+YUsk3c6IJz9lvLDK+2FXpgl8c3mT
hTVVgb4Z9PgQF8mlrRRfZhE8CDO9Qy4Jj0H1pNFaGHP0QkKa3sNOc9JDp7ZbDaiDPmsnmHNuMZMd
JUwv1/NrOym8Dke0p5qlvKJZkrmhbb+iB9hrhb21+uLrrDber5eVv0vl39bJv5YvFvj3qwrTmUg2
S7PZkuLzIrbtw6VfXxtudPUfF++/HQ/m5b/YTO9y8bN+x/KiHxup+gc7ITviG4vnwzxfpa+O0U7h
sGMpsM540V/76BJBwWkG5e1CMKAX+KMbDzWd8w9NEkw+C/znd7ZRcjT+tu3QcSFgY9np+Z/xqenY
MS53kmJKt00kv4g4vkkwsBIu4Ut1ddGO8cNghPgZxqVuHz1zTre1ZMyrHvEhnRBcramAuCfyL3UW
urKkMdtu1vTkjvGgrw0TeTTkwqKy97LardBcIm6xaPDHq8zO9ma2s/RvYVCd0wH3dmlfzra2DxT7
MDWcGOSJUXazMYfRH9V5XQb2VnEqr9NlOjHtQTZ3ZV3Q5Iz8JuAbPpqrce6PcpTelq2Ur4JY3We6
c8Z/ukk6zV94IEmX3C1d1HAGDj50275hZj7sh4rhA5kBQ68iE/ge5JYNA3zXdLgsaGCu+ozJ5BD0
+2hYD3m0GfX7ulsQjZpbUfi3ZISo9lEbT07dnFO2LgcwTzE9psO8M8x7a4gOBurMCjGj0UrbZkDG
atQ3UlmBPtJW8qR6XZGuJ9ylQfM1Uqn41fncdF+GqtjKIBqG7ouYUzz/D6yj61EeVYDyOaud8BKL
xq5SEmxOlkgx6iuzDzwnvIyp5IN29PKRDL7SxTp4a8uV38LH1iKpWePJUtYJ2jxP4Wg2998bFREB
PqWE3wLYna9HUHnKmzoFuzI9dRb+/ynZpK3ton5luW49PQUIWt8os+GN1kVf7WSFzDfnwITn3Nvn
bNZ8K25cnXpANso9IcKrBOOlHPTs+UtB0m2Mon3sTf2uICp7sAP4ndZBBWbMkp+UylpWokXAO+zS
ahmRFtIVtqYmSfywKU99MX+3w1tNju3HNC442XJ8yU56Xul+G/SJ6ltdcd/VDklYBWs+x+h5U4eU
Qn1a5HDto43RP4syv1DSOFjpNee4OGhXMDpLP+srnsDqSStRypZkoHBYvUyN6Ws7aAr8Td0PzG+O
LA7B/BAkk+EGbJ5RUO80TNelUfmkaV7pWnwhaahOwtu4peVVEpUYnyKI+JQV5hhfKLWEUCXCRFC+
ct7fhHW+KeNviXNXaJGfaSG6WO479ophaNaKwnEwi92iXdhZPjWT28rzYyYUL84s1w4wW9c5Zzd9
m9bHtk2vCw5T1lR80WWxp59xm7UqtJwCL1h/qoPkIZsadNPmhTFeyGbsp1l4nOdwM5hUFoQnlw3i
zu4I63UebC+1DL8zW49RMkisYGUZ6S6qLuqk3cjK3h6qlR3CiR6/hg2UEfg6M4kBWfnVEjOnZThI
YjyJ6CQP1atBpEoTtLj+DV9yJFp86tlq40fODV6qvmKs8jkyrgomIiu9S9ctwAvDiu+0NDwqZOFQ
+nwFRaRS8A36U95w1J8IqJM1z1Jv1OFucFB4lhV6aBQF4RVN/6NRqZQo+z4ujhLD/VU+9qtm5nuf
bspWXpPyu8ra75X2pDvDqgZFrUnRynLOtaj8FJ+gKj+HRnFnykcru6bBuWChvMIkGtr4ElFVOCyG
rYLqNl9pXb+xtMlXjW99zAdM7TwK68lsqn2UDlCerHuzhUlAlzNhBNmTGhEwQhym77WRHjUrvyhp
XijWFzN3Lg16TKLpyEsZXrSowRJduJOt0uuhdVFM656GQRNi/a129IfvNPNhaOqzlDpbxQ7u3za3
f3d5aKK/2OWPP5OdLi/5sccvTEhiRZgCLsLOT3IcmpFwd3Smemza70h9KhR5G/kHVnvZkikR3slx
TEh9JjjrNzkqeL/f2uWtT5s8rUyTDd7GFuqABeW3/FgFDvbMiDpXsS+ERWR7hOhFjldXmQSGQh2I
0nF6OzTWExHZ0mwDwBurZjO/YUithUg6v8FJjWIGthYMPWepKkeFeKklam0y5uhIpSJfPJnpNqZf
0KM7j0Uikb9QW4Sp94s/H5xqn+RYieyp5Htm7WRq7RGZSF8qtp8HYtOHyW5WCw6GU/aYNfaqreKb
fB6kvdWp+l3VG8YmRn19WUiUFVKm6l4ka99aSbyQ8iaf9XG2wCrXV1g/JNcKOkRFGUe7FB7EeUA0
R+tPU6Z1F8osFYpQ+12mJiACYQ6Yq6CbnSN53LWxEujtKBwMQDNi7NDbjrLw0dZOaymtum1Qk3a+
mispWZtDsS8wdAClmeMz4DDj1DHi9Rr133kiDz25cibP/P9uVR1ff1ZcL6/58cXTSBdagMHKomb7
UFzrBMfxIFvaG5d+aTe9K65NG7uyTTvnU7ADTapFFoOOVub/7CWS6HdmCG856h+7R8wPIbICj0dX
gPr84xevkweFcVvYbQ1bNBC+bMnUdno0Zt/LqjeXnmeRgs4s63ATLUduXJUqPo6lEVHFV8PbwZwT
Ov9wSYnq9VZ4My9H+Hw5zItRLVaAaidv4KRvmfE1UhdckPQA+krse3oCjAqp03Wz6NZ2FvKPeThb
+q7J5Xbwe8e5mCwN4p7DcKz17eioLVFfRH5FSnXWiQCzQ+coo9/riQYrZtmbquGMflwhS5CkJD9U
O1fE8qYkWGxMgws04xSaOZ0OosfGzjnnoEMCIsmY6VO9ES3jEFYGRp72hdzfhMSYNbF1mcoD1jDz
piTmrJaLDbuda5nFVQwnOZucOxWWaEE8WkBM2qDaCNfQmhGfFhGjptTD40SsGsiPa5uYtSmeTg6x
ayPxaxEmqiYIbyxi2STi2fDQzYwCCr3xteq5rJXNYstBKbCVrdmzKUnCSXhVUK+yHJfM4NldvI6V
ct2TDTfa0l4mK46+wOC20nB0lOjUkyZX2SBSRPvYysFjTyqHpTX7SDe3LWJu0JThHcvjpsc1M5JT
VzjmTUFunTQ10NdJsovoV61h2RB9k7mCrLsqrPfdrN+OFFytsJjZin1ONp6ZA4bTiytWuUOlJMeZ
DL12ydJDZuf1vOOKlD1UjHtB6t5Sd+a0kVrS+DJ51e/Ui3CQdkxY1jmRfWko+YKcJHTb+F+UC4to
P8cO981o4ieohovOGQ6JTd+umlvKbwqwyQRNatIeGnLDa5boQIW2W4jXyGuJFZSCyeEcQdKgrbSH
sIIbOduvA1GEjS25MdGEjFHEyiassCS0sLKxgjWBlgN3IdDQiF4mirrSgcc5aSg7iiX9MK5nHqb6
YBKLWGu9hR+JiZBinQuCE+0k9lKj+Nb1hYcf66AQsEh9+TARmOwPQ7wtcxzkkoyUhVDGpHHWUUtK
46Tgc9N0WlFWd9bL3F6ZapeQkNIcbH30CiFfV9lIeR/x2RH/KLfTyZIa89Kw+8PYtLj0bDiorbZP
NAvtWPeUKEHoknLhtorxEmolVrrhwajno9Yar6kRe/ZkHUIz8WDH7meTG2RnHIn0wDdafTNONZ/m
uDxZu1qfbnMY42bC8yKKBeEvniepXVuFdNs6Gfg8nYj6VBTQWJk7dsOTaPM2il050Hqs5ESJPUmB
FZV/ptf/W/VZv5xiH8WX17qd2GzeglL/CkNdXvZjA9L/QPtFTNB/5dZ/2TWMP+irkG77A+D8ob2D
QptqjL/4O5z7D+0dRif8OdrIJano9xxHb8l2H3Yg9jCF6Dto5GTsyvoy5X4/Vkjl0CnGcdiK0c7X
UZd9lSJpmzh4kBJJWxXReKWQu9Vp6zaxj0llINYK7ctqmioABVY0DuVZolV9KSZzU9r198mwdr3J
rJfTz6TFKXkVxlnEJf68/FGPq0OTNC8qINlobg7CJsp1lRWY8+F1PC7yy7gjiEWylS8cbl3UJrdp
ne8noxVbVCzEeBF3PCv6iTnAlRIaV6ZI14lTn6eAg2obn+i0XxVS9FUvNb4XyguAUNeOi0tMDUdj
aPZOH5AJJhnfWq2/rTMazwxVK+HsFLs/ywB1tal4ZghyqhzVQ9RzUgNG2qlTHCJR7cO2eKnTamMa
805E6pOuT15QOUdNcQ5JAlBqYHjBnORsKuq60OJNVFjXyaRj9NQuYmm6MhiXZt2uqeZ9gapl1Po7
Ysu2pRQdUzN+NuZgmw6FN2MYdOLyxu71g1DivTmKoyIybrC4kBuNIzFQ6mbQ94jZvEqb8GoUFzUw
BOSA5TcLVvCqUYP7Ms/vkPWzO2oOZ/WeoAKMXFKv+pMjNhZGyqJzrpUq2BgEsExN5Sf1dRJrXt/p
6A+qFWMh3+k1bxzig8FCEmc1OXw6Ea4K/5U8566UJkdwiy7mc5dP7aD3ktg5ZjMzeUuPVqjs58qA
M5/fBvCgc71aN+N4ayfaOnd0yCidiu6BeAIgMSxbg8MChifcZkWrTLSyrHDD21LXOQTtpV9zSWY4
Mu/MbN5PrI06a6TBWikDDnfzOHGdWdtHrKYWq2rG6jpn9qvJahsE0wNGm3VZ2C/IOkhgBH9XsD7H
rNMC941pR6Rls4Irw3iQct281JQqftA7bOaj0Zk7J5bn+0Fa2n01oY0Ap0gdZodbAkeHDClxt6SQ
jiIkkDSLdEVdGZlVb/VmiSwNc1uhvPvSlbXw9Dm/THopXMVGyjCiDFYDvRa/EfN3Y8a95Cw6qgLS
WWUF5T6MrWgA99SHK0OtbbdFgExiogBbXYWn2Bofasc5CSt9tKThqaqiGwY7OA9aGg20oY4k9jIy
ievGU5uBkETrvixG9dsEInmjzF3sGT1A7Z7wcG9yrGstitjNneGbHNFxc2KKl2lI3blXzCWpZpmQ
1Yzk5hh9mBIe8ni+QZdKTFjeXddqlvtaxoMTWywUSkB/KuyiQ60oladWIQyIJNyBPKJjIsyNk8UR
0syqY0qlHUKtCVYdyhOo8nSKJFpxUpTuNJFoKyk0IpdNLPVGKcbVJZUbDcjqqm06wyOyCOXqEOCF
1NBtpuz+6pw/JzKJYxkhj/FoPfWdcyW6/i5Rq11XB5cmLasxQnRmFuNaKWuZc2t3Ygi3ZMyGa0Ma
CerpMpQ5HGC9RA1fLcZn0kK6q+1iRf38LVSHW3sefT1EZKfx9NqOOgFUgLxHPCR3zXjS5PlrN+ah
rxTlrU6cD4E/hV/E8rk1JIPhIcmhUSpWcqcLd5hSv3CClqyjeCtZKXVFT1uvna1NZpWDKwaJ/MBe
Ooq+egVyDikhdXpXjs2vYSVdNj0PZtmFnhjikyrK8r6Zu1epNu8wajIdlPZBTSU5hijh2+e5Iflw
MYrRYCRBE3m7m2fVTQuUKZbVCCs9mp2E8M7CAD2fdjmKQJVWWS0pblCXzvbfvtHb+XVptfzv8+vF
S/3T8dDyqh8FBFo3hBKLJXgRfy/2zP9q0pkPQQrhcEuex5sZ9L9H2CUfV13ksAsvd5HIoY/4MR+y
idChbJBRtJmL0uK33Bpk7lIgfCggEG0QwPtmflbQ5n6CwKR8L4q0VejcWBxMv1mZSL7PsZPHrlJ0
gPnbZp5nH/W42I29sLUD8ZamCkeDeQdL6Mi5BCKMlNfrCOZAVWNN6u3c8mDbpfu+KykgJllxRS13
nr2Yh7CFbqzFTcTKN6YpdiPlXC52o6Eqd/1iQNIqgRepnOrqulkMSlFoW/fABHAtaZNpqC6lhfRQ
Bgr7Nf6mrhpfqtyotiXOpyog2zuUun3R5icDb1SNRypqM18Yo1vjnTKT5JDjperxVAF/uebsEjGV
mM/Dm+2qjn0YlprP/JbArSF9srPhXPai3/dSYl4oi4GLQ8MxilDXl6mqHFma1EvCOCTWmjS7420h
u48F3YBYuiKGwEIOm+8l1Fl1I72EOcefgBOBUjdH7vJRGcQxiAjTaORnLdTdQE3Q26b7LuCspvTV
czTYD7raXMQtGtcG3okAEOgkbD+hma3TNHqIgT8oVfGFLPOtEjNC0iRvrB1rxXxu7cShiQ6/pltN
ERFa1tmw5+d61oGUGKmrZA4MiiBdy7W8SzuxLqJkqyTGgyLsg5kEz5ER3QaiuSwCxdca5buEtSXo
htu4jw9FCkwBbOiL6vQ+1SkLutFQr83NfdOZJq13O8WBXlznMdGzcoIuuVYyT8vz62lwzmaH/68z
7vMsJNlXWsbnoQsz7Eoq06Op9cwXe25q5E1E5bFPRxvB2U0zgRFp9rHrqrU2BTvdGpkyJQ8pHBMt
GS+SUfZ1K9zlekL+gMnooGrmo9ooPSprMSMdDEf2YbIxBeuhNlxF6OG0O6GrQt7XrXNjNTUkGcUc
pEMbZftESja6Ka/DQNtZ8FdWWhZtpijdzgkpvlkEBMLhCQrNey3IvazPz2NsbQlq0fzcLizIPdb3
JosuKKglN2tSkqDNO9H0V5XjXNZqdWKExrEupdejzFtzQI7hkHLnj4TvyV3mm4PyIqTOKyt925bV
RZbXL0WKx5B+L/DRS3SVm2TulmastM8YX9g1tUJtoCiK5odYrRFxdlc1XByrSk52Y10VFRke/Txe
jEvEcGqdUKS0RErIO2lE21qzCQeINqGto0dM1nadwRbRpf0g0lNdk4+Yj1BIxXhH0ERNNiliCcJG
SpUBZhAGhYvlyyxWQQRI1Nec13+3mj+3GnaGX241rfiJ88LiVT+2mkWBh8vJYFNYtHmLqOAHWgAx
tm2YGudV9g4E1+wC/5EiIKtmH7FwDDqGTqv1YyQbNAJMEj9GG781pdA/KeDokzra4rdgE2Q/ZFrx
8ajagL0pclXBMtdNBiVYGnjZIlV2c6PvlyAhWuy2k7WokfWg4piqdPeaPYyXQVFplJjAsfJ4PCix
XmJez7ud6C2HP++SRR1tSI1f1pm9TYbaJ5jAzazmbNqYZ8mhjuLe8tskrC7KmNyvlZPj5bgOcF+X
BAYNHLfmtnVeUyweNqPVIZ8h/1MVr+IyN0uITWlxssqkGr8HWZtE+0yb1A6ebBMYD6UhX/z7iL89
4g6PxP9+xG+6rH2t/96OWV714xFXKH40czHk8QM/mgpURmosqgCSF83q+4EApgLgyehJkZOS9Ywn
6X01ReCCijOQzCxErwhaf2MggI/+b9UUVR7ue75kDBhw0358xufS7nhaC2fjlBMT5jD7NuJ2a+3e
9jHzV8+iaWmpWK06+AzU6oI2e5YNe9E5+vQYOF11WUuZn+U4EWRZ5AfgpM30TXdepbfVlBBCZlNF
ifitmtXSDUsFDU0/Xae9CXNpDsBq2Uaxtq1kP0Zi6TEYDLzGDG59ku8RA40vdslAWSnVQ5Fr37HT
ruVcZtZfl8zJQ4NCSU5fjA5JR5ZP8dagt7SS0zTHz+MEuzGdwjVDuhvhpP1hLunqavNw1dVg5jh8
PHLsCN04nFNwwvJTKRt0NKao8+Wpx8of345Cq3ZtXn4RCZaEyJ4iHPPhYZKNU5KSKG+Ww5oAociv
ldlZWVb1HYDNlaI2Jw0C3CicTQ4RTjXMg2YAHChBxcWEK42w40BlPYtZ2tm5dtXkZr4qFszcHBWU
gIDnwmHYBZDoOoh02PcZOoRetaDqtAVap0Gvo9ii+2rknrwQ7uaFdZdauLIkunk0AIILdSHiydRu
UQ8JpJqnc2XopywiPUrRwicFxJ7D+lEtzL1uoe8ZC4dPy3qPdK3LCEDfuJD65IXZZ2tAXruF41cD
9JMsyH4jiD9V4iirT9XZKAkBm8EAJgsPsBKyna1ktCI4o+B9rbSROG/PrHT7MJrIiRVJ9gPk+ltp
SYHhB3S+bbTh6t+F6c+995fygHPyQirxkrXyt07xO40AI33M9QjgMSoiFYCw8d/d1/yD6b9GpDx5
8ssO+6FTvGj9WH/+sy8zxvzLfIxjmR/I2YGhPpETv7EyLYyrj8c8U+GncXLhF4QDon865uX4DkOC
+XSeTkXdTQb6lnogZO8WNNSxb4cJNW08xU+YMyXpANjXdADmdsqwnm1S1kpNq5BZOUo+nsZIs7Zz
J9E0apUuBt0et458jIwrYzIH42bQYhKKw/K7XM1jeAcqEvobgTro1i0nXEV1IYxdzFjd9IoGsbXL
uAsCYjh2F/Dv9Aok3vgjkOTfGQchj7/YU8/J6+vXqPjyM4HL8sof+6r8h0kGJUQZY4mQekts/1E6
Kn+osBwWR69uA4dYsrb+Kh2RxHBsdCwMG+hV33Up/h70+xtPr/p50E7tCNkNRNtbrwJX4PJ4vxtz
hFYNh88Y500/GRRkHFNgF4146ebLCAm4vQy4qd9wlDOF1JsIJWck2vI4xUHnSqpqdH5dBCyyQi6p
I52s0NGPD7Hs8WSrLSlIpFArre5ZpFI3Szx1NNPKDnp9PSzR1dMSYm1h/2rop8VhzPnJoBMoI0OV
Cb/O6/ymETBkW2KxhzqiBzzJh4jA7D6c9wRK7VIbh7zVnRaGykzAtiRlN2CoTkMz7mmjouGX0bcF
tA0qkfFvI6piEk8aUvrkOJvdoaS1CTiVw3euzxy2kOA48y40+zuckts5Flv8DQBVa0aumOJozPvD
SMIGTvl1RYq4Rpp4Iyd0Lh2OvvYD8sknGe3uSBM87Tn+iTrg+J6fcvLJ8VZwk0g/pNYmyFLSrkuG
DQaZ5iKV3Z6M89EQTABwbzVZ8zCQQbGifb7WyEUfyUcvyUnHGrBn5ONqS4A6gTXwVYlU16fhSC6t
SqI4oOGS3PW06Q8BMoWhMe5G3fJ78tk5256hgro1ue0zG3dU664jd8xtph0dIN8k533E/9Eswe9q
JZ0nkuBlEuEhAe31JSJ+4NV531wLlZnCEiJfLnHyLTmWZLzXIx1pOvE62Mi5UmiJM2MNiaOPl2D6
cYmo5ytAiaYZt5Y0+RYp9sESZ08NByzSfNLIuY+1mql58iVLIcQrwvDs0rnqdWejpRtbUl9nSayt
ngcxcwhuDDjNd03EMGneRKq60RL83XUUIXQwvGGEtBtp20FF/Sjb6LFBjuW2/SVuay9tWn8aAnLc
05n3ZSPxre0vPWLnoElfG2yEpZ56Bn4J1Uov6HW4dLZp53RXcYpqMwJzmeY3JeUTY72a6U97UpTu
VpqLnVbUXiICGwdMhsKWhyUNn61auHLTX5PK6Y5deVRm9aHWbUAM0ibuenIzh2mvpygAzOy6hwyh
jMGzU2D2JvrbF1ZgncyoqrHBDjetVJerNI+vRjN4sNoAoUl2CZ3YE6ber/MmPkbqeCuHJppg6aIx
tthM962AaGF3rzkCBFN9ERWQiyy/tGnVoO2is6Xd6EOxiZPpAYvYKZt0OmwG6fKDP3a0U6zsmHF+
lBsKQ9kJXDtznvu0gpikHKais1aJNa/bsebb1c1XU1J+nYVYz/rSy6q7swgFJkvyLZmgKYcmSw6t
XZ8cCnEQr2kEdq0Xk/Qv9ej//KkAw8Dwi/3p8qX5+pOEyOVFP7amN9wRykpFpX3wkSehgpogUg6T
xIIi4zj419ZEDOSbNYaWBsSjt1C9vxroGC44PRoIyt4gjL9TWFG6fayrOOypeNyp6sCHs3N+3JhA
IkaJE40hBp/pKsnzhw6a9rs7cvl37yDv4u+XYH6AypQODVFAHy+xOMRnYYFBR3PuT99C758ixX76
Ht5d4NPmmg52yhSJ94DFDRe6iuDmnwjoPwtosfn1GTUwt1ChrX58E5JcjPZIDbply9yIpSUNV3iO
w6txcNZp4GCZ7gc3q/li4apa/foOvqF1Pg05Plx9cYG+Kx+GwOp0EOsw9lftsd+Fh/Qye9E3tPJd
zZtXX+0zAjt345zaVXVUz3gH1vV16hPovBvk1T/lKyy19uffBkUBqd9gt3AHLR/4+9+GOETLgvW8
hRa7EidJRm3a+lUBDjnzf/3Of3Ypw1g6ETTxMO1+6rlZo5wZiIK57bAIaif0i+SYMCEpZXQOsffr
iy138fP7en+xT59xMOlVrE1VuC0tczVwKp5BZUd98Q+fJgXnLy/z6cPk/KU4DdPoLS28hmmQU/nl
XDKk3mnRvRk+/fpN/fQOmrLKckFzCVTExw+rmuNALQjP3uZkv4QVodDKekwHxr2eIn4/n4Uu7V/X
+vRFHIG5oFAOeTCCdu1IhFIpWxwraz3UV4kyuf8P74yamqYs+Zwskx/fmaYn5SI2I35jgDgxKQv3
AKdH2l9w8HuYRjpHv77gT5+Pdxf8dAaFw+HkWBjCbdBCmYBMX8wP1Oi/vsjPFjPj3UU+LciTiVNP
xJK00dobtb4V2u7XP/9nq/G7n780J99/ecO+SQmj4+crwXNACLco7ugXUVP8Kcr7n8b0nz3lb8hf
BMYWSuZP15FrW06QN3KzRL6WnfsphHneXegExTfhsZDvfv22fnbbwLVYXIvuJdHJn94WWKTeRqe8
NTnkYFxww+jLr6/ws0///RU+ffoTkqewLnjcwlZbD+rZ5MFuHfMfPp6fvQ/MluBcTMfUnIWp+v7j
seJpKoKExaG3gyc9lXaWGni/fiPq35u8KpFGCs0ZAFfEmH66V3D50WlEPMeOstKRha2c7eNBdcmG
tnctmRyn7HHeyI+Ke5e/bv8/r/3pLpazit/M5PHDqe1LX8ev/H2V7DEbeQkzlFV40UEg8Y3vhnuX
ePDsf3195SePJUpDWNMUPHS53hrg7/YuY1aIKy55LCXRbGzkKhq4kwqjx35uZWxT6UbJka4b0p0k
unPWK77iTFfTlBybaHZ57o4BGcd0sInTHp35H55i6j4+37/2IHvRUTAGgOy1IKwXw+vHz9+who7f
CEWcxCE33kkG1MhMTRvzImOKPZMNq1Sc/oIcgKQqdBRC5tJPJaYWSF0wFm73lsUykcoy6zYn8FGd
THT8Sps8qG+wf5h24LA4Lq9zqAqjBZ96CDe2OmKQrC4bBReaOnrcia1IrLWomi96C2WrnO5mbHNU
ea9NMJ1apb0LnfCelvxOMsVOnkxPCPUynmpflIsj36GkFA+NlW6HsXeTwT4xgn+CE48n1ZyudWqF
uhFHIzQOxFt5Nv6VvFHW6uRc9xMkGWjRmQb1wCnBCKK478EURDO1XbUJneqin6cNyK2vCpJyLUGc
oLcvZd3djhEyi64gcoUufGbIfgr1Z9VVzOKWjIx8Nn2nVp+RxeKni4NsRS1zbyqV8LSpb1dRUn8X
YcdBWNlA0I1c2cFnMwbzbV7rW0U05iqXpnVcEqrdl2u5CE7gezcEdyoruTWVXSn6FiZO6yPlPxU1
JVqpb22y3hganlHhXQi9Ouml6krh8KzqwKur/tShMdDsYJM73Q2tHVdDPwJv1xsalE9TZq1TScB5
cjxZowM660Tz4piQp6OZOudML0GWRe1amstdJJj6YbzYlyjEq0S54Q/9XtfPDh9eG9fr2Zg2ki5d
z/x3eO8JKgmvoqi7Iszytl4G7BGp8Iss3SSYJxq4Wc1jjVadjKd7J5dz2irtpajy2ygz/GoizVSe
NEoJuIe6eSrk9KC2+lGxW783h1Urj/s6y3alxMheVEu0DHkW2eCs6Jk+aYO1ixxtU1cw/yEOL9Sd
FosqbKFLdI8Hsl58InAQIwxbvWpxI2YSykS7aZCDTedRVteREbooDMCiKjYpvrIXgrdbxfDD3SwJ
dHxYkELsZPDbWTe8alR2TcaTMzXmTZCHj5qk3lqxvhGjdSuiAPtzYUAkaq6dwnLjSXqu6grXl/bU
dWa9SYroDP3k/7J3ZsttI+m2fpUd5x4VmIeIs88FCJIgRWoeLN0gZFnGPM94+vNBLndRNC1tx76t
iO6IrnbJKQAJZOb/r/Wta89X9qUVUZ2LbvU6vDTIcKHu1e2YUBehWPEBUznCTcuGh8uL+vYN+7cU
PHfUf99evQyz1yR5rn/tYsw/989pm9Yqz/pNtY6vie/nz0Lw22mbPTDbxXmXMMsLfhaC3+DCMnVg
mgusjTOm4udpm+wN8Gqc3/kWiyb/wp+ctuev9z9fdxDFnLbhNloScHRVxTr//us+yYAMVQvsuDFS
j530cp1L0g3S0cuDO3P54288xPWcHIewBSh19GveqgeHu4gqq70+qy1WWZ88mnqdydEuyeJPFvNT
exUEgf8ZZV5rD9ZS0Sgny688Ye0r4mUmkQfQN8In2+ET67V5MMYbQORgjCDL6qbV2C94am5T41ym
5nmdXArUd8tMhCXQf3JRR7eOSj23zJI0NvMcccmreH9RPTsnGpEknemJv0oDfcOK50Ju/WSf9+sw
GPwMevm0HVjx3/ZoB9c1aIVf8PGx1sZ0mYwhFcDXXow/ObAcPSCu5f0gR3vwSEqK0BoYRGe7MiZw
OD+ZZ+93K9ovAxzNZy9W/BruoLWOy8bW1J3R77o5z11aGVW//qM5/ctY88Ue3DG9kIYqShlLLs61
sV/U5nc5if746b+/Y/NjOxgkkJIh8Ci7rTtj7ZudHQVAB4Obj6/kaE4fX8kbautgkAJ+VBrQzSKX
qt0rSrE3e1AAXUx4nDLEqPlZF+mVTH+WvPljWBMjqgG7ed7+vr+21BJqQ2pEbqBRb6NK/6YH0idn
pGOezy9jHL09YC/x7OXcv1Y7g2PiKIQvws4TwjMp26sVeu9oWIbeU5Fdf3xPj461vwx8NBOTuZgb
8eVd05dxk1HdxUF+xo6EjQGYkP/dWEczMcCuE6SsL2sleGpKE0LXDJxxBCtbfjzQyY/EwRM7mo2Y
k0bC0CZrXVUbszSQ+s8InNXHgyDX5sEfrEpv924uoGAHk6EXH9eAxY7E1KHr+BZhSQjsDkGOjdis
WSXN8A1IdmVnBXwtWgyGth/HpLjOUJpNm87r/JUPvq2YIfTijKNH1qEsZoeIE7Qzrd6cwfXljLDX
3+iUM9a+mQH32RvrPnrj3jcNxmDktQLoeQzyRbAcBmjfk5Xf653/nMXlU1LXoh1N5FLPMWx16K+J
/T1TPPV2Al4DXFj6WlTaY6B0a6Ub7wch3vpVwvYv0MB0qYB1kODRiVlWfnEvxuk+bIR9nOT9ZVEW
ObJPGdQA1Wu6PgQYJ6rfrxAwL7QSF2YwAeqeygoKgXcelnq+CYjlGEYi+QRDjJ4sQZtPYflwY6Ug
iDSiPuia2mNgvJhBu0ukLHSa2grOxsHIH8nXDq6IBpL3umxMa5xK7XcM/zWWf3zXm6Lh4CRLSuJ4
WPDWYiSOL22pP3dYn7Y4L/x1E3XphRAmllPghum7cpdH/Z3Uo3iK06JZFVHNZbTeTjeCaNlV4rdI
VB3FwBVktnutTC57X70TlHAPg3FZ1+F3XDhnJAMMjlSK2dInFOBthv27YZ1Ljr/fsN48Z83zf12f
FN7MP/lzyzpjNnBRWBKbT/gbhyRLA03grAokfXKOsjqAc0ACwF3BdnIGi9MfmgUxB8IbNKr0hv7W
Ev7RllU+ARxnA4z9g6Q5kWL/W0nlYLniDFPjfE8NN8uM4KUOxiFYRPWAUHzsqYctcnZHqz7yzZqK
gqV+CxQTaPYog32x9Mm/wzpWfO/p6UueMGo3UnzdKZEg7lC7xrzlqFLh2WRlgw8ckCW970CXQbWq
cxcTOl5ED23W8sF9xTu9CaT4PvHQ16RxaCxYNHF2tcJlOwTfUqOUF3VhfSl0c69MerEutPwWMf6V
D59f9pqt51eXVgW2o4vWij9eDXXyhKwPo/ksFyLJkirfHnlPC7XbuxI1Gg5RrCyT6hpj5QD/W+vB
b8jPOfZHE3tHaamPhdo+p/503o6GY/QeMKWU076hdbvJF76EhOqQ2lnvMl8FVzVau0bQXntDuOqi
EjZPVhlgvMYXw4jvpCjacvbkiNkuLWvcSj7KvrjsN1PXPeFpXPdGeltJ2WTLNUBHo44ey9HzUCEU
m9RLnSa5qYcMOoAJcDxPcJWDPVDRg+Tqps17uxZBAOVS8YjA/1YZJXJ3ctTLinebjuFt7iu3TRGe
JZl+YWnkFxVYNdtmF1o9gWHlVZtDXqss/LIFlJKs9Fb88osmR/1Zg/thOoZOlarrWM/P2GUswypa
AxsmxnPY+pSjBCha9WCAr5ImPAdgSHqdPGxh38QXpDYspLp1w0Z0ay+kacDjzjVlS2T2ukJ60GvV
ZdAJ99Lo7YxQcPMaK79uYuWXqzU5oBPuAYvjfd87VmMhJUTCAnRlbdCMZ2+dX0ZV5i1jv3hqTe2l
zPWV4SurUI3PKH5FdoCzyIYUfGlS9lh6jXCtFNKZpItfKHtZ9bAwjLay88zctm14LXba2jKKJ1WO
XPQ2lKTifhHX8K3DKvYuq1AxFmrBE0pVDMViZhisEZCdM9EHAqnX8hXN2OHFMpgpJLEI5QMc/WAF
dzt7BeXlwXMbPHWLOjy+MgStZi6X1a6lovtjI/Pvh9mi5P3Bh7n5r137Er7+WkmYf+7nZ1n8C4yh
xpOgKf6ujjBrzfABzPxDTQbGwvb+Zx2BJCJ+gg7Y7IubP9j/+SjPNgVyz0jqfLMv/BFc+LgdzIbN
5EOKlgRi8ezDP9rJZ56kjGZWj+skG1UF/FpZ7sM3iwBeARBz1wnega7DnDnAKSta9lxv/gK/bKZs
Ew+tEi+L2MtuAkK664UkVVvLry8GnPa+HNzzzoyl02hS+V0UktdE0ILhNtYiS7z231RpyixQSwWv
Gx7SyvOgXbz5Ef5817APX6q8zr83/3ee0y85nrnQD5o3Kd4//3Sbp/zn+F959xP1/3v7Y/81d56b
53f/sHyjJ1y1r9V4/Vq3yY+//e9/83/6h38ra2/H4vW//8/zN9iGDlL4Knxp2Gwfq24t/r8PZmfb
P2fZKcHj/HM/Z6f818wVorfGgjzPQs4gP+tcyl8y2wiFyfZjgvJHf89PNg1wvjjhqrJmie+CZIne
I5uEqhmgzzf975+UueQ3Oe7BkQI5JZsT2liUNxR5bsi9P2vyTctnaHrm9rW/JDnsezBRvi3wksGF
669qrbhou1ZY+HnaLvsal3Qo6fuBXFp7jIPabQx/WAbU3hep3L12nhTCjom+RIrZrctO1FgrqTrX
iCEX0xCa96UgWjHZJdTWY220iXeubQNIY7eufb//hiUcbk+twPwze7KGfNFVk3IlVF5iZ3W76ybl
jjntL1q12reS/GJUUWc3/XSrTpAH84m0AyOv7bBARVjXhHPWnGlT6Cxt/mT1aCBi7yYoQocd0WUT
ECmgJllqk6MK+4gzvkhEOjssxJFg67kzMckB2V7O/XQZD+GXfGBtV7sroyzOMzT+ZaTfykW39Vmf
VGvk5FINbqvJq3jQngJs3CThNuyJdlK1U3J1nQsrNdZWGmLLOu1eYREtQwgXnFIvka04g4zqMClJ
M0k4+Dc5xvac/lKyNLtgZVnFZcGGZTKt57qjIZz3aQ8hTNsLDRU9Ja4vYedEDtnnsj1GkrcLMKhX
Y3huggxejABF29zoFsHMrlBY71KYTEpBY6UjQ30ZhKjY8iZwOrjDtaKK4E6DCN8rOIF4KL4QOmZx
VOqgLw71fdEbO76f1QJ56zIa29cgFSHXzKpOLJiLxq/PovgGkPU2UcPH3BevawwDZDLCF6zJmgfB
3JQLD9SUTIziIhJLvH2ddTb6Mya7Q1tLa5XOWJFHsLoBEbFhWMs+X8qymL7DZOvOClWEs2NJjS3V
Y7nPZKGxM3k80zKF3oeg32VJ+yI18mNLNGkAaiOsw30eeLe1kmLoSCEREGY6EGqazOmmMlR0h536
ecOHnAZFS02pfennQFRvjkbFatzt6lr+WieD4Ew+AaodTs6dBeRth9GMLJ85aFWdI1dFsld7w/sC
j9u06a/f1lT4nHEOaq3a8Xs2R7dOYt9SA9G3oH6+ETGl4pDt3HoGM6ZQyjbdHAILZ+CsmgZjIc4B
sf4cFaunhMaac3ysPAfJCjGRssEcLtuXFjpRft9FUY6rsNA6NsoG7mVCaSnoDBdCQFBtDBmEzZr3
LZhDbIckBDlCrq1Mvq2qK1CkCbxVInLfp/FJSQyXCFnZHuZwXIWzxUI1gn1DXA+kCyJ0C7J0vVLA
KdJtFDJ2DbJ2YcR8J0bvR+3j3w2Qxc7j90vM7fOY5NWJhYmf+rnAEOZMF0UjRxkK3XvZIlA7VHwc
Sv9zvjxYYDiKcpDVWUzmICy++z8bKdZfOgbOWUAHxxbp2B+h644qY3O+AisLxCDEPyIa/qMdUDON
llkkSsXMrs9zQoqLTn3x1HB5cFv+J32Ut2HoynM+R8CPh+VdOTiUxZ70x5EXfaQw4g00AgDp43j/
eJj5r3m/WnI1NBxk7pzEDTqq84l5HKstYVwuJpxFgiScItLaD6WtGLc3SWn+qMf8Vppz8uYdDHe0
OGc0k2VR7UhYxX5VwXWO1WrX59P/cpi5DH5QN5AVRUDh3VduDoYfk8JVIvT3vuJ9UrKff9uPbh5t
vcNh6HIBv/GGyoW5vZDHbNUp4j4xAok1lmCej5/UUen+x7z759Yd+yOrOqBeF06Vq3tLhVBvJ329
HaLNNCw+HudXvek88w4GYut3eFV+rpI8XHPz1HXm5ItL1T7HPrzoP7mek1MBOwqncwmP1ttJ4+AZ
iUpd57Lc8owU80ZXh5egzm5ow//gg/52xs0V8V+e0T/DHN+2QBwHKSV03VXbOyP/ItHf+Ph+nR4A
s7eGFY395tGLWnYE3PlCWblmr8H9WULpcz4e4fSd+meEo9nsi7UqeOSYuJoWr6cBHYdYuZ3RfdKk
OfUpYA8u8n3kO0BF/v1zV622nuKYT8FYvhg+1YxEWAVDuEiyr3Xw+PElnRxrLjhygsQPN68Zh3Os
iac86aW8cgf4Sp4t+24PeBB2lfrJvTv1dJCYY86yEPKyQLwfCFOK4EdzDIeuiBti71Zd2N98fC2n
Hg/HcgXJIVE4kjr/+cFEbvSxsyLPK91ckO/lWANsJJ7Dq/+xYfjtRH5bWI5nMj5IHYM2V4Sd6/04
2lgNmhRawFqc8HzaYfMvbXWZ7yHsj4JdLeNLazuRp2Yne+Oy3brJ3fi3i/W3v8OJu2nOUmh4zSiF
uavvf4VBIlaxq8bSpZexSBPg3sMnb9MshTh+X+dYJXkWyOnQmY8emKjEfBmGqXADDNlb8bxytBUy
91W6Rai1iR6kp/g2OuvOy9Xo6suPn+SJy3s39tGXL9Ckum9Hxq6a21B70fs/bN/N3/B3AxzdP7mO
AtVr5cIVrCsoZBw4OZliLs8+mSvz33M0VSgSoeibXX+i8uYJPJiSSt6o0Bq6wlWyNF50deiWaXVL
7NsnU//Ea0zjgJ0VhSpqTBAZ3019q81z9GJV4eaIIvL+a9cmOLPvB9EVok++TqeeDTJ8fb6DyBeO
L0lOBGUwcRy5ul+BngPql3z9+OmfmnkHI8woy8P3eMomsdJDRghN1a6rGH7bxSgNfJygCFqo2mLb
jL58POYnV2UczXaOITDuSLxxAbduLMx1kexvPh7i1FywRPa9KIn4QklHz0gNYS+DycvdQBRWukgk
sFno1+3UOR+Pc2rfwCfhn4GOlilpKEu5zoTcrZf5d0NZoBnM18mFkTjCaE/DJ5d16s4djjY/zYMp
njdJSBkkYIpr7L3IJFCNHyyR337sTmy4Dq/nWCcD6m3w65oRgl1AHsJzdiP7y+66WH983069Q3xJ
WT3QRDO9j7bEeKQqpTDMnBIGfrtt5AHms5WG0LHFxwOdWkDmb/Z/Rjp6QEJJaa6XGInkkxUIxvm/
PCL5snSEdblKnWBpOe1yWiFhX3mL9pNP+3wC++WrZEkE3aGSo0x9fHLy/bofjYHxNRsP6KZcButJ
sSvHsi+Us2wl2dLuIj4LVvomXosXOEmHhbhK2Hw+k7VpF/a4q+y775TBnM9+tZOTCUU0p863pubR
d1mIQTNN7EdwDBQbdBWOJD19fPNPvoXAgEjLA5byy4aHrDiztiYxR4KgbQR5GXfmLhk+MT58Nsh8
mQfvRC+qFK6I5XPlRrGLSqadmduW9PDxpZx8Lw4u5ehmzZRPuc0ZxenjbfVoZY4B/NH/ZLbqJwq5
VJmxu1FmpguCfe/91XT9UOSpXs9XQ9aQNSsfhDTMv1il/lXMySqXEgUOSirZjZXdKlWp2QCHL2s/
UG3JKB9lbSrdIUtf4bvXaOnrjVZmykKQbtJqbtKJaWG3kifdZZ0GsU7Mi2vZ6ElbgNk5uoVSkDA4
BWp/rzaNq8madp+YYXgOXWQAqj7H03W+T15CXZfdCO9kiLqtqCl+d2aOIgQ3ovvyIWzsOot9eoTj
YoSQKyB4Ly19ywcZVnBeUYUDpsJ2bxHrXWzXaXRlxa3uFMQGyh6tyJggQY1K5VWXeK7s9/diW6Jz
zhYe0YO6D/dbjfPrBKkxO6fzmDlcD7jcfQT26LyIrVEWWkxtTSTYUG+bbEmMak/rr3fLProWRHWb
Sun9GBGJCDzWWhleJSG1D69agSi6SCXCsJjDFHF7By6ovPtpzllM+hr6k5itx6bc9wkBsiTFE0wd
mXdJUYP38/VXcxo3naz7dhKoD3prPCuR+jCaym3V918l8C2EB38ZqAOkviqh0C4n5mq1jIY5tG+4
FGCcC3BlwNdvxl5NF/SoN71QPVUA5MR0ckNBfPAT465UogtNi1BX9+epohLNM+rLkpoijee12EPI
FSRI/7K+EwZ/6VFWXqihcm3QA5CmzrOncDwrzcilwPxAurljJkRqBLW+8fBjNyUAvUoe/KsYtK7U
Tl9kErsGSdsD8V/IWYoEYNfxK2PKdOL0u9bnZ5gz3LGF0BtH0Gq7m1om96IHOR9ywOEqYLcK30H9
r3J12HCOc/u4J0LLh54aWHajWqtIV/fkNl4M9ZcWtgfVYVcy9ZtJEl9Dyg2F2ayBbF1gH38GA4Ys
n8AwRUE4TzNDkHY6EbaGHl9bMAQL2Vo16bSq2mIpBP4iCNIlcWGNHYsUPSM1XJtDtTECVbQTuXUC
Rb2JCunCquK9pGW7pmvPiyR3wyz5LnvSWvWiZUpEVmz1q66tIUYY3Za4oqVWqfsQ4KtNkvt9GQiw
iZM9zlHKvjmOimLOuHX8quMREUha1FZN0h8CNkHaz7+6JYLX7YkcwoAPbwmjf+92mUqE2bSo0myd
TOKeAshNFhhEmPVO1TeuCOJPCctdS/Ra0eRO1KQwbGeMUAnsIRanBc38u8Fqr00Z37xYrkU1dj3F
us6s7IqMiG3e58sy5NIbZq2jTMZVCYR49FLkJDM2MF/7JUqAId3Ver8XRjoHcw6lNBSrKBY3ssrM
AURbRhWmxnYlSJIjEsWENQIOcnaGVZVol3QjSL2jYQXpLPWiGqJL4im3dY+xYIQCPDXm4yh0hEkZ
JE53X7ETUBiHmGhGmhMrOBksPWOyg3jzwqu+N+0C8n4D+kppardNkEYgnnIUCOCZp90l2kDAqcyE
A7LWqcgHOGKkc+Di4FhlewcJH0NGMIc5iKHtgyxX4uQmEaXrXBxXiuq7g5csO/Ifw6o6i2UJNbIB
59rfVORFwKiMF4AgnUBWbzxfPG/8eCmQrjbk4lUjRssROK/Wly+qWd22WnGZG9I3X0nPEkk794xo
11Whq/TNCsYVCLvOiare7acIHVxZrdLEXOkRzIeknL5VmUSUmm4tjUl/kEsMSZ5wJnfskDTd1eio
CsRsoHJwOCpfh01w0XvSmRcQbqWnyy7WnElNyKZpWlsXpG3qBwgcvFfAjvvciO9xXJB3Bh5BMS+l
CcXa2G9zzu1Ifd2g175YtS+xUR7dXI22sWg9KT1NKBBkO4gWAd2oGFajDC2vWQT56PidsEyhaMCE
lJwhlRZGINcL/Db7MahTJ+vb7xPQTYkVKR2NfUzn0I7xOClauNXIDpvi4TFD7R1r5dqITRtH8hmp
YZtS8BteZcKFLKtbie2MMOuNfaYHX1NktAjm+IpCTU3DalekxV2FRcyuYcoHrXA2BcZD6jX7wogT
5m2G4qMrbqtmWrCYbWnjc5/0ftdCeCH16Ixz12SX0bDyLe25KNJLy0RrGE3XIW5hOfYWyTytUkBp
Qls5raAs1ak5q8wIqmwasadj3sRS07BK95Edpt2m9bQrVM0rIa0uCz29GtMiWZREW8idCiuWlann
jdLHaamF9NqQKIqttK/D8ZLX7VaZ4pU0pptEyHBflY9iLzg+sJKIHmcvkuKdxKvMrFYgZZ4qf/zK
0fqpT7W1YPB2Be1Kqi4Cf0atXBfFsBjF4KwkbiaurIWeeQtRu2xkKpxC6pga4XOgUDNMgIMI9XvO
sBC120Ts9oXkuWblEfCBiSmyEjftBuD8Yn5tDdoX4GKrShk3sghkJGuHFbR+RzXxwpV1atmZR66U
Xlf0HPtrcerPprS/nSNZzEnf63ATF2Y3PRZA3iZduRqD6r6DhLOSZJJ0EazZ4wAD1sNuVaYIy8J1
7uWAX4zoAfGYOxhJRr2xW9Kd3uZCAa5WOFdxGDpiQuTjKHHJiOFCdS/TvyTCPqJZORL3qF9IkwFN
t7o3+3bVJiQcTu3Ob3v6h0a1VKKscpQ5h9D0+QX1ISNyOcDAXXkrdCduWkYSjB4Fn3qDOILEvpr8
1rLKX5K4XcmqfCnxfbYyjYcA9wrum2AVLv1Q5HTGrZXEd9lUrlNcb1VOKJ0l+G48EPboVd8bPXr2
QIRXnXmNaHdpTiqRf9W9VXY7oyFqvtPvrbrZSQmVGUA/u1oUvhiJdiUMtAv9aLhiO8nLkDb7JhIX
QoCFDbQc/6ucHBrIkHyElVghGRSatUHKi+mDtbREaK7ZWUgSkOeBQVbKx2YkZzKOvaWVWcjk401Y
or9FtI7EpXzM8/yr3tTt2qy1i6DBMNcX2o9ixL/tQYvjwu/bg/d5wqbh+UR/kB/72R8U/zIUIq1M
fY7JAsjKH/0UoIAMJ0vKgBdHVeo9ydL6CxQXuklAlxrB3YewVhOjlQxRAgYsVfaZP/cnxC1lPpi8
q76xKnFwweoNFoyRjs7Zfq8rWas1+tqPkltgbUlzayaiF7vtIIMN5jhQmwu1rsqUfI6ypEkfKlVx
O3nqcINYMCSEIg6Gm4LNLnmJ7AsRfqA4pfIVWZdiF5FJnWujg9nPyYDJoXeo29B/9ZR2tGOigSpb
lqUbjxhSu9IIfOto/DW7vJVrUuxATfiPQsmyMvhm6e/BSy704DxN5nSeTSDEl2ElXXeBtc6Tzlqo
pfySNBaChqmSp32bDs24B6sCZXtGlRcV0HKLSCQPReYq1DVkKIDNp0wLFxkxCu5UECIB7FJ5qGSr
WqpDdQ+2u1ymYa2DFRKJO9BQlVpj3a0jowvYYkcLy1i2hMuvo9DYZGwmmtZHjItRDjKt9DxJ84ev
6lyLTZBtSH6/TzyqxQEGlm1SYgJChFCs/LB4QnIRolRLpGXYyxOmW6hRZWTpyyoJJluxygs5ZBUF
l7TISeC2UynRb6xQvBNqNVj1OjtYaaoWZTCbZCBWcmHJQxZYd1kTX2Zi8tRMcgZ6hRuvBN+tKL/A
dOkqfvWl7KuBowEYzTQlWTPEEVwE2rhoOvyvctktSA3dDgmSXVW81BPtoS/iGkGQeeX37JOHYJP6
3bdySMOFHyIVqif45hOrZc05jsb0vm6lh1CIHwd/ehkb1XfEMnGUmlOIwCabu1bZyaBdK22/Vkyq
s8yTZRwr7aLPSZ+v48IWK2vV1e3LYNbftCTYJg1BUV6h4s+N93LHQjIE8l1Se64mWBfRVKZ2Wcfr
IeyypaD6F+SppksRx48rCR17x6BMvkiBspOrfNf7rblMKwNOeAR7LNHcHOFHZlRXCcQziIXkR5kp
wYbyqpmG19hkYpvsiXRWp4jF3Kn4ADeWuRyMdpXIFq4dz8kJe7DlwYQpV5eiC+72DOXOV+YZNbPy
fsQsEUh1SrgEaRmJFba4wQTRCaastlU1eSraxJGU4iKgh2FbUcjOGu7rsuIaiKhFNBtyy6Up3A1p
xbU2ariqmxmnJgjquhbhvsha1nwbKsPNi/ib19eOF2r4KFgiC4MahVGJl02uKNuqrSNn6DOA/upU
UCxQSE3Ps8mRdRYcNAUXuVCzv+xiyPpKssXBeO75GTIpi2hXveLNVbRxG6vZsvOqK6sSwx9Vx3/X
l1nv9/v15eE5bnHynlhf+LGf64v6F0+c5YMeFAzRN5Xtz/WF6ERlZg/9s1K805/MiFCWHrBaGEcP
9SeASkV0idDF6XX/WXDVL7VKHeGvRPzVnG6BcOOo/CYROxTnBTtZQZw5DIuimz4p1P5SkT4a4agi
LfhFGih0PVyddOSuWAQaJLoKnZ7wrUXbcHD/L38si4d+4V+KwkeDzb/MQc2ynLrRZBFr3Iz0hhQB
Sqovu2Bclf0nSpfP7tvRqlx5TZoh8W3dqVtbeEaz4pMS7y8DQE2TUJzCpMX2jKD1/ZUoveqN0HMa
N6zl67YBSplp5reP79Yvj+ZtDHrV7LRp8B13wZJIyhUxMRpX6M5auVq1/VLnQxKI+1KIPnkyJ8cy
mGiKoqsUro96U/1UN5M5So3bWjdzjJS/npEQkQRHUBKXH1/XiZoynSlaviDkaQ8c+wCDWmzrOGCs
aWJKtypEQyV/8GATin4bst2x+Farn1zgr0SW+W7+M+pbR+tg7hHUHad9OjVuYCL5jeTzpsdwHYm1
LXol56mc87jhVFW3L5HvBn2ztEAjpUPnloJ3G5TSsijaDYr1fF5pqk9+vflFfreN5LdDwTzvcDFT
q8eOfavjtI+3rnHJxDCmM8N6MJW7j2/7qSl7OMT85wc3YLKiQcwUbsAwDstJrEGOfMLl+uX1ni8C
S9gc5cx2+FgxIAx5N5RT0bjs3lZCMzpskM7NaLoCQ7D++GJO3q+DoY4+W2IWSZqalo2bmtZGlglW
V6IFzMmPRzn1VoBQ4J3AAUHLSHl/y7wx8S0FArubl1/V9L6IHsSQwHrp0vOLTybAZ0MdPZ3ZD9fm
2NtdIi9tDYl35b0GkGLVF2n6pHP02VDznx9MhCoPQna6XFVVejdAfO/GflxwXDnT23hNNqr78U08
9bqr0syaQqMP4Pvo02LGoQhONmjdMZGeYMRdep1+Q2qMreOcG0KZQDH9E17AqYl4OOTRzayrvI8n
k69zYz3rxlJB+y1plOjST/Rmp2Yh+hULqztqhV+kFyK5f40ZWY0be9M5MW+DbZb5DcigT+bh/Pse
fx0OxjlWK+QC/YtYYJw6elDJWm03Hz+iT67jWJlg9KKYhBZ/vydottAsvZxznPr48SC/nJT5OqDZ
VdgDmPhI307SB9Ou8ArFj9V5EAyJevY8135jE3YPIKK87+cMETsgyvDjUU9Phf+Mehz8GWQN5CHs
hG4VKVeWMm71WrBTMdsnvfw3nPa3IoJjLMEs+Tm8RPXoeyFOxpT3BfPOUpaV8HUINxotDTnonL45
EyZKmTV1qNpbi63/ybf39NjklqF9pl7C/X3/Vhv6pEoYUtkt0KHVhcEujbukWjbJ1hq2bUYc3+NQ
rcf+k1ft5FPlECOyVwYxcryYswFHE6txf/W7/F4gli9fc0JqxIUobGX5kz7xJ4Mdr+FTXfiCOTCY
cNFZ6J3ccJNd54SpGgtK1h9PHL5Qp946HHasaYiefhE8KVpFozphNJBteyH09wLUcJLJt3KgXA6D
p2DB9YBXdU4a6Rs5FHZmLELVCB1O2BdFK+770VpZSXnezqmdYuWoTbgcBwFQFq1Ek1hQqVrFRA32
I62pXHHKtt9Oylyzts50iOhD2q6HyLSphK/DRnfUdDofrQFbNKRuLP120af3lKDuKw78DTVbJUWN
hXLYRnO50QPlixIqC1GiVk++OhTAhS8mG6svlg2pAlYGslukm5kMbizVu5hifS6J3305dzyQWZw7
yJiLFl2armePVZ5JTyKcL1sptQXRzmyS1HMz1M+Srj4nsOTB75GEEa8O1xtWa1V/rcfCMbThrMzU
5aROcNJSR0+rVZEShFuED7KZXDLShQBLLS2ztRo1+0zK78ukWcqWt5R7cAWWSpBdt0rixDXAjltl
7laS9W2IhZUwUO8PFYr4IjblcZWL6pkkEWsepVujqp/yiubM3NzRKgwkzedT5OQMQQZsgffHcjB/
Vw8+aYFc5GNRMEM03Ge1jb1MXgYXk7gelvqXomJSfvI1Y+N/YkhNYhml5sh2Vp7//GBII4rVBtsm
Sw7OeKzW6ZPYx4tEFBc44ZGziBgmydEei+tWiTAA+3dm45kL0kcD2xuGlTbh4Glhn1XDjgX4JpDb
G3WCZ6xJlU3Zw808cyUpUCQq2bcVgXbt0EXEoadILvANrRWgan6d8X0RsysjYpIaCYmp8XKoo0Vu
GJSkPAdfyK5ThOUQS44Q1VdS/kj+984j/44i4kWrTU43mfcaRaiekplRfmmMRQVfTh1efcv2uoLy
k+J4imiHWgoIwwgoYbVuZXV2EBB4WkOfM+obqREca5LPKLA4ca899lJ6QfnUUXI619P0hI/P9WoK
i23jaLr3ldjYTVhn57gtCOGTIkenHWhazTqUyx2hcJeilpm84+Q5RrySXXY2xOENQuAFLfULqVSZ
vqGbKMbrWGU3kpxtM697rKvkIsh0cm5J5chIXkb5MTiBmA6rSoruIjlZCfSdp0hZBj1URVNzPFoL
VAFpkpc3YdUt/CS+LRLfibtsUYY9TUeSB/8/e1e227aSbX8luO9scB4ebgOtebLsyI59kheClhSy
OBVZnPn1vehYsSQz4u0r4QAE+iVIYrnETbJ27aq9hkAF1I3E1Rzbs5ksF5NQllZ6XAB7UUX3bhxN
oMmIYz02kyBpEqBtS0F34iUebZGygkoSzE0TN34m8KKDeOIdzFVGIWyEAtxsSHUtvbD+xin2ikTl
qIZVYMlk9MC5dVZrY12B9gmPlFMX31P0eXO+RAqT12/6fDj1MsJ86JuajcfggCUJUp4MpX6gagep
Lpi4fPYT6mAznRNHHhATuVw+p2k1RCt56pbQrcuDSZVJ47jUxz5wGClkR6pQuHP4+GsFA0YnkGay
oDzCI2KoZRBrgLbvs8CyAFUj3chqvgHaexrBjjh0HVSU2joK0AgzYRIrgRfocjAwUqcF7iw8Oqel
5CKg6E5uKP5RuiRg1Bc+kM0yDL1r7U719UEKl9y0glNthcdHTRyvotOLHaCM9uRQKLOFWsBg2IAK
DPw98bZzwDTUkjisFVsaFlo4QxN+WQUiphrsDeMcid0bmnL6CHnaNeXUFR9BIBMnu5DBWZtePqpi
qA4GFEfxMBM2y20QCmMGF2EgHvZKiC6uxtDSk4tFJENCAaZJQuMAIaAhJ/kijh4FEB6RBAeoo6w0
86dpTjBxubEKKUWYCcg73UM/H74Zns7tAg7KB6G4MSvYV8To8WEXg9PMzB7aIA6KsMItsf/OPTb1
HVTmsTOxC6i+eMpfugBvUnhWvQTE/ZZF0QtLuI1WNxqWsF7yI/cpJrHl5MXerkobTVz2wmp9oOMg
wa3ClecXd7EJ2FMZvuYCv5Rd+17yzGnNV99tqXEPiAC8qbyhXopzTxCXDK80PJ3HUZVOmZKPNXQn
cM4/IhpgXHbET6pQ/p4Xzir36wmt3EUF425iGuPG+1GwR2IItVG73HFhvICw5F+47Wsd2pggnw4T
SgCGAdbpvuDFYBCm6RMgMksqkp2OTsWQqdmDFjjf4Ky1doCjCRw21kPxgVPyEQ24KYVIbookUHAq
CKwKFppavRd5MlZF9Ed4Zu4UjsCVuITlJ6BEOkQb0Dt6CKF9SyT/uSTKc1miDauTMYc3BaXMg1eW
Gz7y10BELQ3fUUeYKfCoDAwgZFK0eFJpnIqg7+bKmC8gegmI2EB13ReTqfYowasFC1WA4wiMR+M7
ty4ffceDj0ZRNufZgIVR9yXTIDoSinMl07/DURbOnMiiCnRp4XPzTCCaCmDUsvbUsQudSSgULeoo
GdsqTthzok7kTMPGyX8UlNwc+7m+lh11kJrkTo7LtV7J47RQ11qezh07+ebx2pMURVOTMmRGyCyl
1ZjCFKMy0Tlx/DuOzyY8dJkrpIQIWYgCKON79SwsNNhHwKAiIAvXcUE58EekdJeFwP7yCpQyvDoN
a/+ZJ9E9V5eTWC+nYOluXANgPJtbJnWF9noI0c5KmTmolCTEAMYphYyRDK6GP65zeWZAWn/AKKwz
OBjaFpqlCWQIw5InaAM8hKr6UOj1fUjqtULdUYVmD9Ayi1QKnkq0aYBEnBSRPZGZOwo5Y6Jn/phA
4alMYPJpkqlTliN0WpbUZKM8liYgh4wkoYK/vbAAwGRIQ+yAFWEmEWiW+NW0NJx7dDfRKYrGBWo6
Ex2RWtNfMkUaR6TYFAK/ckNx5sjKACdbcCTxqteygrVOxI9MMYMCrDKKKhde9oQMwrpWoW7j4W/I
GDSCslxSb9zSAG7DufOx0nBaOsCJpTvkghzSean7Aq7riEl0nCl580RxElZG3qr2qllawtS7Fp2B
7Xj31EvhkBf4EvKVrJTazgBTET/iNCdaFIAYfU/AuRIWNrIwGD4ZJK+Wtcx7Q82TJqwsn1gdTcxM
AsswfAo1YJ1s3JHYXemoYGdSzpE5K6Wl4VVD4CcAdfRWaNsPKywqI7WUJyRgFKgnOIcX7tIpxZEK
SjnD0lbgkNDHh1y2KZN4LMNkprShdpcZG5Cgh6VBpiwVxmZM9ZFfZ1CgMQY4+sxGePzfmGg+m+qU
B+gbaTTYxTb6MA4wPJFU3fkG7kwhL0yIcQMYJI6pThrcwFQpyUr1QEHO5WUJa6IqdZdRHWKVNGdO
7PzwY3tVJ94MTkFAmlZjXUYtFiGXTWQ/33BG8TXhJCCCpJFNtY2ckyn8PCYc6M058KKJDiMAtAGW
RmysChUlhCN+V5R6Hhog0ifUMiq2KIt4KZjA2cV2uDZScUSUes1I8KMGM17h0ntoMc5zJEIpkSeJ
lD9hT7/TUZQMQ5ItCG8uoZz3IJk8oOeCVbjiJOScbVbTr2ntrEszAUQmva9MdxIR7SuXaV8rQV5r
YQJ+v1oPSyUlwNWEC7iQPPmSPdRo/UqymA4CkPJJab74tIEkQVTOgUNZBh9S+pUXM0tx4yU02v9y
3GgRUuUea7KP/TAdaSVQZoCmUZ39jKky9UkBJIcZRUNeTcupGJBqDNvKoQjXR5f52ihQqxXoV4iw
5u5VMYYrqaSXQO3RbwIj8ZIDtN1GG4MvYTBYR7I5KES1WKohzG4KYVIg7yhZuRDDHAfqfKrjuC2E
05AEd6GgkWVTDBLOAqdx3gkI2oxuZax9Tnt921/+tynXkCIvNeX8lLYY9Da/dejJKf/AMYoGkrKE
3hd6czgGOPTk4B6IHoUAF0CcMp9Y2bwpleGEH4AQCKqKUBD73ZPDj8CHARfBUEV4ozUqJv8B5gNO
qOd7sEa9BHZhOO0Gcw0Cu6d7MEnBayFRXZjJTgIYQiCG2dBl5Y45GTS4I20VR8XY44tRHAE5C5/O
sStlqIRMtKeraKB40jOkIe6B1nSHSZ4/ovkCFHsGJWxYlCxCxnlzjYPdFOVzy9aINnULtuYlssoM
YyuXcB2gcLWUPNvCP4RBWev2wgsIN+C5SoJrmYD6L+YBKeP0pac7j7ZXzLIae3OoOi68QkQ+oncp
DuQGKUEqEMy5JxWrmPI/kjQEuSaOwAE2MQBBvewFAlBd+HIuDHBiDLiXRswnagJ16/JkE/HmNmNV
MVBrEI2yAq7tlb4QlPoRSPE7QDImGYcM69BJWYs/NRZspAh43KD8Bt3GeUDKeSGI01hR5kGevZDc
fvEcoMQlY1aXyV6mFLpaPDaFTEbeIoscEt0eiXZBYDeC3DgbKUIorHNRAvo396MSCeThSzhmSPEw
4KW72nYBi0DXzExR88Z8sCxDfpkCFYL23lOEGwHCkvmQeN5LBX31VA4QtVnOeQNiuQqTCmyrBLjY
wYNrIBu4L0lJX4FpgR8eW8E4CUUk4SO24bNsnrgMNjgqtsk1CAs15IySSWrjNV5JuQgndRtV81pI
wB0YsaSETzyXB4X61RU4dLxUlTSQVx6Qn+8Qza9GSWM4yRxVfgJGJx/EZoLtfcbl+TjPdYiEk5wI
zgpQe7MeghYVxfP/5ifca0UwMF0v5SfgoUO7PUfhNz9yVNOvU6GJCKPupm33kaMU6FagFwAnZWhm
/UpEH8JIjUo2GgYyD31U/PU4R0lgO4ISpgM0IKj6f5SiGqDdaccAKUpD+dj8gSb1eT8xksMwTtxE
nMHuzRuFHrC4IZUnAs0WnAqiSZSgn8k84MHtbOxnRjBEmfctqGpnnpjSdzUAlZTgBRtRClC6nmVP
mgPncJBd8kUeGfoDPAuSgUO9HBgknqE2hN2KqGfLgtlFPSiYBkdC6hnbAtQeEyhRLK+NMKM0C+uc
QxmnCckc9AgF5WjiLO2IhM/YAU6giUfhLgy7vMJVFxQkrmEsZmUxh0iHveGTQJwUtMBO3xUwc1ii
/gQqWxvhSgMg4ctwWHqQdNVD9ZFxjBvCvdgd2EZuRYH3FTu4YSEgDYIUb2FXj52Jt4A4K9Dd2CFr
lOI8lc+faqeAhKv4oCqiB8IuTLBUdy44MjwFcHChJeVKcRq5Vn5CCXY4nr5JGjRS6sSrEolBN/xX
2QxcbDSQLvwme/g6jv7h70EA0i/mSZNjYtueMiQdt9YfIEdGR7QSniJYNkJyZMmQpsQSErkamsKD
CiksRCqzI3g1ukhu6JqPZM/4YcfJzE5AsFB5Thv4TUbkWbCDGe1Mqu0FF8vLHP6AUpNDcyXaB7E+
c5FcpbRBatMtyE1zm5NQcJVzmtVzB0mZQcVSRZLWgMpQkvSHnIWzCEnczuw7xRTAitQWaZPl40Le
pE3ep1gACBYCnBvmONvQnuJmjXANb2bLBGdrOXgmWEaCZj2RWXNfmjUmwmKj2/lKxOKTYRFK3lYj
6MvpFQ7JsExlQgmLMzmbuVjA1Fhbes2KFtUVFJhoLg28EIqUgsvbC2za4DMiEouq+UiGYt0wC7Vt
jRULFvdrGBmqUzxWiyMa1IzMGFvhJIBCgLyIikqf5TwsNvg4fcyxsRuGaXCf5sqzwXAC6WLBBiR/
JWMBr3hwVVws6RGWdr1SwOdr/O05fqGCL+o3FUBf0u97BdsI2I3PNeugb/erGzZ0iL97+zHZJ0ei
dp0f+PMAx/p18B38cJh/+65G8u7X4Pu3i2r+/c9TBbw36b2jnx6k+I5//z24z5ffel2H/5yRPbPY
1ql+3ZD3K11bAVT4/uVbWydrQZkhgvcPtsv1/V6DLo0+sLw9O4wz3/3v/zQC4wp8HQ7/d9XY1WGU
o5FR7H7cw88ig/+3q2bW7idlu8NQR8NjobrB8Pvcah0dNf8NRqdF++jNFuX3y/f/vDVDy4fRfcsG
qNH3vH50x2I+TdP9YayjO49d1PXjkxRw1sNAH4M3/lbXDw5niMMwR0MDL3L90NT3MYcPIx2NfotJ
OgSRIXhtYzLIt5ind8TC5m1k7VqearM3vfrujPaPNG2xl236mdcPTso2CVz5FlN1lOWWf7jGo4d6
i4k6TrbWHx7qLWbqxLdsv/WNvMU8nTDYFfikJc0ot5ipU2uX7PZto99isk6Jv3UYdG0/P1nlFtN1
6mMqtSSxRgTr6td9mvk/D8N8vJHKLabpDGmg/fBMucVEnWHRa5MDbg7Srr4ts324Yy3ZXbnFVJ3t
WWiFu5YMptxiqs6gBe1j/LZX5haTdQZh4uSVMgo3zMOt/nh11FtM2Bn1g7ZXvlHcuvrZzsMdscIv
G5K35bPmZOTqr1hYWw82IYeRju7OLebsYv/z5561j3+LibuyflrVvrUqU28xc1fYJLTcmlvM21Vb
RlBvMWlX+9bneYsJu9rnLammaSNc/SKuyOuepS2jN5jcq0e/s3ak9TVsELk3GD200rbnqd1iit5Z
jLQ9Ue0WMxSDp23VjHaL6XlHQ0ZbJlBj6nj1TV9bSWJlh4E+Epd2i9l571k+bTX+adT5rr72e2+/
3zr0tfWducVEvUeZarfd+VtM1ftku6dt9D/9FlP1wfKDL4M9zn4ON/rj2eq3mK0PVrJtqWj0W8zV
Do/Ta884wAT0Wu7KLebqA1SrrKBl8FvM1U4nrWtvzKPFrISmVsv132K+Pu5hCEL9lgnVyBJcnQ4e
0y+QxQlbyuCG/niL4S/Z5Vx977MgbatPjVtM1sfLZirXXvtFIf1rB/8Wtq7bDaf56md6WeLj2iu/
TPC+fvT2zfYbUuX6wZPLbebLX9DWxvjtNvS5uXEwHGr7tbbmzYPF8OjHzTX8ob3zx08cWiYtH3h/
nT7WyaZD8ruf8PZt1ftnWlsrHa2Oo288DPP2VW+9pOZ73qM/+txpcBcu/XAD36lgn2/P59hQ9l6K
7aSx06/IkBguR/Z7e9SvuFBCXIzrrKnVr+Cw3bgc3ElLrV+xoXa6HNtJQ69fsaFwuxTbWTuxX7Gh
arwY23kzs1fRNS3Ri9GdtFL7FRpK5ouhHTVy+xVYR0GCRu9xG7lfsXUUJOdN7H4F11GTfG6h9yu8
jtLktIHfr9A6ChPQvD7gA/2KrKMsOQEv9CuyjqLkHDrRr+A6qpIz4EavYmvAH5cW7nPYSL+C66hK
zkAr/YqtozD5BJnpV3QdpckpYKdfoXUUJsdwoX4F1lGSnIOV+hVcR1FyCpXqV2gdVckpUKtfoXWU
JecwsX4F11GWfAKp9Sq6BuR2qTBpg8j1K8CO4uQUoNev0DpqkzZ4YL8C7ChPzsCJ/Yqtoz75BI3s
V3QdRconYGa/ouuoUo5hof0KrKNGOQKl9iuujgLlGBLbr8A6ipNjQG6vAmtQvZfqkjM4cL9i6yhJ
zsDI/Yqtoya5s06g0P2KraMcOQVi9yu0jmrkFAber9A6SpFTEHq/QuuoQ04h8P0KraMSOQfg9yu4
jnLkM/y/X+F1FCWn5INehdYwGC6VJWfUh37F1lGWfCZe9Cu8jsrkhPbRr8g66pJz0km/guuoTI4p
L/0KrKMuOSXc9Cu0jrrkM92nX+F11CbnZKN+BddRm5xTnfoVXEdl8pj+45Rp1avojI7ipInuhOjV
r+g6ypPHE5pZv0LrKE3OSW79Cq6jOjml2PUrtI7a5ITg16/IOoqTM3phv2LrqE7OyI39iq2jNHmx
jqmV/QqtozB5sc6JnX0J7zdP8hfJsYWPOfEpIzvrAi/46FjiiGZ5TMcUG8U6nF38TWRMyDM3agyX
DkvWlKXOl38Fe0a2Z7FtKSiwIaiwRyP8IS5o0b83i/6uyN5v5B+fFtJ+ut99eUwh+pKcPrMtFCgh
zrvZ22/U79935w+xfdzEvym2j5v5x+hOA4qgz7X/9ZS6L7HrE5CZbT6y9fcW++e/AQAA//8=</cx:binary>
              </cx:geoCache>
            </cx:geography>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withinLinearReversed" id="26">
  <a:schemeClr val="accent6"/>
</cs:colorStyle>
</file>

<file path=ppt/charts/colors11.xml><?xml version="1.0" encoding="utf-8"?>
<cs:colorStyle xmlns:cs="http://schemas.microsoft.com/office/drawing/2012/chartStyle" xmlns:a="http://schemas.openxmlformats.org/drawingml/2006/main" meth="withinLinearReversed" id="26">
  <a:schemeClr val="accent6"/>
</cs:colorStyle>
</file>

<file path=ppt/charts/colors12.xml><?xml version="1.0" encoding="utf-8"?>
<cs:colorStyle xmlns:cs="http://schemas.microsoft.com/office/drawing/2012/chartStyle" xmlns:a="http://schemas.openxmlformats.org/drawingml/2006/main" meth="withinLinearReversed" id="26">
  <a:schemeClr val="accent6"/>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withinLinearReversed" id="26">
  <a:schemeClr val="accent6"/>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85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1.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85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2.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85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85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14FF3FB-789E-4041-BAA4-8A5D3EF74394}" type="doc">
      <dgm:prSet loTypeId="urn:microsoft.com/office/officeart/2009/3/layout/HorizontalOrganizationChart" loCatId="hierarchy" qsTypeId="urn:microsoft.com/office/officeart/2005/8/quickstyle/simple1" qsCatId="simple" csTypeId="urn:microsoft.com/office/officeart/2005/8/colors/accent1_2" csCatId="accent1" phldr="1"/>
      <dgm:spPr/>
      <dgm:t>
        <a:bodyPr/>
        <a:lstStyle/>
        <a:p>
          <a:endParaRPr lang="en-US"/>
        </a:p>
      </dgm:t>
    </dgm:pt>
    <dgm:pt modelId="{8A0FDD62-5ACB-4363-8100-7921DB27FED9}">
      <dgm:prSet phldrT="[Text]" custT="1"/>
      <dgm:spPr/>
      <dgm:t>
        <a:bodyPr/>
        <a:lstStyle/>
        <a:p>
          <a:r>
            <a:rPr lang="en-US" sz="1800" dirty="0"/>
            <a:t>Landfills</a:t>
          </a:r>
        </a:p>
      </dgm:t>
    </dgm:pt>
    <dgm:pt modelId="{2E0A18BD-4B57-45A2-B599-17A5236A0DBA}" type="parTrans" cxnId="{FFCB8E0E-83EF-4599-BF13-C986EE976DEB}">
      <dgm:prSet/>
      <dgm:spPr/>
      <dgm:t>
        <a:bodyPr/>
        <a:lstStyle/>
        <a:p>
          <a:endParaRPr lang="en-US" sz="2400"/>
        </a:p>
      </dgm:t>
    </dgm:pt>
    <dgm:pt modelId="{95404541-6FCE-499D-B544-6283CA283D12}" type="sibTrans" cxnId="{FFCB8E0E-83EF-4599-BF13-C986EE976DEB}">
      <dgm:prSet/>
      <dgm:spPr/>
      <dgm:t>
        <a:bodyPr/>
        <a:lstStyle/>
        <a:p>
          <a:endParaRPr lang="en-US" sz="2400"/>
        </a:p>
      </dgm:t>
    </dgm:pt>
    <dgm:pt modelId="{9C224AA8-5D6D-439F-A5FF-D80F3FA166E4}">
      <dgm:prSet phldrT="[Text]" custT="1"/>
      <dgm:spPr/>
      <dgm:t>
        <a:bodyPr/>
        <a:lstStyle/>
        <a:p>
          <a:r>
            <a:rPr lang="en-US" sz="1800"/>
            <a:t>Ash Monofill</a:t>
          </a:r>
        </a:p>
      </dgm:t>
    </dgm:pt>
    <dgm:pt modelId="{FE1183B8-299D-4DAE-9761-D4155ED0D626}" type="parTrans" cxnId="{E02BB2F0-87BB-483B-91A1-E7038189B78B}">
      <dgm:prSet/>
      <dgm:spPr/>
      <dgm:t>
        <a:bodyPr/>
        <a:lstStyle/>
        <a:p>
          <a:endParaRPr lang="en-US" sz="2400"/>
        </a:p>
      </dgm:t>
    </dgm:pt>
    <dgm:pt modelId="{46ECC135-E1CD-4BA3-940E-260EB4B089CC}" type="sibTrans" cxnId="{E02BB2F0-87BB-483B-91A1-E7038189B78B}">
      <dgm:prSet/>
      <dgm:spPr/>
      <dgm:t>
        <a:bodyPr/>
        <a:lstStyle/>
        <a:p>
          <a:endParaRPr lang="en-US" sz="2400"/>
        </a:p>
      </dgm:t>
    </dgm:pt>
    <dgm:pt modelId="{B487FD67-7267-482B-A536-C6D808E96D9C}">
      <dgm:prSet phldrT="[Text]" custT="1"/>
      <dgm:spPr/>
      <dgm:t>
        <a:bodyPr/>
        <a:lstStyle/>
        <a:p>
          <a:r>
            <a:rPr lang="en-US" sz="1800"/>
            <a:t>Class I</a:t>
          </a:r>
        </a:p>
      </dgm:t>
    </dgm:pt>
    <dgm:pt modelId="{445E6ECC-BB0F-4772-A31E-5A2DA500E851}" type="parTrans" cxnId="{ED4D9E10-416E-403E-ADBA-09BE16C63D8D}">
      <dgm:prSet/>
      <dgm:spPr/>
      <dgm:t>
        <a:bodyPr/>
        <a:lstStyle/>
        <a:p>
          <a:endParaRPr lang="en-US" sz="2400"/>
        </a:p>
      </dgm:t>
    </dgm:pt>
    <dgm:pt modelId="{4EA9E5A2-9B4B-4D3F-A6ED-250E73837D57}" type="sibTrans" cxnId="{ED4D9E10-416E-403E-ADBA-09BE16C63D8D}">
      <dgm:prSet/>
      <dgm:spPr/>
      <dgm:t>
        <a:bodyPr/>
        <a:lstStyle/>
        <a:p>
          <a:endParaRPr lang="en-US" sz="2400"/>
        </a:p>
      </dgm:t>
    </dgm:pt>
    <dgm:pt modelId="{500687D9-0065-48BF-95F4-F2E85DEA36C5}">
      <dgm:prSet phldrT="[Text]" custT="1"/>
      <dgm:spPr/>
      <dgm:t>
        <a:bodyPr/>
        <a:lstStyle/>
        <a:p>
          <a:r>
            <a:rPr lang="en-US" sz="1800"/>
            <a:t>Class III</a:t>
          </a:r>
        </a:p>
      </dgm:t>
    </dgm:pt>
    <dgm:pt modelId="{D412B182-939A-4C07-BDA5-CE5C07BC0B2D}" type="parTrans" cxnId="{0BF568F5-7425-40FA-80D4-6CBF2F552140}">
      <dgm:prSet/>
      <dgm:spPr/>
      <dgm:t>
        <a:bodyPr/>
        <a:lstStyle/>
        <a:p>
          <a:endParaRPr lang="en-US" sz="2400"/>
        </a:p>
      </dgm:t>
    </dgm:pt>
    <dgm:pt modelId="{39DE803B-29D9-4A2A-A870-BF905220132E}" type="sibTrans" cxnId="{0BF568F5-7425-40FA-80D4-6CBF2F552140}">
      <dgm:prSet/>
      <dgm:spPr/>
      <dgm:t>
        <a:bodyPr/>
        <a:lstStyle/>
        <a:p>
          <a:endParaRPr lang="en-US" sz="2400"/>
        </a:p>
      </dgm:t>
    </dgm:pt>
    <dgm:pt modelId="{11C854FB-4807-4191-A106-FCE0853A2737}">
      <dgm:prSet phldrT="[Text]" custT="1"/>
      <dgm:spPr/>
      <dgm:t>
        <a:bodyPr/>
        <a:lstStyle/>
        <a:p>
          <a:r>
            <a:rPr lang="en-US" sz="1800"/>
            <a:t>CDD</a:t>
          </a:r>
        </a:p>
      </dgm:t>
    </dgm:pt>
    <dgm:pt modelId="{3594EC1A-C28A-40E2-9BA9-E7D01DC610A7}" type="parTrans" cxnId="{17A8E6CF-3A06-437C-8D91-FCA2757CAFE6}">
      <dgm:prSet/>
      <dgm:spPr/>
      <dgm:t>
        <a:bodyPr/>
        <a:lstStyle/>
        <a:p>
          <a:endParaRPr lang="en-US" sz="2400"/>
        </a:p>
      </dgm:t>
    </dgm:pt>
    <dgm:pt modelId="{0B6FC9C1-497E-44B2-BA05-986DBD9831AA}" type="sibTrans" cxnId="{17A8E6CF-3A06-437C-8D91-FCA2757CAFE6}">
      <dgm:prSet/>
      <dgm:spPr/>
      <dgm:t>
        <a:bodyPr/>
        <a:lstStyle/>
        <a:p>
          <a:endParaRPr lang="en-US" sz="2400"/>
        </a:p>
      </dgm:t>
    </dgm:pt>
    <dgm:pt modelId="{D09E3D4F-1D7D-42D1-986A-2D072940B2CA}">
      <dgm:prSet phldrT="[Text]" custT="1"/>
      <dgm:spPr/>
      <dgm:t>
        <a:bodyPr/>
        <a:lstStyle/>
        <a:p>
          <a:r>
            <a:rPr lang="en-US" sz="1800"/>
            <a:t>Waste-to-Energy</a:t>
          </a:r>
        </a:p>
      </dgm:t>
    </dgm:pt>
    <dgm:pt modelId="{68ACF64D-A3E1-46BE-A0F8-EACFA27593B4}" type="parTrans" cxnId="{498BAEE2-7893-4D7B-95CC-F1C754C0CACB}">
      <dgm:prSet/>
      <dgm:spPr/>
      <dgm:t>
        <a:bodyPr/>
        <a:lstStyle/>
        <a:p>
          <a:endParaRPr lang="en-US" sz="2400"/>
        </a:p>
      </dgm:t>
    </dgm:pt>
    <dgm:pt modelId="{086D19BD-9679-4E1D-AB18-9C674F65C6F7}" type="sibTrans" cxnId="{498BAEE2-7893-4D7B-95CC-F1C754C0CACB}">
      <dgm:prSet/>
      <dgm:spPr/>
      <dgm:t>
        <a:bodyPr/>
        <a:lstStyle/>
        <a:p>
          <a:endParaRPr lang="en-US" sz="2400"/>
        </a:p>
      </dgm:t>
    </dgm:pt>
    <dgm:pt modelId="{6DAD5AF5-2F6C-40CF-B4A4-4535DCB1DE5D}" type="pres">
      <dgm:prSet presAssocID="{C14FF3FB-789E-4041-BAA4-8A5D3EF74394}" presName="hierChild1" presStyleCnt="0">
        <dgm:presLayoutVars>
          <dgm:orgChart val="1"/>
          <dgm:chPref val="1"/>
          <dgm:dir/>
          <dgm:animOne val="branch"/>
          <dgm:animLvl val="lvl"/>
          <dgm:resizeHandles/>
        </dgm:presLayoutVars>
      </dgm:prSet>
      <dgm:spPr/>
    </dgm:pt>
    <dgm:pt modelId="{9E669CAF-C666-4968-9C8A-A75CD735112E}" type="pres">
      <dgm:prSet presAssocID="{8A0FDD62-5ACB-4363-8100-7921DB27FED9}" presName="hierRoot1" presStyleCnt="0">
        <dgm:presLayoutVars>
          <dgm:hierBranch val="init"/>
        </dgm:presLayoutVars>
      </dgm:prSet>
      <dgm:spPr/>
    </dgm:pt>
    <dgm:pt modelId="{C9310B4B-0140-4156-88BB-BB8B405BA2F6}" type="pres">
      <dgm:prSet presAssocID="{8A0FDD62-5ACB-4363-8100-7921DB27FED9}" presName="rootComposite1" presStyleCnt="0"/>
      <dgm:spPr/>
    </dgm:pt>
    <dgm:pt modelId="{9243952B-3833-4F9A-A71B-0A59EE8FED19}" type="pres">
      <dgm:prSet presAssocID="{8A0FDD62-5ACB-4363-8100-7921DB27FED9}" presName="rootText1" presStyleLbl="node0" presStyleIdx="0" presStyleCnt="2">
        <dgm:presLayoutVars>
          <dgm:chPref val="3"/>
        </dgm:presLayoutVars>
      </dgm:prSet>
      <dgm:spPr/>
    </dgm:pt>
    <dgm:pt modelId="{4C951630-26BE-4FC2-B02A-6EABC31BCC02}" type="pres">
      <dgm:prSet presAssocID="{8A0FDD62-5ACB-4363-8100-7921DB27FED9}" presName="rootConnector1" presStyleLbl="node1" presStyleIdx="0" presStyleCnt="0"/>
      <dgm:spPr/>
    </dgm:pt>
    <dgm:pt modelId="{A9CBB20B-D2FF-462D-8365-7D562044133A}" type="pres">
      <dgm:prSet presAssocID="{8A0FDD62-5ACB-4363-8100-7921DB27FED9}" presName="hierChild2" presStyleCnt="0"/>
      <dgm:spPr/>
    </dgm:pt>
    <dgm:pt modelId="{C5E9805B-8734-43E5-87A9-3E4EDE6400A1}" type="pres">
      <dgm:prSet presAssocID="{FE1183B8-299D-4DAE-9761-D4155ED0D626}" presName="Name64" presStyleLbl="parChTrans1D2" presStyleIdx="0" presStyleCnt="4"/>
      <dgm:spPr/>
    </dgm:pt>
    <dgm:pt modelId="{59D565F5-CF79-4EC0-B001-75692E0C55A5}" type="pres">
      <dgm:prSet presAssocID="{9C224AA8-5D6D-439F-A5FF-D80F3FA166E4}" presName="hierRoot2" presStyleCnt="0">
        <dgm:presLayoutVars>
          <dgm:hierBranch val="init"/>
        </dgm:presLayoutVars>
      </dgm:prSet>
      <dgm:spPr/>
    </dgm:pt>
    <dgm:pt modelId="{FD1AFDEF-415B-41D7-A2B3-18097AE78CD0}" type="pres">
      <dgm:prSet presAssocID="{9C224AA8-5D6D-439F-A5FF-D80F3FA166E4}" presName="rootComposite" presStyleCnt="0"/>
      <dgm:spPr/>
    </dgm:pt>
    <dgm:pt modelId="{F6C5896B-E465-4949-89C8-FE4B715A7AA6}" type="pres">
      <dgm:prSet presAssocID="{9C224AA8-5D6D-439F-A5FF-D80F3FA166E4}" presName="rootText" presStyleLbl="node2" presStyleIdx="0" presStyleCnt="4">
        <dgm:presLayoutVars>
          <dgm:chPref val="3"/>
        </dgm:presLayoutVars>
      </dgm:prSet>
      <dgm:spPr/>
    </dgm:pt>
    <dgm:pt modelId="{E545B4FB-CAAE-4F67-8274-077F8989871C}" type="pres">
      <dgm:prSet presAssocID="{9C224AA8-5D6D-439F-A5FF-D80F3FA166E4}" presName="rootConnector" presStyleLbl="node2" presStyleIdx="0" presStyleCnt="4"/>
      <dgm:spPr/>
    </dgm:pt>
    <dgm:pt modelId="{12A0EF90-D8EB-4D76-A8C2-74FEB5F363FC}" type="pres">
      <dgm:prSet presAssocID="{9C224AA8-5D6D-439F-A5FF-D80F3FA166E4}" presName="hierChild4" presStyleCnt="0"/>
      <dgm:spPr/>
    </dgm:pt>
    <dgm:pt modelId="{945B86D7-60E4-41FF-9E22-41E01EACAF57}" type="pres">
      <dgm:prSet presAssocID="{9C224AA8-5D6D-439F-A5FF-D80F3FA166E4}" presName="hierChild5" presStyleCnt="0"/>
      <dgm:spPr/>
    </dgm:pt>
    <dgm:pt modelId="{072208BE-F468-4D92-91D9-C7A5020A5858}" type="pres">
      <dgm:prSet presAssocID="{445E6ECC-BB0F-4772-A31E-5A2DA500E851}" presName="Name64" presStyleLbl="parChTrans1D2" presStyleIdx="1" presStyleCnt="4"/>
      <dgm:spPr/>
    </dgm:pt>
    <dgm:pt modelId="{FE4E211E-805E-4926-9B50-E069108CDC74}" type="pres">
      <dgm:prSet presAssocID="{B487FD67-7267-482B-A536-C6D808E96D9C}" presName="hierRoot2" presStyleCnt="0">
        <dgm:presLayoutVars>
          <dgm:hierBranch val="init"/>
        </dgm:presLayoutVars>
      </dgm:prSet>
      <dgm:spPr/>
    </dgm:pt>
    <dgm:pt modelId="{05677B27-E7DD-4A6A-ACAA-B9350D6719BF}" type="pres">
      <dgm:prSet presAssocID="{B487FD67-7267-482B-A536-C6D808E96D9C}" presName="rootComposite" presStyleCnt="0"/>
      <dgm:spPr/>
    </dgm:pt>
    <dgm:pt modelId="{5F10370A-A9DD-44D6-A47F-F058C24F9C2F}" type="pres">
      <dgm:prSet presAssocID="{B487FD67-7267-482B-A536-C6D808E96D9C}" presName="rootText" presStyleLbl="node2" presStyleIdx="1" presStyleCnt="4">
        <dgm:presLayoutVars>
          <dgm:chPref val="3"/>
        </dgm:presLayoutVars>
      </dgm:prSet>
      <dgm:spPr/>
    </dgm:pt>
    <dgm:pt modelId="{A4C68761-9E3E-4D68-B6DB-BA502EBD0C16}" type="pres">
      <dgm:prSet presAssocID="{B487FD67-7267-482B-A536-C6D808E96D9C}" presName="rootConnector" presStyleLbl="node2" presStyleIdx="1" presStyleCnt="4"/>
      <dgm:spPr/>
    </dgm:pt>
    <dgm:pt modelId="{0C5EFA30-BCFC-439E-B1F2-B68DB79AC200}" type="pres">
      <dgm:prSet presAssocID="{B487FD67-7267-482B-A536-C6D808E96D9C}" presName="hierChild4" presStyleCnt="0"/>
      <dgm:spPr/>
    </dgm:pt>
    <dgm:pt modelId="{FE114DFA-BA97-40C0-9265-F7C1E69247D0}" type="pres">
      <dgm:prSet presAssocID="{B487FD67-7267-482B-A536-C6D808E96D9C}" presName="hierChild5" presStyleCnt="0"/>
      <dgm:spPr/>
    </dgm:pt>
    <dgm:pt modelId="{77BD919E-47EC-450F-A587-C259C150CD11}" type="pres">
      <dgm:prSet presAssocID="{D412B182-939A-4C07-BDA5-CE5C07BC0B2D}" presName="Name64" presStyleLbl="parChTrans1D2" presStyleIdx="2" presStyleCnt="4"/>
      <dgm:spPr/>
    </dgm:pt>
    <dgm:pt modelId="{A461B146-54EF-4F15-AA9B-3B2A6B85524B}" type="pres">
      <dgm:prSet presAssocID="{500687D9-0065-48BF-95F4-F2E85DEA36C5}" presName="hierRoot2" presStyleCnt="0">
        <dgm:presLayoutVars>
          <dgm:hierBranch val="init"/>
        </dgm:presLayoutVars>
      </dgm:prSet>
      <dgm:spPr/>
    </dgm:pt>
    <dgm:pt modelId="{48659850-4E23-4CE8-B3E4-25DB10213B00}" type="pres">
      <dgm:prSet presAssocID="{500687D9-0065-48BF-95F4-F2E85DEA36C5}" presName="rootComposite" presStyleCnt="0"/>
      <dgm:spPr/>
    </dgm:pt>
    <dgm:pt modelId="{69E3A919-74FB-480D-BB89-D9BE39E399E7}" type="pres">
      <dgm:prSet presAssocID="{500687D9-0065-48BF-95F4-F2E85DEA36C5}" presName="rootText" presStyleLbl="node2" presStyleIdx="2" presStyleCnt="4">
        <dgm:presLayoutVars>
          <dgm:chPref val="3"/>
        </dgm:presLayoutVars>
      </dgm:prSet>
      <dgm:spPr/>
    </dgm:pt>
    <dgm:pt modelId="{0240BFF0-FF4F-4C09-943F-D38D8171ED95}" type="pres">
      <dgm:prSet presAssocID="{500687D9-0065-48BF-95F4-F2E85DEA36C5}" presName="rootConnector" presStyleLbl="node2" presStyleIdx="2" presStyleCnt="4"/>
      <dgm:spPr/>
    </dgm:pt>
    <dgm:pt modelId="{0B9A7443-4860-4A0A-A343-BC94640D77DB}" type="pres">
      <dgm:prSet presAssocID="{500687D9-0065-48BF-95F4-F2E85DEA36C5}" presName="hierChild4" presStyleCnt="0"/>
      <dgm:spPr/>
    </dgm:pt>
    <dgm:pt modelId="{EE55C356-ECC5-49DC-82E3-FBD0AC214CCA}" type="pres">
      <dgm:prSet presAssocID="{500687D9-0065-48BF-95F4-F2E85DEA36C5}" presName="hierChild5" presStyleCnt="0"/>
      <dgm:spPr/>
    </dgm:pt>
    <dgm:pt modelId="{6B0F7A21-8A71-4319-AC2E-D81074B65CBC}" type="pres">
      <dgm:prSet presAssocID="{3594EC1A-C28A-40E2-9BA9-E7D01DC610A7}" presName="Name64" presStyleLbl="parChTrans1D2" presStyleIdx="3" presStyleCnt="4"/>
      <dgm:spPr/>
    </dgm:pt>
    <dgm:pt modelId="{9A318E4F-E2D8-4796-BA44-A1238E956757}" type="pres">
      <dgm:prSet presAssocID="{11C854FB-4807-4191-A106-FCE0853A2737}" presName="hierRoot2" presStyleCnt="0">
        <dgm:presLayoutVars>
          <dgm:hierBranch val="init"/>
        </dgm:presLayoutVars>
      </dgm:prSet>
      <dgm:spPr/>
    </dgm:pt>
    <dgm:pt modelId="{80AC5910-FBB1-45A9-ACC3-F8050A7CCCD1}" type="pres">
      <dgm:prSet presAssocID="{11C854FB-4807-4191-A106-FCE0853A2737}" presName="rootComposite" presStyleCnt="0"/>
      <dgm:spPr/>
    </dgm:pt>
    <dgm:pt modelId="{B3171B48-87B5-412F-8372-E3F8BFD01636}" type="pres">
      <dgm:prSet presAssocID="{11C854FB-4807-4191-A106-FCE0853A2737}" presName="rootText" presStyleLbl="node2" presStyleIdx="3" presStyleCnt="4">
        <dgm:presLayoutVars>
          <dgm:chPref val="3"/>
        </dgm:presLayoutVars>
      </dgm:prSet>
      <dgm:spPr/>
    </dgm:pt>
    <dgm:pt modelId="{0B06F98C-C427-494C-A0A1-C26D1053C203}" type="pres">
      <dgm:prSet presAssocID="{11C854FB-4807-4191-A106-FCE0853A2737}" presName="rootConnector" presStyleLbl="node2" presStyleIdx="3" presStyleCnt="4"/>
      <dgm:spPr/>
    </dgm:pt>
    <dgm:pt modelId="{6325D762-2604-42FB-A526-0F0EE7A46B07}" type="pres">
      <dgm:prSet presAssocID="{11C854FB-4807-4191-A106-FCE0853A2737}" presName="hierChild4" presStyleCnt="0"/>
      <dgm:spPr/>
    </dgm:pt>
    <dgm:pt modelId="{335F8B26-6C68-450B-9CDE-CF305CB6D2F4}" type="pres">
      <dgm:prSet presAssocID="{11C854FB-4807-4191-A106-FCE0853A2737}" presName="hierChild5" presStyleCnt="0"/>
      <dgm:spPr/>
    </dgm:pt>
    <dgm:pt modelId="{BB1C3144-AF76-4C1A-AC16-5745FE3D6FF4}" type="pres">
      <dgm:prSet presAssocID="{8A0FDD62-5ACB-4363-8100-7921DB27FED9}" presName="hierChild3" presStyleCnt="0"/>
      <dgm:spPr/>
    </dgm:pt>
    <dgm:pt modelId="{E18B88DC-BC5B-4269-8303-2816E8A33297}" type="pres">
      <dgm:prSet presAssocID="{D09E3D4F-1D7D-42D1-986A-2D072940B2CA}" presName="hierRoot1" presStyleCnt="0">
        <dgm:presLayoutVars>
          <dgm:hierBranch val="init"/>
        </dgm:presLayoutVars>
      </dgm:prSet>
      <dgm:spPr/>
    </dgm:pt>
    <dgm:pt modelId="{7E1EFAEC-C6C5-4489-9136-BD7B0956B289}" type="pres">
      <dgm:prSet presAssocID="{D09E3D4F-1D7D-42D1-986A-2D072940B2CA}" presName="rootComposite1" presStyleCnt="0"/>
      <dgm:spPr/>
    </dgm:pt>
    <dgm:pt modelId="{8F43BE6E-166A-4736-B495-0F0C5F9C5A94}" type="pres">
      <dgm:prSet presAssocID="{D09E3D4F-1D7D-42D1-986A-2D072940B2CA}" presName="rootText1" presStyleLbl="node0" presStyleIdx="1" presStyleCnt="2" custScaleX="220215">
        <dgm:presLayoutVars>
          <dgm:chPref val="3"/>
        </dgm:presLayoutVars>
      </dgm:prSet>
      <dgm:spPr/>
    </dgm:pt>
    <dgm:pt modelId="{65E7425D-55D2-4A95-85AE-4170C0981629}" type="pres">
      <dgm:prSet presAssocID="{D09E3D4F-1D7D-42D1-986A-2D072940B2CA}" presName="rootConnector1" presStyleLbl="node1" presStyleIdx="0" presStyleCnt="0"/>
      <dgm:spPr/>
    </dgm:pt>
    <dgm:pt modelId="{0A91E4F6-AD54-49CF-9C53-9262E286DF5E}" type="pres">
      <dgm:prSet presAssocID="{D09E3D4F-1D7D-42D1-986A-2D072940B2CA}" presName="hierChild2" presStyleCnt="0"/>
      <dgm:spPr/>
    </dgm:pt>
    <dgm:pt modelId="{3AA06DB7-3CF2-4B80-A567-B41E54DCF106}" type="pres">
      <dgm:prSet presAssocID="{D09E3D4F-1D7D-42D1-986A-2D072940B2CA}" presName="hierChild3" presStyleCnt="0"/>
      <dgm:spPr/>
    </dgm:pt>
  </dgm:ptLst>
  <dgm:cxnLst>
    <dgm:cxn modelId="{64557A04-F32A-4FDF-8F5A-BE8516AA6E01}" type="presOf" srcId="{3594EC1A-C28A-40E2-9BA9-E7D01DC610A7}" destId="{6B0F7A21-8A71-4319-AC2E-D81074B65CBC}" srcOrd="0" destOrd="0" presId="urn:microsoft.com/office/officeart/2009/3/layout/HorizontalOrganizationChart"/>
    <dgm:cxn modelId="{FFCB8E0E-83EF-4599-BF13-C986EE976DEB}" srcId="{C14FF3FB-789E-4041-BAA4-8A5D3EF74394}" destId="{8A0FDD62-5ACB-4363-8100-7921DB27FED9}" srcOrd="0" destOrd="0" parTransId="{2E0A18BD-4B57-45A2-B599-17A5236A0DBA}" sibTransId="{95404541-6FCE-499D-B544-6283CA283D12}"/>
    <dgm:cxn modelId="{ED4D9E10-416E-403E-ADBA-09BE16C63D8D}" srcId="{8A0FDD62-5ACB-4363-8100-7921DB27FED9}" destId="{B487FD67-7267-482B-A536-C6D808E96D9C}" srcOrd="1" destOrd="0" parTransId="{445E6ECC-BB0F-4772-A31E-5A2DA500E851}" sibTransId="{4EA9E5A2-9B4B-4D3F-A6ED-250E73837D57}"/>
    <dgm:cxn modelId="{634DAF19-D7E1-4A13-AAE1-0DE3F1B14538}" type="presOf" srcId="{11C854FB-4807-4191-A106-FCE0853A2737}" destId="{B3171B48-87B5-412F-8372-E3F8BFD01636}" srcOrd="0" destOrd="0" presId="urn:microsoft.com/office/officeart/2009/3/layout/HorizontalOrganizationChart"/>
    <dgm:cxn modelId="{E8A0B528-C4D8-4C91-A789-0A0697D95969}" type="presOf" srcId="{11C854FB-4807-4191-A106-FCE0853A2737}" destId="{0B06F98C-C427-494C-A0A1-C26D1053C203}" srcOrd="1" destOrd="0" presId="urn:microsoft.com/office/officeart/2009/3/layout/HorizontalOrganizationChart"/>
    <dgm:cxn modelId="{F4ABB83C-24C7-4711-A232-B64194FD2448}" type="presOf" srcId="{FE1183B8-299D-4DAE-9761-D4155ED0D626}" destId="{C5E9805B-8734-43E5-87A9-3E4EDE6400A1}" srcOrd="0" destOrd="0" presId="urn:microsoft.com/office/officeart/2009/3/layout/HorizontalOrganizationChart"/>
    <dgm:cxn modelId="{27204B5F-1CC0-471D-A850-D419F147704F}" type="presOf" srcId="{D412B182-939A-4C07-BDA5-CE5C07BC0B2D}" destId="{77BD919E-47EC-450F-A587-C259C150CD11}" srcOrd="0" destOrd="0" presId="urn:microsoft.com/office/officeart/2009/3/layout/HorizontalOrganizationChart"/>
    <dgm:cxn modelId="{500DA64C-B97D-468B-8458-53084E7E3F40}" type="presOf" srcId="{500687D9-0065-48BF-95F4-F2E85DEA36C5}" destId="{0240BFF0-FF4F-4C09-943F-D38D8171ED95}" srcOrd="1" destOrd="0" presId="urn:microsoft.com/office/officeart/2009/3/layout/HorizontalOrganizationChart"/>
    <dgm:cxn modelId="{418DDD72-5F93-4278-B9A7-B366FC5F831B}" type="presOf" srcId="{D09E3D4F-1D7D-42D1-986A-2D072940B2CA}" destId="{65E7425D-55D2-4A95-85AE-4170C0981629}" srcOrd="1" destOrd="0" presId="urn:microsoft.com/office/officeart/2009/3/layout/HorizontalOrganizationChart"/>
    <dgm:cxn modelId="{37169C73-803B-4B53-8056-7D86DF425149}" type="presOf" srcId="{D09E3D4F-1D7D-42D1-986A-2D072940B2CA}" destId="{8F43BE6E-166A-4736-B495-0F0C5F9C5A94}" srcOrd="0" destOrd="0" presId="urn:microsoft.com/office/officeart/2009/3/layout/HorizontalOrganizationChart"/>
    <dgm:cxn modelId="{80630C54-088D-44D6-B58F-EEFCC41260FB}" type="presOf" srcId="{B487FD67-7267-482B-A536-C6D808E96D9C}" destId="{A4C68761-9E3E-4D68-B6DB-BA502EBD0C16}" srcOrd="1" destOrd="0" presId="urn:microsoft.com/office/officeart/2009/3/layout/HorizontalOrganizationChart"/>
    <dgm:cxn modelId="{DAB9C179-CF84-4B9B-A240-A23B5E2EABF7}" type="presOf" srcId="{9C224AA8-5D6D-439F-A5FF-D80F3FA166E4}" destId="{E545B4FB-CAAE-4F67-8274-077F8989871C}" srcOrd="1" destOrd="0" presId="urn:microsoft.com/office/officeart/2009/3/layout/HorizontalOrganizationChart"/>
    <dgm:cxn modelId="{3A4A7F7C-3773-44AD-831D-2EEC340A03E6}" type="presOf" srcId="{C14FF3FB-789E-4041-BAA4-8A5D3EF74394}" destId="{6DAD5AF5-2F6C-40CF-B4A4-4535DCB1DE5D}" srcOrd="0" destOrd="0" presId="urn:microsoft.com/office/officeart/2009/3/layout/HorizontalOrganizationChart"/>
    <dgm:cxn modelId="{B5728EA7-77BF-4A44-8D43-F6E7F6B898D8}" type="presOf" srcId="{500687D9-0065-48BF-95F4-F2E85DEA36C5}" destId="{69E3A919-74FB-480D-BB89-D9BE39E399E7}" srcOrd="0" destOrd="0" presId="urn:microsoft.com/office/officeart/2009/3/layout/HorizontalOrganizationChart"/>
    <dgm:cxn modelId="{2AB946AA-81B9-471D-9447-2C92C3DA6716}" type="presOf" srcId="{8A0FDD62-5ACB-4363-8100-7921DB27FED9}" destId="{4C951630-26BE-4FC2-B02A-6EABC31BCC02}" srcOrd="1" destOrd="0" presId="urn:microsoft.com/office/officeart/2009/3/layout/HorizontalOrganizationChart"/>
    <dgm:cxn modelId="{9CB71FB1-4091-4499-A694-E01ECE5458BA}" type="presOf" srcId="{8A0FDD62-5ACB-4363-8100-7921DB27FED9}" destId="{9243952B-3833-4F9A-A71B-0A59EE8FED19}" srcOrd="0" destOrd="0" presId="urn:microsoft.com/office/officeart/2009/3/layout/HorizontalOrganizationChart"/>
    <dgm:cxn modelId="{CD1619B7-958E-47B2-80DA-28F385F85BF6}" type="presOf" srcId="{B487FD67-7267-482B-A536-C6D808E96D9C}" destId="{5F10370A-A9DD-44D6-A47F-F058C24F9C2F}" srcOrd="0" destOrd="0" presId="urn:microsoft.com/office/officeart/2009/3/layout/HorizontalOrganizationChart"/>
    <dgm:cxn modelId="{17A8E6CF-3A06-437C-8D91-FCA2757CAFE6}" srcId="{8A0FDD62-5ACB-4363-8100-7921DB27FED9}" destId="{11C854FB-4807-4191-A106-FCE0853A2737}" srcOrd="3" destOrd="0" parTransId="{3594EC1A-C28A-40E2-9BA9-E7D01DC610A7}" sibTransId="{0B6FC9C1-497E-44B2-BA05-986DBD9831AA}"/>
    <dgm:cxn modelId="{471993E1-B340-4A72-921B-81101BD0227A}" type="presOf" srcId="{9C224AA8-5D6D-439F-A5FF-D80F3FA166E4}" destId="{F6C5896B-E465-4949-89C8-FE4B715A7AA6}" srcOrd="0" destOrd="0" presId="urn:microsoft.com/office/officeart/2009/3/layout/HorizontalOrganizationChart"/>
    <dgm:cxn modelId="{498BAEE2-7893-4D7B-95CC-F1C754C0CACB}" srcId="{C14FF3FB-789E-4041-BAA4-8A5D3EF74394}" destId="{D09E3D4F-1D7D-42D1-986A-2D072940B2CA}" srcOrd="1" destOrd="0" parTransId="{68ACF64D-A3E1-46BE-A0F8-EACFA27593B4}" sibTransId="{086D19BD-9679-4E1D-AB18-9C674F65C6F7}"/>
    <dgm:cxn modelId="{D1621CEF-9F93-4C79-B39F-CBA1E394B3B0}" type="presOf" srcId="{445E6ECC-BB0F-4772-A31E-5A2DA500E851}" destId="{072208BE-F468-4D92-91D9-C7A5020A5858}" srcOrd="0" destOrd="0" presId="urn:microsoft.com/office/officeart/2009/3/layout/HorizontalOrganizationChart"/>
    <dgm:cxn modelId="{E02BB2F0-87BB-483B-91A1-E7038189B78B}" srcId="{8A0FDD62-5ACB-4363-8100-7921DB27FED9}" destId="{9C224AA8-5D6D-439F-A5FF-D80F3FA166E4}" srcOrd="0" destOrd="0" parTransId="{FE1183B8-299D-4DAE-9761-D4155ED0D626}" sibTransId="{46ECC135-E1CD-4BA3-940E-260EB4B089CC}"/>
    <dgm:cxn modelId="{0BF568F5-7425-40FA-80D4-6CBF2F552140}" srcId="{8A0FDD62-5ACB-4363-8100-7921DB27FED9}" destId="{500687D9-0065-48BF-95F4-F2E85DEA36C5}" srcOrd="2" destOrd="0" parTransId="{D412B182-939A-4C07-BDA5-CE5C07BC0B2D}" sibTransId="{39DE803B-29D9-4A2A-A870-BF905220132E}"/>
    <dgm:cxn modelId="{1BBA2148-F184-41BE-A4AA-FF4AE6E11402}" type="presParOf" srcId="{6DAD5AF5-2F6C-40CF-B4A4-4535DCB1DE5D}" destId="{9E669CAF-C666-4968-9C8A-A75CD735112E}" srcOrd="0" destOrd="0" presId="urn:microsoft.com/office/officeart/2009/3/layout/HorizontalOrganizationChart"/>
    <dgm:cxn modelId="{CD4A52A8-BB30-46B1-A09C-FA3E5962EAC3}" type="presParOf" srcId="{9E669CAF-C666-4968-9C8A-A75CD735112E}" destId="{C9310B4B-0140-4156-88BB-BB8B405BA2F6}" srcOrd="0" destOrd="0" presId="urn:microsoft.com/office/officeart/2009/3/layout/HorizontalOrganizationChart"/>
    <dgm:cxn modelId="{00FEEC05-1D06-4F50-9D37-E227647C0275}" type="presParOf" srcId="{C9310B4B-0140-4156-88BB-BB8B405BA2F6}" destId="{9243952B-3833-4F9A-A71B-0A59EE8FED19}" srcOrd="0" destOrd="0" presId="urn:microsoft.com/office/officeart/2009/3/layout/HorizontalOrganizationChart"/>
    <dgm:cxn modelId="{61330E62-BE84-4CF8-B87D-76F69F8989F7}" type="presParOf" srcId="{C9310B4B-0140-4156-88BB-BB8B405BA2F6}" destId="{4C951630-26BE-4FC2-B02A-6EABC31BCC02}" srcOrd="1" destOrd="0" presId="urn:microsoft.com/office/officeart/2009/3/layout/HorizontalOrganizationChart"/>
    <dgm:cxn modelId="{2CE91F4A-E069-4DC6-AEE5-7A68566C91BE}" type="presParOf" srcId="{9E669CAF-C666-4968-9C8A-A75CD735112E}" destId="{A9CBB20B-D2FF-462D-8365-7D562044133A}" srcOrd="1" destOrd="0" presId="urn:microsoft.com/office/officeart/2009/3/layout/HorizontalOrganizationChart"/>
    <dgm:cxn modelId="{38FD33C2-E9ED-421A-AB97-66306F9C9EA4}" type="presParOf" srcId="{A9CBB20B-D2FF-462D-8365-7D562044133A}" destId="{C5E9805B-8734-43E5-87A9-3E4EDE6400A1}" srcOrd="0" destOrd="0" presId="urn:microsoft.com/office/officeart/2009/3/layout/HorizontalOrganizationChart"/>
    <dgm:cxn modelId="{AB331918-CE8E-4BD5-8F39-5A78E4F37DF3}" type="presParOf" srcId="{A9CBB20B-D2FF-462D-8365-7D562044133A}" destId="{59D565F5-CF79-4EC0-B001-75692E0C55A5}" srcOrd="1" destOrd="0" presId="urn:microsoft.com/office/officeart/2009/3/layout/HorizontalOrganizationChart"/>
    <dgm:cxn modelId="{C0A68D2F-44EF-4A10-AB34-46A774F23A22}" type="presParOf" srcId="{59D565F5-CF79-4EC0-B001-75692E0C55A5}" destId="{FD1AFDEF-415B-41D7-A2B3-18097AE78CD0}" srcOrd="0" destOrd="0" presId="urn:microsoft.com/office/officeart/2009/3/layout/HorizontalOrganizationChart"/>
    <dgm:cxn modelId="{C91D4CE7-12AC-4F90-9AFD-D0BE248578DB}" type="presParOf" srcId="{FD1AFDEF-415B-41D7-A2B3-18097AE78CD0}" destId="{F6C5896B-E465-4949-89C8-FE4B715A7AA6}" srcOrd="0" destOrd="0" presId="urn:microsoft.com/office/officeart/2009/3/layout/HorizontalOrganizationChart"/>
    <dgm:cxn modelId="{7D5BFA1F-51B3-46A7-B782-3C218484186E}" type="presParOf" srcId="{FD1AFDEF-415B-41D7-A2B3-18097AE78CD0}" destId="{E545B4FB-CAAE-4F67-8274-077F8989871C}" srcOrd="1" destOrd="0" presId="urn:microsoft.com/office/officeart/2009/3/layout/HorizontalOrganizationChart"/>
    <dgm:cxn modelId="{2DDC45EE-5C4F-471D-B9E6-165EED17ADD7}" type="presParOf" srcId="{59D565F5-CF79-4EC0-B001-75692E0C55A5}" destId="{12A0EF90-D8EB-4D76-A8C2-74FEB5F363FC}" srcOrd="1" destOrd="0" presId="urn:microsoft.com/office/officeart/2009/3/layout/HorizontalOrganizationChart"/>
    <dgm:cxn modelId="{DF3D3A8F-F7E9-4699-A141-CF0E8EA8347E}" type="presParOf" srcId="{59D565F5-CF79-4EC0-B001-75692E0C55A5}" destId="{945B86D7-60E4-41FF-9E22-41E01EACAF57}" srcOrd="2" destOrd="0" presId="urn:microsoft.com/office/officeart/2009/3/layout/HorizontalOrganizationChart"/>
    <dgm:cxn modelId="{41B646CF-43D0-49A0-90B8-A4F42031BB89}" type="presParOf" srcId="{A9CBB20B-D2FF-462D-8365-7D562044133A}" destId="{072208BE-F468-4D92-91D9-C7A5020A5858}" srcOrd="2" destOrd="0" presId="urn:microsoft.com/office/officeart/2009/3/layout/HorizontalOrganizationChart"/>
    <dgm:cxn modelId="{A525406A-0F7B-4113-BEE8-B56386FF1682}" type="presParOf" srcId="{A9CBB20B-D2FF-462D-8365-7D562044133A}" destId="{FE4E211E-805E-4926-9B50-E069108CDC74}" srcOrd="3" destOrd="0" presId="urn:microsoft.com/office/officeart/2009/3/layout/HorizontalOrganizationChart"/>
    <dgm:cxn modelId="{5637D8A9-C7D1-432E-98EE-DF47A1B8E581}" type="presParOf" srcId="{FE4E211E-805E-4926-9B50-E069108CDC74}" destId="{05677B27-E7DD-4A6A-ACAA-B9350D6719BF}" srcOrd="0" destOrd="0" presId="urn:microsoft.com/office/officeart/2009/3/layout/HorizontalOrganizationChart"/>
    <dgm:cxn modelId="{4A5E9A7E-9FD9-4D5B-AB44-6F1DD2825AA4}" type="presParOf" srcId="{05677B27-E7DD-4A6A-ACAA-B9350D6719BF}" destId="{5F10370A-A9DD-44D6-A47F-F058C24F9C2F}" srcOrd="0" destOrd="0" presId="urn:microsoft.com/office/officeart/2009/3/layout/HorizontalOrganizationChart"/>
    <dgm:cxn modelId="{F57B5992-1D67-429B-BF9B-6D8B841EF545}" type="presParOf" srcId="{05677B27-E7DD-4A6A-ACAA-B9350D6719BF}" destId="{A4C68761-9E3E-4D68-B6DB-BA502EBD0C16}" srcOrd="1" destOrd="0" presId="urn:microsoft.com/office/officeart/2009/3/layout/HorizontalOrganizationChart"/>
    <dgm:cxn modelId="{66B15C5B-023A-43A1-8EB0-F8A6B75F74D8}" type="presParOf" srcId="{FE4E211E-805E-4926-9B50-E069108CDC74}" destId="{0C5EFA30-BCFC-439E-B1F2-B68DB79AC200}" srcOrd="1" destOrd="0" presId="urn:microsoft.com/office/officeart/2009/3/layout/HorizontalOrganizationChart"/>
    <dgm:cxn modelId="{B947C541-9009-4D98-9547-EE14F5D16A10}" type="presParOf" srcId="{FE4E211E-805E-4926-9B50-E069108CDC74}" destId="{FE114DFA-BA97-40C0-9265-F7C1E69247D0}" srcOrd="2" destOrd="0" presId="urn:microsoft.com/office/officeart/2009/3/layout/HorizontalOrganizationChart"/>
    <dgm:cxn modelId="{883BE747-5EEB-4CB5-BE31-553541FA473A}" type="presParOf" srcId="{A9CBB20B-D2FF-462D-8365-7D562044133A}" destId="{77BD919E-47EC-450F-A587-C259C150CD11}" srcOrd="4" destOrd="0" presId="urn:microsoft.com/office/officeart/2009/3/layout/HorizontalOrganizationChart"/>
    <dgm:cxn modelId="{2D9EC5A3-2D8B-4BE9-9EF4-930B6B75C677}" type="presParOf" srcId="{A9CBB20B-D2FF-462D-8365-7D562044133A}" destId="{A461B146-54EF-4F15-AA9B-3B2A6B85524B}" srcOrd="5" destOrd="0" presId="urn:microsoft.com/office/officeart/2009/3/layout/HorizontalOrganizationChart"/>
    <dgm:cxn modelId="{99CF503B-EF2E-4958-B5CF-5B8059B0AFF9}" type="presParOf" srcId="{A461B146-54EF-4F15-AA9B-3B2A6B85524B}" destId="{48659850-4E23-4CE8-B3E4-25DB10213B00}" srcOrd="0" destOrd="0" presId="urn:microsoft.com/office/officeart/2009/3/layout/HorizontalOrganizationChart"/>
    <dgm:cxn modelId="{09A0D2CE-E99C-4000-A62A-939A19CB1956}" type="presParOf" srcId="{48659850-4E23-4CE8-B3E4-25DB10213B00}" destId="{69E3A919-74FB-480D-BB89-D9BE39E399E7}" srcOrd="0" destOrd="0" presId="urn:microsoft.com/office/officeart/2009/3/layout/HorizontalOrganizationChart"/>
    <dgm:cxn modelId="{983D0D3C-0BB9-4D1F-AF50-69B826F86D59}" type="presParOf" srcId="{48659850-4E23-4CE8-B3E4-25DB10213B00}" destId="{0240BFF0-FF4F-4C09-943F-D38D8171ED95}" srcOrd="1" destOrd="0" presId="urn:microsoft.com/office/officeart/2009/3/layout/HorizontalOrganizationChart"/>
    <dgm:cxn modelId="{EAA1FA69-59EA-452A-9A14-543F218D4AAD}" type="presParOf" srcId="{A461B146-54EF-4F15-AA9B-3B2A6B85524B}" destId="{0B9A7443-4860-4A0A-A343-BC94640D77DB}" srcOrd="1" destOrd="0" presId="urn:microsoft.com/office/officeart/2009/3/layout/HorizontalOrganizationChart"/>
    <dgm:cxn modelId="{61D964A9-B53E-4B0B-A159-747F1F3508E5}" type="presParOf" srcId="{A461B146-54EF-4F15-AA9B-3B2A6B85524B}" destId="{EE55C356-ECC5-49DC-82E3-FBD0AC214CCA}" srcOrd="2" destOrd="0" presId="urn:microsoft.com/office/officeart/2009/3/layout/HorizontalOrganizationChart"/>
    <dgm:cxn modelId="{5608B8D6-A8F3-4E76-B41E-395586BFE99F}" type="presParOf" srcId="{A9CBB20B-D2FF-462D-8365-7D562044133A}" destId="{6B0F7A21-8A71-4319-AC2E-D81074B65CBC}" srcOrd="6" destOrd="0" presId="urn:microsoft.com/office/officeart/2009/3/layout/HorizontalOrganizationChart"/>
    <dgm:cxn modelId="{C84EB760-A297-40B1-855F-17038CB88F54}" type="presParOf" srcId="{A9CBB20B-D2FF-462D-8365-7D562044133A}" destId="{9A318E4F-E2D8-4796-BA44-A1238E956757}" srcOrd="7" destOrd="0" presId="urn:microsoft.com/office/officeart/2009/3/layout/HorizontalOrganizationChart"/>
    <dgm:cxn modelId="{108DC13D-B7B4-4DB8-9A37-304BD9FD15FE}" type="presParOf" srcId="{9A318E4F-E2D8-4796-BA44-A1238E956757}" destId="{80AC5910-FBB1-45A9-ACC3-F8050A7CCCD1}" srcOrd="0" destOrd="0" presId="urn:microsoft.com/office/officeart/2009/3/layout/HorizontalOrganizationChart"/>
    <dgm:cxn modelId="{9379DFA1-2ACB-4931-A5A3-0041775C2394}" type="presParOf" srcId="{80AC5910-FBB1-45A9-ACC3-F8050A7CCCD1}" destId="{B3171B48-87B5-412F-8372-E3F8BFD01636}" srcOrd="0" destOrd="0" presId="urn:microsoft.com/office/officeart/2009/3/layout/HorizontalOrganizationChart"/>
    <dgm:cxn modelId="{B8D12E00-A2B2-47FC-819B-72511051FC14}" type="presParOf" srcId="{80AC5910-FBB1-45A9-ACC3-F8050A7CCCD1}" destId="{0B06F98C-C427-494C-A0A1-C26D1053C203}" srcOrd="1" destOrd="0" presId="urn:microsoft.com/office/officeart/2009/3/layout/HorizontalOrganizationChart"/>
    <dgm:cxn modelId="{CBD3CA40-F1B2-48B9-B1F2-D73874ED0A11}" type="presParOf" srcId="{9A318E4F-E2D8-4796-BA44-A1238E956757}" destId="{6325D762-2604-42FB-A526-0F0EE7A46B07}" srcOrd="1" destOrd="0" presId="urn:microsoft.com/office/officeart/2009/3/layout/HorizontalOrganizationChart"/>
    <dgm:cxn modelId="{9138CD50-545A-4C75-8CEE-81298912B487}" type="presParOf" srcId="{9A318E4F-E2D8-4796-BA44-A1238E956757}" destId="{335F8B26-6C68-450B-9CDE-CF305CB6D2F4}" srcOrd="2" destOrd="0" presId="urn:microsoft.com/office/officeart/2009/3/layout/HorizontalOrganizationChart"/>
    <dgm:cxn modelId="{2EEB8B91-47BD-4CBB-BF41-68D9D0249310}" type="presParOf" srcId="{9E669CAF-C666-4968-9C8A-A75CD735112E}" destId="{BB1C3144-AF76-4C1A-AC16-5745FE3D6FF4}" srcOrd="2" destOrd="0" presId="urn:microsoft.com/office/officeart/2009/3/layout/HorizontalOrganizationChart"/>
    <dgm:cxn modelId="{955AEF40-4F3F-4537-AF01-8943C55F9F46}" type="presParOf" srcId="{6DAD5AF5-2F6C-40CF-B4A4-4535DCB1DE5D}" destId="{E18B88DC-BC5B-4269-8303-2816E8A33297}" srcOrd="1" destOrd="0" presId="urn:microsoft.com/office/officeart/2009/3/layout/HorizontalOrganizationChart"/>
    <dgm:cxn modelId="{E2C7FD41-5A95-4129-949B-E52C827BCFEE}" type="presParOf" srcId="{E18B88DC-BC5B-4269-8303-2816E8A33297}" destId="{7E1EFAEC-C6C5-4489-9136-BD7B0956B289}" srcOrd="0" destOrd="0" presId="urn:microsoft.com/office/officeart/2009/3/layout/HorizontalOrganizationChart"/>
    <dgm:cxn modelId="{BEDF551C-3DAF-4BD3-8D74-32D5C90B7E44}" type="presParOf" srcId="{7E1EFAEC-C6C5-4489-9136-BD7B0956B289}" destId="{8F43BE6E-166A-4736-B495-0F0C5F9C5A94}" srcOrd="0" destOrd="0" presId="urn:microsoft.com/office/officeart/2009/3/layout/HorizontalOrganizationChart"/>
    <dgm:cxn modelId="{3AF3451C-B360-45D9-87AD-F22BD0B2F8A0}" type="presParOf" srcId="{7E1EFAEC-C6C5-4489-9136-BD7B0956B289}" destId="{65E7425D-55D2-4A95-85AE-4170C0981629}" srcOrd="1" destOrd="0" presId="urn:microsoft.com/office/officeart/2009/3/layout/HorizontalOrganizationChart"/>
    <dgm:cxn modelId="{84F8506D-BB3A-45DD-A804-FF6EF4A34DF4}" type="presParOf" srcId="{E18B88DC-BC5B-4269-8303-2816E8A33297}" destId="{0A91E4F6-AD54-49CF-9C53-9262E286DF5E}" srcOrd="1" destOrd="0" presId="urn:microsoft.com/office/officeart/2009/3/layout/HorizontalOrganizationChart"/>
    <dgm:cxn modelId="{3777CB0E-6951-496D-ABF3-8AE7E90A2F0F}" type="presParOf" srcId="{E18B88DC-BC5B-4269-8303-2816E8A33297}" destId="{3AA06DB7-3CF2-4B80-A567-B41E54DCF106}" srcOrd="2" destOrd="0" presId="urn:microsoft.com/office/officeart/2009/3/layout/HorizontalOrganizationChart"/>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C14FF3FB-789E-4041-BAA4-8A5D3EF74394}" type="doc">
      <dgm:prSet loTypeId="urn:microsoft.com/office/officeart/2009/3/layout/HorizontalOrganizationChart" loCatId="hierarchy" qsTypeId="urn:microsoft.com/office/officeart/2005/8/quickstyle/simple1" qsCatId="simple" csTypeId="urn:microsoft.com/office/officeart/2005/8/colors/accent1_2" csCatId="accent1" phldr="1"/>
      <dgm:spPr/>
      <dgm:t>
        <a:bodyPr/>
        <a:lstStyle/>
        <a:p>
          <a:endParaRPr lang="en-US"/>
        </a:p>
      </dgm:t>
    </dgm:pt>
    <dgm:pt modelId="{8A0FDD62-5ACB-4363-8100-7921DB27FED9}">
      <dgm:prSet phldrT="[Text]" custT="1"/>
      <dgm:spPr/>
      <dgm:t>
        <a:bodyPr/>
        <a:lstStyle/>
        <a:p>
          <a:r>
            <a:rPr lang="en-US" sz="1800" dirty="0"/>
            <a:t>Landfills</a:t>
          </a:r>
        </a:p>
      </dgm:t>
    </dgm:pt>
    <dgm:pt modelId="{2E0A18BD-4B57-45A2-B599-17A5236A0DBA}" type="parTrans" cxnId="{FFCB8E0E-83EF-4599-BF13-C986EE976DEB}">
      <dgm:prSet/>
      <dgm:spPr/>
      <dgm:t>
        <a:bodyPr/>
        <a:lstStyle/>
        <a:p>
          <a:endParaRPr lang="en-US" sz="2400"/>
        </a:p>
      </dgm:t>
    </dgm:pt>
    <dgm:pt modelId="{95404541-6FCE-499D-B544-6283CA283D12}" type="sibTrans" cxnId="{FFCB8E0E-83EF-4599-BF13-C986EE976DEB}">
      <dgm:prSet/>
      <dgm:spPr/>
      <dgm:t>
        <a:bodyPr/>
        <a:lstStyle/>
        <a:p>
          <a:endParaRPr lang="en-US" sz="2400"/>
        </a:p>
      </dgm:t>
    </dgm:pt>
    <dgm:pt modelId="{9C224AA8-5D6D-439F-A5FF-D80F3FA166E4}">
      <dgm:prSet phldrT="[Text]" custT="1"/>
      <dgm:spPr/>
      <dgm:t>
        <a:bodyPr/>
        <a:lstStyle/>
        <a:p>
          <a:r>
            <a:rPr lang="en-US" sz="1800"/>
            <a:t>Ash Monofill</a:t>
          </a:r>
        </a:p>
      </dgm:t>
    </dgm:pt>
    <dgm:pt modelId="{FE1183B8-299D-4DAE-9761-D4155ED0D626}" type="parTrans" cxnId="{E02BB2F0-87BB-483B-91A1-E7038189B78B}">
      <dgm:prSet/>
      <dgm:spPr/>
      <dgm:t>
        <a:bodyPr/>
        <a:lstStyle/>
        <a:p>
          <a:endParaRPr lang="en-US" sz="2400"/>
        </a:p>
      </dgm:t>
    </dgm:pt>
    <dgm:pt modelId="{46ECC135-E1CD-4BA3-940E-260EB4B089CC}" type="sibTrans" cxnId="{E02BB2F0-87BB-483B-91A1-E7038189B78B}">
      <dgm:prSet/>
      <dgm:spPr/>
      <dgm:t>
        <a:bodyPr/>
        <a:lstStyle/>
        <a:p>
          <a:endParaRPr lang="en-US" sz="2400"/>
        </a:p>
      </dgm:t>
    </dgm:pt>
    <dgm:pt modelId="{B487FD67-7267-482B-A536-C6D808E96D9C}">
      <dgm:prSet phldrT="[Text]" custT="1"/>
      <dgm:spPr>
        <a:solidFill>
          <a:schemeClr val="accent1"/>
        </a:solidFill>
      </dgm:spPr>
      <dgm:t>
        <a:bodyPr/>
        <a:lstStyle/>
        <a:p>
          <a:r>
            <a:rPr lang="en-US" sz="1800">
              <a:solidFill>
                <a:schemeClr val="bg1"/>
              </a:solidFill>
            </a:rPr>
            <a:t>Class I</a:t>
          </a:r>
        </a:p>
      </dgm:t>
    </dgm:pt>
    <dgm:pt modelId="{445E6ECC-BB0F-4772-A31E-5A2DA500E851}" type="parTrans" cxnId="{ED4D9E10-416E-403E-ADBA-09BE16C63D8D}">
      <dgm:prSet/>
      <dgm:spPr/>
      <dgm:t>
        <a:bodyPr/>
        <a:lstStyle/>
        <a:p>
          <a:endParaRPr lang="en-US" sz="2400"/>
        </a:p>
      </dgm:t>
    </dgm:pt>
    <dgm:pt modelId="{4EA9E5A2-9B4B-4D3F-A6ED-250E73837D57}" type="sibTrans" cxnId="{ED4D9E10-416E-403E-ADBA-09BE16C63D8D}">
      <dgm:prSet/>
      <dgm:spPr/>
      <dgm:t>
        <a:bodyPr/>
        <a:lstStyle/>
        <a:p>
          <a:endParaRPr lang="en-US" sz="2400"/>
        </a:p>
      </dgm:t>
    </dgm:pt>
    <dgm:pt modelId="{500687D9-0065-48BF-95F4-F2E85DEA36C5}">
      <dgm:prSet phldrT="[Text]" custT="1"/>
      <dgm:spPr/>
      <dgm:t>
        <a:bodyPr/>
        <a:lstStyle/>
        <a:p>
          <a:r>
            <a:rPr lang="en-US" sz="1800"/>
            <a:t>Class III</a:t>
          </a:r>
        </a:p>
      </dgm:t>
    </dgm:pt>
    <dgm:pt modelId="{D412B182-939A-4C07-BDA5-CE5C07BC0B2D}" type="parTrans" cxnId="{0BF568F5-7425-40FA-80D4-6CBF2F552140}">
      <dgm:prSet/>
      <dgm:spPr/>
      <dgm:t>
        <a:bodyPr/>
        <a:lstStyle/>
        <a:p>
          <a:endParaRPr lang="en-US" sz="2400"/>
        </a:p>
      </dgm:t>
    </dgm:pt>
    <dgm:pt modelId="{39DE803B-29D9-4A2A-A870-BF905220132E}" type="sibTrans" cxnId="{0BF568F5-7425-40FA-80D4-6CBF2F552140}">
      <dgm:prSet/>
      <dgm:spPr/>
      <dgm:t>
        <a:bodyPr/>
        <a:lstStyle/>
        <a:p>
          <a:endParaRPr lang="en-US" sz="2400"/>
        </a:p>
      </dgm:t>
    </dgm:pt>
    <dgm:pt modelId="{11C854FB-4807-4191-A106-FCE0853A2737}">
      <dgm:prSet phldrT="[Text]" custT="1"/>
      <dgm:spPr/>
      <dgm:t>
        <a:bodyPr/>
        <a:lstStyle/>
        <a:p>
          <a:r>
            <a:rPr lang="en-US" sz="1800"/>
            <a:t>CDD</a:t>
          </a:r>
        </a:p>
      </dgm:t>
    </dgm:pt>
    <dgm:pt modelId="{3594EC1A-C28A-40E2-9BA9-E7D01DC610A7}" type="parTrans" cxnId="{17A8E6CF-3A06-437C-8D91-FCA2757CAFE6}">
      <dgm:prSet/>
      <dgm:spPr/>
      <dgm:t>
        <a:bodyPr/>
        <a:lstStyle/>
        <a:p>
          <a:endParaRPr lang="en-US" sz="2400"/>
        </a:p>
      </dgm:t>
    </dgm:pt>
    <dgm:pt modelId="{0B6FC9C1-497E-44B2-BA05-986DBD9831AA}" type="sibTrans" cxnId="{17A8E6CF-3A06-437C-8D91-FCA2757CAFE6}">
      <dgm:prSet/>
      <dgm:spPr/>
      <dgm:t>
        <a:bodyPr/>
        <a:lstStyle/>
        <a:p>
          <a:endParaRPr lang="en-US" sz="2400"/>
        </a:p>
      </dgm:t>
    </dgm:pt>
    <dgm:pt modelId="{D09E3D4F-1D7D-42D1-986A-2D072940B2CA}">
      <dgm:prSet phldrT="[Text]" custT="1"/>
      <dgm:spPr>
        <a:solidFill>
          <a:srgbClr val="FDF69C"/>
        </a:solidFill>
      </dgm:spPr>
      <dgm:t>
        <a:bodyPr/>
        <a:lstStyle/>
        <a:p>
          <a:r>
            <a:rPr lang="en-US" sz="1800" dirty="0">
              <a:solidFill>
                <a:schemeClr val="tx1"/>
              </a:solidFill>
            </a:rPr>
            <a:t>Waste-to-Energy</a:t>
          </a:r>
        </a:p>
      </dgm:t>
    </dgm:pt>
    <dgm:pt modelId="{68ACF64D-A3E1-46BE-A0F8-EACFA27593B4}" type="parTrans" cxnId="{498BAEE2-7893-4D7B-95CC-F1C754C0CACB}">
      <dgm:prSet/>
      <dgm:spPr/>
      <dgm:t>
        <a:bodyPr/>
        <a:lstStyle/>
        <a:p>
          <a:endParaRPr lang="en-US" sz="2400"/>
        </a:p>
      </dgm:t>
    </dgm:pt>
    <dgm:pt modelId="{086D19BD-9679-4E1D-AB18-9C674F65C6F7}" type="sibTrans" cxnId="{498BAEE2-7893-4D7B-95CC-F1C754C0CACB}">
      <dgm:prSet/>
      <dgm:spPr/>
      <dgm:t>
        <a:bodyPr/>
        <a:lstStyle/>
        <a:p>
          <a:endParaRPr lang="en-US" sz="2400"/>
        </a:p>
      </dgm:t>
    </dgm:pt>
    <dgm:pt modelId="{6DAD5AF5-2F6C-40CF-B4A4-4535DCB1DE5D}" type="pres">
      <dgm:prSet presAssocID="{C14FF3FB-789E-4041-BAA4-8A5D3EF74394}" presName="hierChild1" presStyleCnt="0">
        <dgm:presLayoutVars>
          <dgm:orgChart val="1"/>
          <dgm:chPref val="1"/>
          <dgm:dir/>
          <dgm:animOne val="branch"/>
          <dgm:animLvl val="lvl"/>
          <dgm:resizeHandles/>
        </dgm:presLayoutVars>
      </dgm:prSet>
      <dgm:spPr/>
    </dgm:pt>
    <dgm:pt modelId="{9E669CAF-C666-4968-9C8A-A75CD735112E}" type="pres">
      <dgm:prSet presAssocID="{8A0FDD62-5ACB-4363-8100-7921DB27FED9}" presName="hierRoot1" presStyleCnt="0">
        <dgm:presLayoutVars>
          <dgm:hierBranch val="init"/>
        </dgm:presLayoutVars>
      </dgm:prSet>
      <dgm:spPr/>
    </dgm:pt>
    <dgm:pt modelId="{C9310B4B-0140-4156-88BB-BB8B405BA2F6}" type="pres">
      <dgm:prSet presAssocID="{8A0FDD62-5ACB-4363-8100-7921DB27FED9}" presName="rootComposite1" presStyleCnt="0"/>
      <dgm:spPr/>
    </dgm:pt>
    <dgm:pt modelId="{9243952B-3833-4F9A-A71B-0A59EE8FED19}" type="pres">
      <dgm:prSet presAssocID="{8A0FDD62-5ACB-4363-8100-7921DB27FED9}" presName="rootText1" presStyleLbl="node0" presStyleIdx="0" presStyleCnt="2">
        <dgm:presLayoutVars>
          <dgm:chPref val="3"/>
        </dgm:presLayoutVars>
      </dgm:prSet>
      <dgm:spPr/>
    </dgm:pt>
    <dgm:pt modelId="{4C951630-26BE-4FC2-B02A-6EABC31BCC02}" type="pres">
      <dgm:prSet presAssocID="{8A0FDD62-5ACB-4363-8100-7921DB27FED9}" presName="rootConnector1" presStyleLbl="node1" presStyleIdx="0" presStyleCnt="0"/>
      <dgm:spPr/>
    </dgm:pt>
    <dgm:pt modelId="{A9CBB20B-D2FF-462D-8365-7D562044133A}" type="pres">
      <dgm:prSet presAssocID="{8A0FDD62-5ACB-4363-8100-7921DB27FED9}" presName="hierChild2" presStyleCnt="0"/>
      <dgm:spPr/>
    </dgm:pt>
    <dgm:pt modelId="{C5E9805B-8734-43E5-87A9-3E4EDE6400A1}" type="pres">
      <dgm:prSet presAssocID="{FE1183B8-299D-4DAE-9761-D4155ED0D626}" presName="Name64" presStyleLbl="parChTrans1D2" presStyleIdx="0" presStyleCnt="4"/>
      <dgm:spPr/>
    </dgm:pt>
    <dgm:pt modelId="{59D565F5-CF79-4EC0-B001-75692E0C55A5}" type="pres">
      <dgm:prSet presAssocID="{9C224AA8-5D6D-439F-A5FF-D80F3FA166E4}" presName="hierRoot2" presStyleCnt="0">
        <dgm:presLayoutVars>
          <dgm:hierBranch val="init"/>
        </dgm:presLayoutVars>
      </dgm:prSet>
      <dgm:spPr/>
    </dgm:pt>
    <dgm:pt modelId="{FD1AFDEF-415B-41D7-A2B3-18097AE78CD0}" type="pres">
      <dgm:prSet presAssocID="{9C224AA8-5D6D-439F-A5FF-D80F3FA166E4}" presName="rootComposite" presStyleCnt="0"/>
      <dgm:spPr/>
    </dgm:pt>
    <dgm:pt modelId="{F6C5896B-E465-4949-89C8-FE4B715A7AA6}" type="pres">
      <dgm:prSet presAssocID="{9C224AA8-5D6D-439F-A5FF-D80F3FA166E4}" presName="rootText" presStyleLbl="node2" presStyleIdx="0" presStyleCnt="4">
        <dgm:presLayoutVars>
          <dgm:chPref val="3"/>
        </dgm:presLayoutVars>
      </dgm:prSet>
      <dgm:spPr/>
    </dgm:pt>
    <dgm:pt modelId="{E545B4FB-CAAE-4F67-8274-077F8989871C}" type="pres">
      <dgm:prSet presAssocID="{9C224AA8-5D6D-439F-A5FF-D80F3FA166E4}" presName="rootConnector" presStyleLbl="node2" presStyleIdx="0" presStyleCnt="4"/>
      <dgm:spPr/>
    </dgm:pt>
    <dgm:pt modelId="{12A0EF90-D8EB-4D76-A8C2-74FEB5F363FC}" type="pres">
      <dgm:prSet presAssocID="{9C224AA8-5D6D-439F-A5FF-D80F3FA166E4}" presName="hierChild4" presStyleCnt="0"/>
      <dgm:spPr/>
    </dgm:pt>
    <dgm:pt modelId="{945B86D7-60E4-41FF-9E22-41E01EACAF57}" type="pres">
      <dgm:prSet presAssocID="{9C224AA8-5D6D-439F-A5FF-D80F3FA166E4}" presName="hierChild5" presStyleCnt="0"/>
      <dgm:spPr/>
    </dgm:pt>
    <dgm:pt modelId="{072208BE-F468-4D92-91D9-C7A5020A5858}" type="pres">
      <dgm:prSet presAssocID="{445E6ECC-BB0F-4772-A31E-5A2DA500E851}" presName="Name64" presStyleLbl="parChTrans1D2" presStyleIdx="1" presStyleCnt="4"/>
      <dgm:spPr/>
    </dgm:pt>
    <dgm:pt modelId="{FE4E211E-805E-4926-9B50-E069108CDC74}" type="pres">
      <dgm:prSet presAssocID="{B487FD67-7267-482B-A536-C6D808E96D9C}" presName="hierRoot2" presStyleCnt="0">
        <dgm:presLayoutVars>
          <dgm:hierBranch val="init"/>
        </dgm:presLayoutVars>
      </dgm:prSet>
      <dgm:spPr/>
    </dgm:pt>
    <dgm:pt modelId="{05677B27-E7DD-4A6A-ACAA-B9350D6719BF}" type="pres">
      <dgm:prSet presAssocID="{B487FD67-7267-482B-A536-C6D808E96D9C}" presName="rootComposite" presStyleCnt="0"/>
      <dgm:spPr/>
    </dgm:pt>
    <dgm:pt modelId="{5F10370A-A9DD-44D6-A47F-F058C24F9C2F}" type="pres">
      <dgm:prSet presAssocID="{B487FD67-7267-482B-A536-C6D808E96D9C}" presName="rootText" presStyleLbl="node2" presStyleIdx="1" presStyleCnt="4">
        <dgm:presLayoutVars>
          <dgm:chPref val="3"/>
        </dgm:presLayoutVars>
      </dgm:prSet>
      <dgm:spPr/>
    </dgm:pt>
    <dgm:pt modelId="{A4C68761-9E3E-4D68-B6DB-BA502EBD0C16}" type="pres">
      <dgm:prSet presAssocID="{B487FD67-7267-482B-A536-C6D808E96D9C}" presName="rootConnector" presStyleLbl="node2" presStyleIdx="1" presStyleCnt="4"/>
      <dgm:spPr/>
    </dgm:pt>
    <dgm:pt modelId="{0C5EFA30-BCFC-439E-B1F2-B68DB79AC200}" type="pres">
      <dgm:prSet presAssocID="{B487FD67-7267-482B-A536-C6D808E96D9C}" presName="hierChild4" presStyleCnt="0"/>
      <dgm:spPr/>
    </dgm:pt>
    <dgm:pt modelId="{FE114DFA-BA97-40C0-9265-F7C1E69247D0}" type="pres">
      <dgm:prSet presAssocID="{B487FD67-7267-482B-A536-C6D808E96D9C}" presName="hierChild5" presStyleCnt="0"/>
      <dgm:spPr/>
    </dgm:pt>
    <dgm:pt modelId="{77BD919E-47EC-450F-A587-C259C150CD11}" type="pres">
      <dgm:prSet presAssocID="{D412B182-939A-4C07-BDA5-CE5C07BC0B2D}" presName="Name64" presStyleLbl="parChTrans1D2" presStyleIdx="2" presStyleCnt="4"/>
      <dgm:spPr/>
    </dgm:pt>
    <dgm:pt modelId="{A461B146-54EF-4F15-AA9B-3B2A6B85524B}" type="pres">
      <dgm:prSet presAssocID="{500687D9-0065-48BF-95F4-F2E85DEA36C5}" presName="hierRoot2" presStyleCnt="0">
        <dgm:presLayoutVars>
          <dgm:hierBranch val="init"/>
        </dgm:presLayoutVars>
      </dgm:prSet>
      <dgm:spPr/>
    </dgm:pt>
    <dgm:pt modelId="{48659850-4E23-4CE8-B3E4-25DB10213B00}" type="pres">
      <dgm:prSet presAssocID="{500687D9-0065-48BF-95F4-F2E85DEA36C5}" presName="rootComposite" presStyleCnt="0"/>
      <dgm:spPr/>
    </dgm:pt>
    <dgm:pt modelId="{69E3A919-74FB-480D-BB89-D9BE39E399E7}" type="pres">
      <dgm:prSet presAssocID="{500687D9-0065-48BF-95F4-F2E85DEA36C5}" presName="rootText" presStyleLbl="node2" presStyleIdx="2" presStyleCnt="4">
        <dgm:presLayoutVars>
          <dgm:chPref val="3"/>
        </dgm:presLayoutVars>
      </dgm:prSet>
      <dgm:spPr/>
    </dgm:pt>
    <dgm:pt modelId="{0240BFF0-FF4F-4C09-943F-D38D8171ED95}" type="pres">
      <dgm:prSet presAssocID="{500687D9-0065-48BF-95F4-F2E85DEA36C5}" presName="rootConnector" presStyleLbl="node2" presStyleIdx="2" presStyleCnt="4"/>
      <dgm:spPr/>
    </dgm:pt>
    <dgm:pt modelId="{0B9A7443-4860-4A0A-A343-BC94640D77DB}" type="pres">
      <dgm:prSet presAssocID="{500687D9-0065-48BF-95F4-F2E85DEA36C5}" presName="hierChild4" presStyleCnt="0"/>
      <dgm:spPr/>
    </dgm:pt>
    <dgm:pt modelId="{EE55C356-ECC5-49DC-82E3-FBD0AC214CCA}" type="pres">
      <dgm:prSet presAssocID="{500687D9-0065-48BF-95F4-F2E85DEA36C5}" presName="hierChild5" presStyleCnt="0"/>
      <dgm:spPr/>
    </dgm:pt>
    <dgm:pt modelId="{6B0F7A21-8A71-4319-AC2E-D81074B65CBC}" type="pres">
      <dgm:prSet presAssocID="{3594EC1A-C28A-40E2-9BA9-E7D01DC610A7}" presName="Name64" presStyleLbl="parChTrans1D2" presStyleIdx="3" presStyleCnt="4"/>
      <dgm:spPr/>
    </dgm:pt>
    <dgm:pt modelId="{9A318E4F-E2D8-4796-BA44-A1238E956757}" type="pres">
      <dgm:prSet presAssocID="{11C854FB-4807-4191-A106-FCE0853A2737}" presName="hierRoot2" presStyleCnt="0">
        <dgm:presLayoutVars>
          <dgm:hierBranch val="init"/>
        </dgm:presLayoutVars>
      </dgm:prSet>
      <dgm:spPr/>
    </dgm:pt>
    <dgm:pt modelId="{80AC5910-FBB1-45A9-ACC3-F8050A7CCCD1}" type="pres">
      <dgm:prSet presAssocID="{11C854FB-4807-4191-A106-FCE0853A2737}" presName="rootComposite" presStyleCnt="0"/>
      <dgm:spPr/>
    </dgm:pt>
    <dgm:pt modelId="{B3171B48-87B5-412F-8372-E3F8BFD01636}" type="pres">
      <dgm:prSet presAssocID="{11C854FB-4807-4191-A106-FCE0853A2737}" presName="rootText" presStyleLbl="node2" presStyleIdx="3" presStyleCnt="4">
        <dgm:presLayoutVars>
          <dgm:chPref val="3"/>
        </dgm:presLayoutVars>
      </dgm:prSet>
      <dgm:spPr/>
    </dgm:pt>
    <dgm:pt modelId="{0B06F98C-C427-494C-A0A1-C26D1053C203}" type="pres">
      <dgm:prSet presAssocID="{11C854FB-4807-4191-A106-FCE0853A2737}" presName="rootConnector" presStyleLbl="node2" presStyleIdx="3" presStyleCnt="4"/>
      <dgm:spPr/>
    </dgm:pt>
    <dgm:pt modelId="{6325D762-2604-42FB-A526-0F0EE7A46B07}" type="pres">
      <dgm:prSet presAssocID="{11C854FB-4807-4191-A106-FCE0853A2737}" presName="hierChild4" presStyleCnt="0"/>
      <dgm:spPr/>
    </dgm:pt>
    <dgm:pt modelId="{335F8B26-6C68-450B-9CDE-CF305CB6D2F4}" type="pres">
      <dgm:prSet presAssocID="{11C854FB-4807-4191-A106-FCE0853A2737}" presName="hierChild5" presStyleCnt="0"/>
      <dgm:spPr/>
    </dgm:pt>
    <dgm:pt modelId="{BB1C3144-AF76-4C1A-AC16-5745FE3D6FF4}" type="pres">
      <dgm:prSet presAssocID="{8A0FDD62-5ACB-4363-8100-7921DB27FED9}" presName="hierChild3" presStyleCnt="0"/>
      <dgm:spPr/>
    </dgm:pt>
    <dgm:pt modelId="{E18B88DC-BC5B-4269-8303-2816E8A33297}" type="pres">
      <dgm:prSet presAssocID="{D09E3D4F-1D7D-42D1-986A-2D072940B2CA}" presName="hierRoot1" presStyleCnt="0">
        <dgm:presLayoutVars>
          <dgm:hierBranch val="init"/>
        </dgm:presLayoutVars>
      </dgm:prSet>
      <dgm:spPr/>
    </dgm:pt>
    <dgm:pt modelId="{7E1EFAEC-C6C5-4489-9136-BD7B0956B289}" type="pres">
      <dgm:prSet presAssocID="{D09E3D4F-1D7D-42D1-986A-2D072940B2CA}" presName="rootComposite1" presStyleCnt="0"/>
      <dgm:spPr/>
    </dgm:pt>
    <dgm:pt modelId="{8F43BE6E-166A-4736-B495-0F0C5F9C5A94}" type="pres">
      <dgm:prSet presAssocID="{D09E3D4F-1D7D-42D1-986A-2D072940B2CA}" presName="rootText1" presStyleLbl="node0" presStyleIdx="1" presStyleCnt="2" custScaleX="220215">
        <dgm:presLayoutVars>
          <dgm:chPref val="3"/>
        </dgm:presLayoutVars>
      </dgm:prSet>
      <dgm:spPr/>
    </dgm:pt>
    <dgm:pt modelId="{65E7425D-55D2-4A95-85AE-4170C0981629}" type="pres">
      <dgm:prSet presAssocID="{D09E3D4F-1D7D-42D1-986A-2D072940B2CA}" presName="rootConnector1" presStyleLbl="node1" presStyleIdx="0" presStyleCnt="0"/>
      <dgm:spPr/>
    </dgm:pt>
    <dgm:pt modelId="{0A91E4F6-AD54-49CF-9C53-9262E286DF5E}" type="pres">
      <dgm:prSet presAssocID="{D09E3D4F-1D7D-42D1-986A-2D072940B2CA}" presName="hierChild2" presStyleCnt="0"/>
      <dgm:spPr/>
    </dgm:pt>
    <dgm:pt modelId="{3AA06DB7-3CF2-4B80-A567-B41E54DCF106}" type="pres">
      <dgm:prSet presAssocID="{D09E3D4F-1D7D-42D1-986A-2D072940B2CA}" presName="hierChild3" presStyleCnt="0"/>
      <dgm:spPr/>
    </dgm:pt>
  </dgm:ptLst>
  <dgm:cxnLst>
    <dgm:cxn modelId="{64557A04-F32A-4FDF-8F5A-BE8516AA6E01}" type="presOf" srcId="{3594EC1A-C28A-40E2-9BA9-E7D01DC610A7}" destId="{6B0F7A21-8A71-4319-AC2E-D81074B65CBC}" srcOrd="0" destOrd="0" presId="urn:microsoft.com/office/officeart/2009/3/layout/HorizontalOrganizationChart"/>
    <dgm:cxn modelId="{FFCB8E0E-83EF-4599-BF13-C986EE976DEB}" srcId="{C14FF3FB-789E-4041-BAA4-8A5D3EF74394}" destId="{8A0FDD62-5ACB-4363-8100-7921DB27FED9}" srcOrd="0" destOrd="0" parTransId="{2E0A18BD-4B57-45A2-B599-17A5236A0DBA}" sibTransId="{95404541-6FCE-499D-B544-6283CA283D12}"/>
    <dgm:cxn modelId="{ED4D9E10-416E-403E-ADBA-09BE16C63D8D}" srcId="{8A0FDD62-5ACB-4363-8100-7921DB27FED9}" destId="{B487FD67-7267-482B-A536-C6D808E96D9C}" srcOrd="1" destOrd="0" parTransId="{445E6ECC-BB0F-4772-A31E-5A2DA500E851}" sibTransId="{4EA9E5A2-9B4B-4D3F-A6ED-250E73837D57}"/>
    <dgm:cxn modelId="{634DAF19-D7E1-4A13-AAE1-0DE3F1B14538}" type="presOf" srcId="{11C854FB-4807-4191-A106-FCE0853A2737}" destId="{B3171B48-87B5-412F-8372-E3F8BFD01636}" srcOrd="0" destOrd="0" presId="urn:microsoft.com/office/officeart/2009/3/layout/HorizontalOrganizationChart"/>
    <dgm:cxn modelId="{E8A0B528-C4D8-4C91-A789-0A0697D95969}" type="presOf" srcId="{11C854FB-4807-4191-A106-FCE0853A2737}" destId="{0B06F98C-C427-494C-A0A1-C26D1053C203}" srcOrd="1" destOrd="0" presId="urn:microsoft.com/office/officeart/2009/3/layout/HorizontalOrganizationChart"/>
    <dgm:cxn modelId="{F4ABB83C-24C7-4711-A232-B64194FD2448}" type="presOf" srcId="{FE1183B8-299D-4DAE-9761-D4155ED0D626}" destId="{C5E9805B-8734-43E5-87A9-3E4EDE6400A1}" srcOrd="0" destOrd="0" presId="urn:microsoft.com/office/officeart/2009/3/layout/HorizontalOrganizationChart"/>
    <dgm:cxn modelId="{27204B5F-1CC0-471D-A850-D419F147704F}" type="presOf" srcId="{D412B182-939A-4C07-BDA5-CE5C07BC0B2D}" destId="{77BD919E-47EC-450F-A587-C259C150CD11}" srcOrd="0" destOrd="0" presId="urn:microsoft.com/office/officeart/2009/3/layout/HorizontalOrganizationChart"/>
    <dgm:cxn modelId="{500DA64C-B97D-468B-8458-53084E7E3F40}" type="presOf" srcId="{500687D9-0065-48BF-95F4-F2E85DEA36C5}" destId="{0240BFF0-FF4F-4C09-943F-D38D8171ED95}" srcOrd="1" destOrd="0" presId="urn:microsoft.com/office/officeart/2009/3/layout/HorizontalOrganizationChart"/>
    <dgm:cxn modelId="{418DDD72-5F93-4278-B9A7-B366FC5F831B}" type="presOf" srcId="{D09E3D4F-1D7D-42D1-986A-2D072940B2CA}" destId="{65E7425D-55D2-4A95-85AE-4170C0981629}" srcOrd="1" destOrd="0" presId="urn:microsoft.com/office/officeart/2009/3/layout/HorizontalOrganizationChart"/>
    <dgm:cxn modelId="{37169C73-803B-4B53-8056-7D86DF425149}" type="presOf" srcId="{D09E3D4F-1D7D-42D1-986A-2D072940B2CA}" destId="{8F43BE6E-166A-4736-B495-0F0C5F9C5A94}" srcOrd="0" destOrd="0" presId="urn:microsoft.com/office/officeart/2009/3/layout/HorizontalOrganizationChart"/>
    <dgm:cxn modelId="{80630C54-088D-44D6-B58F-EEFCC41260FB}" type="presOf" srcId="{B487FD67-7267-482B-A536-C6D808E96D9C}" destId="{A4C68761-9E3E-4D68-B6DB-BA502EBD0C16}" srcOrd="1" destOrd="0" presId="urn:microsoft.com/office/officeart/2009/3/layout/HorizontalOrganizationChart"/>
    <dgm:cxn modelId="{DAB9C179-CF84-4B9B-A240-A23B5E2EABF7}" type="presOf" srcId="{9C224AA8-5D6D-439F-A5FF-D80F3FA166E4}" destId="{E545B4FB-CAAE-4F67-8274-077F8989871C}" srcOrd="1" destOrd="0" presId="urn:microsoft.com/office/officeart/2009/3/layout/HorizontalOrganizationChart"/>
    <dgm:cxn modelId="{3A4A7F7C-3773-44AD-831D-2EEC340A03E6}" type="presOf" srcId="{C14FF3FB-789E-4041-BAA4-8A5D3EF74394}" destId="{6DAD5AF5-2F6C-40CF-B4A4-4535DCB1DE5D}" srcOrd="0" destOrd="0" presId="urn:microsoft.com/office/officeart/2009/3/layout/HorizontalOrganizationChart"/>
    <dgm:cxn modelId="{B5728EA7-77BF-4A44-8D43-F6E7F6B898D8}" type="presOf" srcId="{500687D9-0065-48BF-95F4-F2E85DEA36C5}" destId="{69E3A919-74FB-480D-BB89-D9BE39E399E7}" srcOrd="0" destOrd="0" presId="urn:microsoft.com/office/officeart/2009/3/layout/HorizontalOrganizationChart"/>
    <dgm:cxn modelId="{2AB946AA-81B9-471D-9447-2C92C3DA6716}" type="presOf" srcId="{8A0FDD62-5ACB-4363-8100-7921DB27FED9}" destId="{4C951630-26BE-4FC2-B02A-6EABC31BCC02}" srcOrd="1" destOrd="0" presId="urn:microsoft.com/office/officeart/2009/3/layout/HorizontalOrganizationChart"/>
    <dgm:cxn modelId="{9CB71FB1-4091-4499-A694-E01ECE5458BA}" type="presOf" srcId="{8A0FDD62-5ACB-4363-8100-7921DB27FED9}" destId="{9243952B-3833-4F9A-A71B-0A59EE8FED19}" srcOrd="0" destOrd="0" presId="urn:microsoft.com/office/officeart/2009/3/layout/HorizontalOrganizationChart"/>
    <dgm:cxn modelId="{CD1619B7-958E-47B2-80DA-28F385F85BF6}" type="presOf" srcId="{B487FD67-7267-482B-A536-C6D808E96D9C}" destId="{5F10370A-A9DD-44D6-A47F-F058C24F9C2F}" srcOrd="0" destOrd="0" presId="urn:microsoft.com/office/officeart/2009/3/layout/HorizontalOrganizationChart"/>
    <dgm:cxn modelId="{17A8E6CF-3A06-437C-8D91-FCA2757CAFE6}" srcId="{8A0FDD62-5ACB-4363-8100-7921DB27FED9}" destId="{11C854FB-4807-4191-A106-FCE0853A2737}" srcOrd="3" destOrd="0" parTransId="{3594EC1A-C28A-40E2-9BA9-E7D01DC610A7}" sibTransId="{0B6FC9C1-497E-44B2-BA05-986DBD9831AA}"/>
    <dgm:cxn modelId="{471993E1-B340-4A72-921B-81101BD0227A}" type="presOf" srcId="{9C224AA8-5D6D-439F-A5FF-D80F3FA166E4}" destId="{F6C5896B-E465-4949-89C8-FE4B715A7AA6}" srcOrd="0" destOrd="0" presId="urn:microsoft.com/office/officeart/2009/3/layout/HorizontalOrganizationChart"/>
    <dgm:cxn modelId="{498BAEE2-7893-4D7B-95CC-F1C754C0CACB}" srcId="{C14FF3FB-789E-4041-BAA4-8A5D3EF74394}" destId="{D09E3D4F-1D7D-42D1-986A-2D072940B2CA}" srcOrd="1" destOrd="0" parTransId="{68ACF64D-A3E1-46BE-A0F8-EACFA27593B4}" sibTransId="{086D19BD-9679-4E1D-AB18-9C674F65C6F7}"/>
    <dgm:cxn modelId="{D1621CEF-9F93-4C79-B39F-CBA1E394B3B0}" type="presOf" srcId="{445E6ECC-BB0F-4772-A31E-5A2DA500E851}" destId="{072208BE-F468-4D92-91D9-C7A5020A5858}" srcOrd="0" destOrd="0" presId="urn:microsoft.com/office/officeart/2009/3/layout/HorizontalOrganizationChart"/>
    <dgm:cxn modelId="{E02BB2F0-87BB-483B-91A1-E7038189B78B}" srcId="{8A0FDD62-5ACB-4363-8100-7921DB27FED9}" destId="{9C224AA8-5D6D-439F-A5FF-D80F3FA166E4}" srcOrd="0" destOrd="0" parTransId="{FE1183B8-299D-4DAE-9761-D4155ED0D626}" sibTransId="{46ECC135-E1CD-4BA3-940E-260EB4B089CC}"/>
    <dgm:cxn modelId="{0BF568F5-7425-40FA-80D4-6CBF2F552140}" srcId="{8A0FDD62-5ACB-4363-8100-7921DB27FED9}" destId="{500687D9-0065-48BF-95F4-F2E85DEA36C5}" srcOrd="2" destOrd="0" parTransId="{D412B182-939A-4C07-BDA5-CE5C07BC0B2D}" sibTransId="{39DE803B-29D9-4A2A-A870-BF905220132E}"/>
    <dgm:cxn modelId="{1BBA2148-F184-41BE-A4AA-FF4AE6E11402}" type="presParOf" srcId="{6DAD5AF5-2F6C-40CF-B4A4-4535DCB1DE5D}" destId="{9E669CAF-C666-4968-9C8A-A75CD735112E}" srcOrd="0" destOrd="0" presId="urn:microsoft.com/office/officeart/2009/3/layout/HorizontalOrganizationChart"/>
    <dgm:cxn modelId="{CD4A52A8-BB30-46B1-A09C-FA3E5962EAC3}" type="presParOf" srcId="{9E669CAF-C666-4968-9C8A-A75CD735112E}" destId="{C9310B4B-0140-4156-88BB-BB8B405BA2F6}" srcOrd="0" destOrd="0" presId="urn:microsoft.com/office/officeart/2009/3/layout/HorizontalOrganizationChart"/>
    <dgm:cxn modelId="{00FEEC05-1D06-4F50-9D37-E227647C0275}" type="presParOf" srcId="{C9310B4B-0140-4156-88BB-BB8B405BA2F6}" destId="{9243952B-3833-4F9A-A71B-0A59EE8FED19}" srcOrd="0" destOrd="0" presId="urn:microsoft.com/office/officeart/2009/3/layout/HorizontalOrganizationChart"/>
    <dgm:cxn modelId="{61330E62-BE84-4CF8-B87D-76F69F8989F7}" type="presParOf" srcId="{C9310B4B-0140-4156-88BB-BB8B405BA2F6}" destId="{4C951630-26BE-4FC2-B02A-6EABC31BCC02}" srcOrd="1" destOrd="0" presId="urn:microsoft.com/office/officeart/2009/3/layout/HorizontalOrganizationChart"/>
    <dgm:cxn modelId="{2CE91F4A-E069-4DC6-AEE5-7A68566C91BE}" type="presParOf" srcId="{9E669CAF-C666-4968-9C8A-A75CD735112E}" destId="{A9CBB20B-D2FF-462D-8365-7D562044133A}" srcOrd="1" destOrd="0" presId="urn:microsoft.com/office/officeart/2009/3/layout/HorizontalOrganizationChart"/>
    <dgm:cxn modelId="{38FD33C2-E9ED-421A-AB97-66306F9C9EA4}" type="presParOf" srcId="{A9CBB20B-D2FF-462D-8365-7D562044133A}" destId="{C5E9805B-8734-43E5-87A9-3E4EDE6400A1}" srcOrd="0" destOrd="0" presId="urn:microsoft.com/office/officeart/2009/3/layout/HorizontalOrganizationChart"/>
    <dgm:cxn modelId="{AB331918-CE8E-4BD5-8F39-5A78E4F37DF3}" type="presParOf" srcId="{A9CBB20B-D2FF-462D-8365-7D562044133A}" destId="{59D565F5-CF79-4EC0-B001-75692E0C55A5}" srcOrd="1" destOrd="0" presId="urn:microsoft.com/office/officeart/2009/3/layout/HorizontalOrganizationChart"/>
    <dgm:cxn modelId="{C0A68D2F-44EF-4A10-AB34-46A774F23A22}" type="presParOf" srcId="{59D565F5-CF79-4EC0-B001-75692E0C55A5}" destId="{FD1AFDEF-415B-41D7-A2B3-18097AE78CD0}" srcOrd="0" destOrd="0" presId="urn:microsoft.com/office/officeart/2009/3/layout/HorizontalOrganizationChart"/>
    <dgm:cxn modelId="{C91D4CE7-12AC-4F90-9AFD-D0BE248578DB}" type="presParOf" srcId="{FD1AFDEF-415B-41D7-A2B3-18097AE78CD0}" destId="{F6C5896B-E465-4949-89C8-FE4B715A7AA6}" srcOrd="0" destOrd="0" presId="urn:microsoft.com/office/officeart/2009/3/layout/HorizontalOrganizationChart"/>
    <dgm:cxn modelId="{7D5BFA1F-51B3-46A7-B782-3C218484186E}" type="presParOf" srcId="{FD1AFDEF-415B-41D7-A2B3-18097AE78CD0}" destId="{E545B4FB-CAAE-4F67-8274-077F8989871C}" srcOrd="1" destOrd="0" presId="urn:microsoft.com/office/officeart/2009/3/layout/HorizontalOrganizationChart"/>
    <dgm:cxn modelId="{2DDC45EE-5C4F-471D-B9E6-165EED17ADD7}" type="presParOf" srcId="{59D565F5-CF79-4EC0-B001-75692E0C55A5}" destId="{12A0EF90-D8EB-4D76-A8C2-74FEB5F363FC}" srcOrd="1" destOrd="0" presId="urn:microsoft.com/office/officeart/2009/3/layout/HorizontalOrganizationChart"/>
    <dgm:cxn modelId="{DF3D3A8F-F7E9-4699-A141-CF0E8EA8347E}" type="presParOf" srcId="{59D565F5-CF79-4EC0-B001-75692E0C55A5}" destId="{945B86D7-60E4-41FF-9E22-41E01EACAF57}" srcOrd="2" destOrd="0" presId="urn:microsoft.com/office/officeart/2009/3/layout/HorizontalOrganizationChart"/>
    <dgm:cxn modelId="{41B646CF-43D0-49A0-90B8-A4F42031BB89}" type="presParOf" srcId="{A9CBB20B-D2FF-462D-8365-7D562044133A}" destId="{072208BE-F468-4D92-91D9-C7A5020A5858}" srcOrd="2" destOrd="0" presId="urn:microsoft.com/office/officeart/2009/3/layout/HorizontalOrganizationChart"/>
    <dgm:cxn modelId="{A525406A-0F7B-4113-BEE8-B56386FF1682}" type="presParOf" srcId="{A9CBB20B-D2FF-462D-8365-7D562044133A}" destId="{FE4E211E-805E-4926-9B50-E069108CDC74}" srcOrd="3" destOrd="0" presId="urn:microsoft.com/office/officeart/2009/3/layout/HorizontalOrganizationChart"/>
    <dgm:cxn modelId="{5637D8A9-C7D1-432E-98EE-DF47A1B8E581}" type="presParOf" srcId="{FE4E211E-805E-4926-9B50-E069108CDC74}" destId="{05677B27-E7DD-4A6A-ACAA-B9350D6719BF}" srcOrd="0" destOrd="0" presId="urn:microsoft.com/office/officeart/2009/3/layout/HorizontalOrganizationChart"/>
    <dgm:cxn modelId="{4A5E9A7E-9FD9-4D5B-AB44-6F1DD2825AA4}" type="presParOf" srcId="{05677B27-E7DD-4A6A-ACAA-B9350D6719BF}" destId="{5F10370A-A9DD-44D6-A47F-F058C24F9C2F}" srcOrd="0" destOrd="0" presId="urn:microsoft.com/office/officeart/2009/3/layout/HorizontalOrganizationChart"/>
    <dgm:cxn modelId="{F57B5992-1D67-429B-BF9B-6D8B841EF545}" type="presParOf" srcId="{05677B27-E7DD-4A6A-ACAA-B9350D6719BF}" destId="{A4C68761-9E3E-4D68-B6DB-BA502EBD0C16}" srcOrd="1" destOrd="0" presId="urn:microsoft.com/office/officeart/2009/3/layout/HorizontalOrganizationChart"/>
    <dgm:cxn modelId="{66B15C5B-023A-43A1-8EB0-F8A6B75F74D8}" type="presParOf" srcId="{FE4E211E-805E-4926-9B50-E069108CDC74}" destId="{0C5EFA30-BCFC-439E-B1F2-B68DB79AC200}" srcOrd="1" destOrd="0" presId="urn:microsoft.com/office/officeart/2009/3/layout/HorizontalOrganizationChart"/>
    <dgm:cxn modelId="{B947C541-9009-4D98-9547-EE14F5D16A10}" type="presParOf" srcId="{FE4E211E-805E-4926-9B50-E069108CDC74}" destId="{FE114DFA-BA97-40C0-9265-F7C1E69247D0}" srcOrd="2" destOrd="0" presId="urn:microsoft.com/office/officeart/2009/3/layout/HorizontalOrganizationChart"/>
    <dgm:cxn modelId="{883BE747-5EEB-4CB5-BE31-553541FA473A}" type="presParOf" srcId="{A9CBB20B-D2FF-462D-8365-7D562044133A}" destId="{77BD919E-47EC-450F-A587-C259C150CD11}" srcOrd="4" destOrd="0" presId="urn:microsoft.com/office/officeart/2009/3/layout/HorizontalOrganizationChart"/>
    <dgm:cxn modelId="{2D9EC5A3-2D8B-4BE9-9EF4-930B6B75C677}" type="presParOf" srcId="{A9CBB20B-D2FF-462D-8365-7D562044133A}" destId="{A461B146-54EF-4F15-AA9B-3B2A6B85524B}" srcOrd="5" destOrd="0" presId="urn:microsoft.com/office/officeart/2009/3/layout/HorizontalOrganizationChart"/>
    <dgm:cxn modelId="{99CF503B-EF2E-4958-B5CF-5B8059B0AFF9}" type="presParOf" srcId="{A461B146-54EF-4F15-AA9B-3B2A6B85524B}" destId="{48659850-4E23-4CE8-B3E4-25DB10213B00}" srcOrd="0" destOrd="0" presId="urn:microsoft.com/office/officeart/2009/3/layout/HorizontalOrganizationChart"/>
    <dgm:cxn modelId="{09A0D2CE-E99C-4000-A62A-939A19CB1956}" type="presParOf" srcId="{48659850-4E23-4CE8-B3E4-25DB10213B00}" destId="{69E3A919-74FB-480D-BB89-D9BE39E399E7}" srcOrd="0" destOrd="0" presId="urn:microsoft.com/office/officeart/2009/3/layout/HorizontalOrganizationChart"/>
    <dgm:cxn modelId="{983D0D3C-0BB9-4D1F-AF50-69B826F86D59}" type="presParOf" srcId="{48659850-4E23-4CE8-B3E4-25DB10213B00}" destId="{0240BFF0-FF4F-4C09-943F-D38D8171ED95}" srcOrd="1" destOrd="0" presId="urn:microsoft.com/office/officeart/2009/3/layout/HorizontalOrganizationChart"/>
    <dgm:cxn modelId="{EAA1FA69-59EA-452A-9A14-543F218D4AAD}" type="presParOf" srcId="{A461B146-54EF-4F15-AA9B-3B2A6B85524B}" destId="{0B9A7443-4860-4A0A-A343-BC94640D77DB}" srcOrd="1" destOrd="0" presId="urn:microsoft.com/office/officeart/2009/3/layout/HorizontalOrganizationChart"/>
    <dgm:cxn modelId="{61D964A9-B53E-4B0B-A159-747F1F3508E5}" type="presParOf" srcId="{A461B146-54EF-4F15-AA9B-3B2A6B85524B}" destId="{EE55C356-ECC5-49DC-82E3-FBD0AC214CCA}" srcOrd="2" destOrd="0" presId="urn:microsoft.com/office/officeart/2009/3/layout/HorizontalOrganizationChart"/>
    <dgm:cxn modelId="{5608B8D6-A8F3-4E76-B41E-395586BFE99F}" type="presParOf" srcId="{A9CBB20B-D2FF-462D-8365-7D562044133A}" destId="{6B0F7A21-8A71-4319-AC2E-D81074B65CBC}" srcOrd="6" destOrd="0" presId="urn:microsoft.com/office/officeart/2009/3/layout/HorizontalOrganizationChart"/>
    <dgm:cxn modelId="{C84EB760-A297-40B1-855F-17038CB88F54}" type="presParOf" srcId="{A9CBB20B-D2FF-462D-8365-7D562044133A}" destId="{9A318E4F-E2D8-4796-BA44-A1238E956757}" srcOrd="7" destOrd="0" presId="urn:microsoft.com/office/officeart/2009/3/layout/HorizontalOrganizationChart"/>
    <dgm:cxn modelId="{108DC13D-B7B4-4DB8-9A37-304BD9FD15FE}" type="presParOf" srcId="{9A318E4F-E2D8-4796-BA44-A1238E956757}" destId="{80AC5910-FBB1-45A9-ACC3-F8050A7CCCD1}" srcOrd="0" destOrd="0" presId="urn:microsoft.com/office/officeart/2009/3/layout/HorizontalOrganizationChart"/>
    <dgm:cxn modelId="{9379DFA1-2ACB-4931-A5A3-0041775C2394}" type="presParOf" srcId="{80AC5910-FBB1-45A9-ACC3-F8050A7CCCD1}" destId="{B3171B48-87B5-412F-8372-E3F8BFD01636}" srcOrd="0" destOrd="0" presId="urn:microsoft.com/office/officeart/2009/3/layout/HorizontalOrganizationChart"/>
    <dgm:cxn modelId="{B8D12E00-A2B2-47FC-819B-72511051FC14}" type="presParOf" srcId="{80AC5910-FBB1-45A9-ACC3-F8050A7CCCD1}" destId="{0B06F98C-C427-494C-A0A1-C26D1053C203}" srcOrd="1" destOrd="0" presId="urn:microsoft.com/office/officeart/2009/3/layout/HorizontalOrganizationChart"/>
    <dgm:cxn modelId="{CBD3CA40-F1B2-48B9-B1F2-D73874ED0A11}" type="presParOf" srcId="{9A318E4F-E2D8-4796-BA44-A1238E956757}" destId="{6325D762-2604-42FB-A526-0F0EE7A46B07}" srcOrd="1" destOrd="0" presId="urn:microsoft.com/office/officeart/2009/3/layout/HorizontalOrganizationChart"/>
    <dgm:cxn modelId="{9138CD50-545A-4C75-8CEE-81298912B487}" type="presParOf" srcId="{9A318E4F-E2D8-4796-BA44-A1238E956757}" destId="{335F8B26-6C68-450B-9CDE-CF305CB6D2F4}" srcOrd="2" destOrd="0" presId="urn:microsoft.com/office/officeart/2009/3/layout/HorizontalOrganizationChart"/>
    <dgm:cxn modelId="{2EEB8B91-47BD-4CBB-BF41-68D9D0249310}" type="presParOf" srcId="{9E669CAF-C666-4968-9C8A-A75CD735112E}" destId="{BB1C3144-AF76-4C1A-AC16-5745FE3D6FF4}" srcOrd="2" destOrd="0" presId="urn:microsoft.com/office/officeart/2009/3/layout/HorizontalOrganizationChart"/>
    <dgm:cxn modelId="{955AEF40-4F3F-4537-AF01-8943C55F9F46}" type="presParOf" srcId="{6DAD5AF5-2F6C-40CF-B4A4-4535DCB1DE5D}" destId="{E18B88DC-BC5B-4269-8303-2816E8A33297}" srcOrd="1" destOrd="0" presId="urn:microsoft.com/office/officeart/2009/3/layout/HorizontalOrganizationChart"/>
    <dgm:cxn modelId="{E2C7FD41-5A95-4129-949B-E52C827BCFEE}" type="presParOf" srcId="{E18B88DC-BC5B-4269-8303-2816E8A33297}" destId="{7E1EFAEC-C6C5-4489-9136-BD7B0956B289}" srcOrd="0" destOrd="0" presId="urn:microsoft.com/office/officeart/2009/3/layout/HorizontalOrganizationChart"/>
    <dgm:cxn modelId="{BEDF551C-3DAF-4BD3-8D74-32D5C90B7E44}" type="presParOf" srcId="{7E1EFAEC-C6C5-4489-9136-BD7B0956B289}" destId="{8F43BE6E-166A-4736-B495-0F0C5F9C5A94}" srcOrd="0" destOrd="0" presId="urn:microsoft.com/office/officeart/2009/3/layout/HorizontalOrganizationChart"/>
    <dgm:cxn modelId="{3AF3451C-B360-45D9-87AD-F22BD0B2F8A0}" type="presParOf" srcId="{7E1EFAEC-C6C5-4489-9136-BD7B0956B289}" destId="{65E7425D-55D2-4A95-85AE-4170C0981629}" srcOrd="1" destOrd="0" presId="urn:microsoft.com/office/officeart/2009/3/layout/HorizontalOrganizationChart"/>
    <dgm:cxn modelId="{84F8506D-BB3A-45DD-A804-FF6EF4A34DF4}" type="presParOf" srcId="{E18B88DC-BC5B-4269-8303-2816E8A33297}" destId="{0A91E4F6-AD54-49CF-9C53-9262E286DF5E}" srcOrd="1" destOrd="0" presId="urn:microsoft.com/office/officeart/2009/3/layout/HorizontalOrganizationChart"/>
    <dgm:cxn modelId="{3777CB0E-6951-496D-ABF3-8AE7E90A2F0F}" type="presParOf" srcId="{E18B88DC-BC5B-4269-8303-2816E8A33297}" destId="{3AA06DB7-3CF2-4B80-A567-B41E54DCF106}" srcOrd="2" destOrd="0" presId="urn:microsoft.com/office/officeart/2009/3/layout/HorizontalOrganizationChart"/>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14FF3FB-789E-4041-BAA4-8A5D3EF74394}" type="doc">
      <dgm:prSet loTypeId="urn:microsoft.com/office/officeart/2009/3/layout/HorizontalOrganizationChart" loCatId="hierarchy" qsTypeId="urn:microsoft.com/office/officeart/2005/8/quickstyle/simple1" qsCatId="simple" csTypeId="urn:microsoft.com/office/officeart/2005/8/colors/accent1_2" csCatId="accent1" phldr="1"/>
      <dgm:spPr/>
      <dgm:t>
        <a:bodyPr/>
        <a:lstStyle/>
        <a:p>
          <a:endParaRPr lang="en-US"/>
        </a:p>
      </dgm:t>
    </dgm:pt>
    <dgm:pt modelId="{8A0FDD62-5ACB-4363-8100-7921DB27FED9}">
      <dgm:prSet phldrT="[Text]" custT="1"/>
      <dgm:spPr/>
      <dgm:t>
        <a:bodyPr/>
        <a:lstStyle/>
        <a:p>
          <a:r>
            <a:rPr lang="en-US" sz="1800" dirty="0"/>
            <a:t>Landfills</a:t>
          </a:r>
        </a:p>
      </dgm:t>
    </dgm:pt>
    <dgm:pt modelId="{2E0A18BD-4B57-45A2-B599-17A5236A0DBA}" type="parTrans" cxnId="{FFCB8E0E-83EF-4599-BF13-C986EE976DEB}">
      <dgm:prSet/>
      <dgm:spPr/>
      <dgm:t>
        <a:bodyPr/>
        <a:lstStyle/>
        <a:p>
          <a:endParaRPr lang="en-US" sz="2400"/>
        </a:p>
      </dgm:t>
    </dgm:pt>
    <dgm:pt modelId="{95404541-6FCE-499D-B544-6283CA283D12}" type="sibTrans" cxnId="{FFCB8E0E-83EF-4599-BF13-C986EE976DEB}">
      <dgm:prSet/>
      <dgm:spPr/>
      <dgm:t>
        <a:bodyPr/>
        <a:lstStyle/>
        <a:p>
          <a:endParaRPr lang="en-US" sz="2400"/>
        </a:p>
      </dgm:t>
    </dgm:pt>
    <dgm:pt modelId="{9C224AA8-5D6D-439F-A5FF-D80F3FA166E4}">
      <dgm:prSet phldrT="[Text]" custT="1"/>
      <dgm:spPr/>
      <dgm:t>
        <a:bodyPr/>
        <a:lstStyle/>
        <a:p>
          <a:r>
            <a:rPr lang="en-US" sz="1800"/>
            <a:t>Ash Monofill</a:t>
          </a:r>
        </a:p>
      </dgm:t>
    </dgm:pt>
    <dgm:pt modelId="{FE1183B8-299D-4DAE-9761-D4155ED0D626}" type="parTrans" cxnId="{E02BB2F0-87BB-483B-91A1-E7038189B78B}">
      <dgm:prSet/>
      <dgm:spPr/>
      <dgm:t>
        <a:bodyPr/>
        <a:lstStyle/>
        <a:p>
          <a:endParaRPr lang="en-US" sz="2400"/>
        </a:p>
      </dgm:t>
    </dgm:pt>
    <dgm:pt modelId="{46ECC135-E1CD-4BA3-940E-260EB4B089CC}" type="sibTrans" cxnId="{E02BB2F0-87BB-483B-91A1-E7038189B78B}">
      <dgm:prSet/>
      <dgm:spPr/>
      <dgm:t>
        <a:bodyPr/>
        <a:lstStyle/>
        <a:p>
          <a:endParaRPr lang="en-US" sz="2400"/>
        </a:p>
      </dgm:t>
    </dgm:pt>
    <dgm:pt modelId="{B487FD67-7267-482B-A536-C6D808E96D9C}">
      <dgm:prSet phldrT="[Text]" custT="1"/>
      <dgm:spPr/>
      <dgm:t>
        <a:bodyPr/>
        <a:lstStyle/>
        <a:p>
          <a:r>
            <a:rPr lang="en-US" sz="1800"/>
            <a:t>Class I</a:t>
          </a:r>
        </a:p>
      </dgm:t>
    </dgm:pt>
    <dgm:pt modelId="{445E6ECC-BB0F-4772-A31E-5A2DA500E851}" type="parTrans" cxnId="{ED4D9E10-416E-403E-ADBA-09BE16C63D8D}">
      <dgm:prSet/>
      <dgm:spPr/>
      <dgm:t>
        <a:bodyPr/>
        <a:lstStyle/>
        <a:p>
          <a:endParaRPr lang="en-US" sz="2400"/>
        </a:p>
      </dgm:t>
    </dgm:pt>
    <dgm:pt modelId="{4EA9E5A2-9B4B-4D3F-A6ED-250E73837D57}" type="sibTrans" cxnId="{ED4D9E10-416E-403E-ADBA-09BE16C63D8D}">
      <dgm:prSet/>
      <dgm:spPr/>
      <dgm:t>
        <a:bodyPr/>
        <a:lstStyle/>
        <a:p>
          <a:endParaRPr lang="en-US" sz="2400"/>
        </a:p>
      </dgm:t>
    </dgm:pt>
    <dgm:pt modelId="{500687D9-0065-48BF-95F4-F2E85DEA36C5}">
      <dgm:prSet phldrT="[Text]" custT="1"/>
      <dgm:spPr/>
      <dgm:t>
        <a:bodyPr/>
        <a:lstStyle/>
        <a:p>
          <a:r>
            <a:rPr lang="en-US" sz="1800"/>
            <a:t>Class III</a:t>
          </a:r>
        </a:p>
      </dgm:t>
    </dgm:pt>
    <dgm:pt modelId="{D412B182-939A-4C07-BDA5-CE5C07BC0B2D}" type="parTrans" cxnId="{0BF568F5-7425-40FA-80D4-6CBF2F552140}">
      <dgm:prSet/>
      <dgm:spPr/>
      <dgm:t>
        <a:bodyPr/>
        <a:lstStyle/>
        <a:p>
          <a:endParaRPr lang="en-US" sz="2400"/>
        </a:p>
      </dgm:t>
    </dgm:pt>
    <dgm:pt modelId="{39DE803B-29D9-4A2A-A870-BF905220132E}" type="sibTrans" cxnId="{0BF568F5-7425-40FA-80D4-6CBF2F552140}">
      <dgm:prSet/>
      <dgm:spPr/>
      <dgm:t>
        <a:bodyPr/>
        <a:lstStyle/>
        <a:p>
          <a:endParaRPr lang="en-US" sz="2400"/>
        </a:p>
      </dgm:t>
    </dgm:pt>
    <dgm:pt modelId="{11C854FB-4807-4191-A106-FCE0853A2737}">
      <dgm:prSet phldrT="[Text]" custT="1"/>
      <dgm:spPr/>
      <dgm:t>
        <a:bodyPr/>
        <a:lstStyle/>
        <a:p>
          <a:r>
            <a:rPr lang="en-US" sz="1800"/>
            <a:t>CDD</a:t>
          </a:r>
        </a:p>
      </dgm:t>
    </dgm:pt>
    <dgm:pt modelId="{3594EC1A-C28A-40E2-9BA9-E7D01DC610A7}" type="parTrans" cxnId="{17A8E6CF-3A06-437C-8D91-FCA2757CAFE6}">
      <dgm:prSet/>
      <dgm:spPr/>
      <dgm:t>
        <a:bodyPr/>
        <a:lstStyle/>
        <a:p>
          <a:endParaRPr lang="en-US" sz="2400"/>
        </a:p>
      </dgm:t>
    </dgm:pt>
    <dgm:pt modelId="{0B6FC9C1-497E-44B2-BA05-986DBD9831AA}" type="sibTrans" cxnId="{17A8E6CF-3A06-437C-8D91-FCA2757CAFE6}">
      <dgm:prSet/>
      <dgm:spPr/>
      <dgm:t>
        <a:bodyPr/>
        <a:lstStyle/>
        <a:p>
          <a:endParaRPr lang="en-US" sz="2400"/>
        </a:p>
      </dgm:t>
    </dgm:pt>
    <dgm:pt modelId="{D09E3D4F-1D7D-42D1-986A-2D072940B2CA}">
      <dgm:prSet phldrT="[Text]" custT="1"/>
      <dgm:spPr/>
      <dgm:t>
        <a:bodyPr/>
        <a:lstStyle/>
        <a:p>
          <a:r>
            <a:rPr lang="en-US" sz="1800"/>
            <a:t>Waste-to-Energy</a:t>
          </a:r>
        </a:p>
      </dgm:t>
    </dgm:pt>
    <dgm:pt modelId="{68ACF64D-A3E1-46BE-A0F8-EACFA27593B4}" type="parTrans" cxnId="{498BAEE2-7893-4D7B-95CC-F1C754C0CACB}">
      <dgm:prSet/>
      <dgm:spPr/>
      <dgm:t>
        <a:bodyPr/>
        <a:lstStyle/>
        <a:p>
          <a:endParaRPr lang="en-US" sz="2400"/>
        </a:p>
      </dgm:t>
    </dgm:pt>
    <dgm:pt modelId="{086D19BD-9679-4E1D-AB18-9C674F65C6F7}" type="sibTrans" cxnId="{498BAEE2-7893-4D7B-95CC-F1C754C0CACB}">
      <dgm:prSet/>
      <dgm:spPr/>
      <dgm:t>
        <a:bodyPr/>
        <a:lstStyle/>
        <a:p>
          <a:endParaRPr lang="en-US" sz="2400"/>
        </a:p>
      </dgm:t>
    </dgm:pt>
    <dgm:pt modelId="{6DAD5AF5-2F6C-40CF-B4A4-4535DCB1DE5D}" type="pres">
      <dgm:prSet presAssocID="{C14FF3FB-789E-4041-BAA4-8A5D3EF74394}" presName="hierChild1" presStyleCnt="0">
        <dgm:presLayoutVars>
          <dgm:orgChart val="1"/>
          <dgm:chPref val="1"/>
          <dgm:dir/>
          <dgm:animOne val="branch"/>
          <dgm:animLvl val="lvl"/>
          <dgm:resizeHandles/>
        </dgm:presLayoutVars>
      </dgm:prSet>
      <dgm:spPr/>
    </dgm:pt>
    <dgm:pt modelId="{9E669CAF-C666-4968-9C8A-A75CD735112E}" type="pres">
      <dgm:prSet presAssocID="{8A0FDD62-5ACB-4363-8100-7921DB27FED9}" presName="hierRoot1" presStyleCnt="0">
        <dgm:presLayoutVars>
          <dgm:hierBranch val="init"/>
        </dgm:presLayoutVars>
      </dgm:prSet>
      <dgm:spPr/>
    </dgm:pt>
    <dgm:pt modelId="{C9310B4B-0140-4156-88BB-BB8B405BA2F6}" type="pres">
      <dgm:prSet presAssocID="{8A0FDD62-5ACB-4363-8100-7921DB27FED9}" presName="rootComposite1" presStyleCnt="0"/>
      <dgm:spPr/>
    </dgm:pt>
    <dgm:pt modelId="{9243952B-3833-4F9A-A71B-0A59EE8FED19}" type="pres">
      <dgm:prSet presAssocID="{8A0FDD62-5ACB-4363-8100-7921DB27FED9}" presName="rootText1" presStyleLbl="node0" presStyleIdx="0" presStyleCnt="2">
        <dgm:presLayoutVars>
          <dgm:chPref val="3"/>
        </dgm:presLayoutVars>
      </dgm:prSet>
      <dgm:spPr/>
    </dgm:pt>
    <dgm:pt modelId="{4C951630-26BE-4FC2-B02A-6EABC31BCC02}" type="pres">
      <dgm:prSet presAssocID="{8A0FDD62-5ACB-4363-8100-7921DB27FED9}" presName="rootConnector1" presStyleLbl="node1" presStyleIdx="0" presStyleCnt="0"/>
      <dgm:spPr/>
    </dgm:pt>
    <dgm:pt modelId="{A9CBB20B-D2FF-462D-8365-7D562044133A}" type="pres">
      <dgm:prSet presAssocID="{8A0FDD62-5ACB-4363-8100-7921DB27FED9}" presName="hierChild2" presStyleCnt="0"/>
      <dgm:spPr/>
    </dgm:pt>
    <dgm:pt modelId="{C5E9805B-8734-43E5-87A9-3E4EDE6400A1}" type="pres">
      <dgm:prSet presAssocID="{FE1183B8-299D-4DAE-9761-D4155ED0D626}" presName="Name64" presStyleLbl="parChTrans1D2" presStyleIdx="0" presStyleCnt="4"/>
      <dgm:spPr/>
    </dgm:pt>
    <dgm:pt modelId="{59D565F5-CF79-4EC0-B001-75692E0C55A5}" type="pres">
      <dgm:prSet presAssocID="{9C224AA8-5D6D-439F-A5FF-D80F3FA166E4}" presName="hierRoot2" presStyleCnt="0">
        <dgm:presLayoutVars>
          <dgm:hierBranch val="init"/>
        </dgm:presLayoutVars>
      </dgm:prSet>
      <dgm:spPr/>
    </dgm:pt>
    <dgm:pt modelId="{FD1AFDEF-415B-41D7-A2B3-18097AE78CD0}" type="pres">
      <dgm:prSet presAssocID="{9C224AA8-5D6D-439F-A5FF-D80F3FA166E4}" presName="rootComposite" presStyleCnt="0"/>
      <dgm:spPr/>
    </dgm:pt>
    <dgm:pt modelId="{F6C5896B-E465-4949-89C8-FE4B715A7AA6}" type="pres">
      <dgm:prSet presAssocID="{9C224AA8-5D6D-439F-A5FF-D80F3FA166E4}" presName="rootText" presStyleLbl="node2" presStyleIdx="0" presStyleCnt="4">
        <dgm:presLayoutVars>
          <dgm:chPref val="3"/>
        </dgm:presLayoutVars>
      </dgm:prSet>
      <dgm:spPr/>
    </dgm:pt>
    <dgm:pt modelId="{E545B4FB-CAAE-4F67-8274-077F8989871C}" type="pres">
      <dgm:prSet presAssocID="{9C224AA8-5D6D-439F-A5FF-D80F3FA166E4}" presName="rootConnector" presStyleLbl="node2" presStyleIdx="0" presStyleCnt="4"/>
      <dgm:spPr/>
    </dgm:pt>
    <dgm:pt modelId="{12A0EF90-D8EB-4D76-A8C2-74FEB5F363FC}" type="pres">
      <dgm:prSet presAssocID="{9C224AA8-5D6D-439F-A5FF-D80F3FA166E4}" presName="hierChild4" presStyleCnt="0"/>
      <dgm:spPr/>
    </dgm:pt>
    <dgm:pt modelId="{945B86D7-60E4-41FF-9E22-41E01EACAF57}" type="pres">
      <dgm:prSet presAssocID="{9C224AA8-5D6D-439F-A5FF-D80F3FA166E4}" presName="hierChild5" presStyleCnt="0"/>
      <dgm:spPr/>
    </dgm:pt>
    <dgm:pt modelId="{072208BE-F468-4D92-91D9-C7A5020A5858}" type="pres">
      <dgm:prSet presAssocID="{445E6ECC-BB0F-4772-A31E-5A2DA500E851}" presName="Name64" presStyleLbl="parChTrans1D2" presStyleIdx="1" presStyleCnt="4"/>
      <dgm:spPr/>
    </dgm:pt>
    <dgm:pt modelId="{FE4E211E-805E-4926-9B50-E069108CDC74}" type="pres">
      <dgm:prSet presAssocID="{B487FD67-7267-482B-A536-C6D808E96D9C}" presName="hierRoot2" presStyleCnt="0">
        <dgm:presLayoutVars>
          <dgm:hierBranch val="init"/>
        </dgm:presLayoutVars>
      </dgm:prSet>
      <dgm:spPr/>
    </dgm:pt>
    <dgm:pt modelId="{05677B27-E7DD-4A6A-ACAA-B9350D6719BF}" type="pres">
      <dgm:prSet presAssocID="{B487FD67-7267-482B-A536-C6D808E96D9C}" presName="rootComposite" presStyleCnt="0"/>
      <dgm:spPr/>
    </dgm:pt>
    <dgm:pt modelId="{5F10370A-A9DD-44D6-A47F-F058C24F9C2F}" type="pres">
      <dgm:prSet presAssocID="{B487FD67-7267-482B-A536-C6D808E96D9C}" presName="rootText" presStyleLbl="node2" presStyleIdx="1" presStyleCnt="4">
        <dgm:presLayoutVars>
          <dgm:chPref val="3"/>
        </dgm:presLayoutVars>
      </dgm:prSet>
      <dgm:spPr/>
    </dgm:pt>
    <dgm:pt modelId="{A4C68761-9E3E-4D68-B6DB-BA502EBD0C16}" type="pres">
      <dgm:prSet presAssocID="{B487FD67-7267-482B-A536-C6D808E96D9C}" presName="rootConnector" presStyleLbl="node2" presStyleIdx="1" presStyleCnt="4"/>
      <dgm:spPr/>
    </dgm:pt>
    <dgm:pt modelId="{0C5EFA30-BCFC-439E-B1F2-B68DB79AC200}" type="pres">
      <dgm:prSet presAssocID="{B487FD67-7267-482B-A536-C6D808E96D9C}" presName="hierChild4" presStyleCnt="0"/>
      <dgm:spPr/>
    </dgm:pt>
    <dgm:pt modelId="{FE114DFA-BA97-40C0-9265-F7C1E69247D0}" type="pres">
      <dgm:prSet presAssocID="{B487FD67-7267-482B-A536-C6D808E96D9C}" presName="hierChild5" presStyleCnt="0"/>
      <dgm:spPr/>
    </dgm:pt>
    <dgm:pt modelId="{77BD919E-47EC-450F-A587-C259C150CD11}" type="pres">
      <dgm:prSet presAssocID="{D412B182-939A-4C07-BDA5-CE5C07BC0B2D}" presName="Name64" presStyleLbl="parChTrans1D2" presStyleIdx="2" presStyleCnt="4"/>
      <dgm:spPr/>
    </dgm:pt>
    <dgm:pt modelId="{A461B146-54EF-4F15-AA9B-3B2A6B85524B}" type="pres">
      <dgm:prSet presAssocID="{500687D9-0065-48BF-95F4-F2E85DEA36C5}" presName="hierRoot2" presStyleCnt="0">
        <dgm:presLayoutVars>
          <dgm:hierBranch val="init"/>
        </dgm:presLayoutVars>
      </dgm:prSet>
      <dgm:spPr/>
    </dgm:pt>
    <dgm:pt modelId="{48659850-4E23-4CE8-B3E4-25DB10213B00}" type="pres">
      <dgm:prSet presAssocID="{500687D9-0065-48BF-95F4-F2E85DEA36C5}" presName="rootComposite" presStyleCnt="0"/>
      <dgm:spPr/>
    </dgm:pt>
    <dgm:pt modelId="{69E3A919-74FB-480D-BB89-D9BE39E399E7}" type="pres">
      <dgm:prSet presAssocID="{500687D9-0065-48BF-95F4-F2E85DEA36C5}" presName="rootText" presStyleLbl="node2" presStyleIdx="2" presStyleCnt="4">
        <dgm:presLayoutVars>
          <dgm:chPref val="3"/>
        </dgm:presLayoutVars>
      </dgm:prSet>
      <dgm:spPr/>
    </dgm:pt>
    <dgm:pt modelId="{0240BFF0-FF4F-4C09-943F-D38D8171ED95}" type="pres">
      <dgm:prSet presAssocID="{500687D9-0065-48BF-95F4-F2E85DEA36C5}" presName="rootConnector" presStyleLbl="node2" presStyleIdx="2" presStyleCnt="4"/>
      <dgm:spPr/>
    </dgm:pt>
    <dgm:pt modelId="{0B9A7443-4860-4A0A-A343-BC94640D77DB}" type="pres">
      <dgm:prSet presAssocID="{500687D9-0065-48BF-95F4-F2E85DEA36C5}" presName="hierChild4" presStyleCnt="0"/>
      <dgm:spPr/>
    </dgm:pt>
    <dgm:pt modelId="{EE55C356-ECC5-49DC-82E3-FBD0AC214CCA}" type="pres">
      <dgm:prSet presAssocID="{500687D9-0065-48BF-95F4-F2E85DEA36C5}" presName="hierChild5" presStyleCnt="0"/>
      <dgm:spPr/>
    </dgm:pt>
    <dgm:pt modelId="{6B0F7A21-8A71-4319-AC2E-D81074B65CBC}" type="pres">
      <dgm:prSet presAssocID="{3594EC1A-C28A-40E2-9BA9-E7D01DC610A7}" presName="Name64" presStyleLbl="parChTrans1D2" presStyleIdx="3" presStyleCnt="4"/>
      <dgm:spPr/>
    </dgm:pt>
    <dgm:pt modelId="{9A318E4F-E2D8-4796-BA44-A1238E956757}" type="pres">
      <dgm:prSet presAssocID="{11C854FB-4807-4191-A106-FCE0853A2737}" presName="hierRoot2" presStyleCnt="0">
        <dgm:presLayoutVars>
          <dgm:hierBranch val="init"/>
        </dgm:presLayoutVars>
      </dgm:prSet>
      <dgm:spPr/>
    </dgm:pt>
    <dgm:pt modelId="{80AC5910-FBB1-45A9-ACC3-F8050A7CCCD1}" type="pres">
      <dgm:prSet presAssocID="{11C854FB-4807-4191-A106-FCE0853A2737}" presName="rootComposite" presStyleCnt="0"/>
      <dgm:spPr/>
    </dgm:pt>
    <dgm:pt modelId="{B3171B48-87B5-412F-8372-E3F8BFD01636}" type="pres">
      <dgm:prSet presAssocID="{11C854FB-4807-4191-A106-FCE0853A2737}" presName="rootText" presStyleLbl="node2" presStyleIdx="3" presStyleCnt="4">
        <dgm:presLayoutVars>
          <dgm:chPref val="3"/>
        </dgm:presLayoutVars>
      </dgm:prSet>
      <dgm:spPr/>
    </dgm:pt>
    <dgm:pt modelId="{0B06F98C-C427-494C-A0A1-C26D1053C203}" type="pres">
      <dgm:prSet presAssocID="{11C854FB-4807-4191-A106-FCE0853A2737}" presName="rootConnector" presStyleLbl="node2" presStyleIdx="3" presStyleCnt="4"/>
      <dgm:spPr/>
    </dgm:pt>
    <dgm:pt modelId="{6325D762-2604-42FB-A526-0F0EE7A46B07}" type="pres">
      <dgm:prSet presAssocID="{11C854FB-4807-4191-A106-FCE0853A2737}" presName="hierChild4" presStyleCnt="0"/>
      <dgm:spPr/>
    </dgm:pt>
    <dgm:pt modelId="{335F8B26-6C68-450B-9CDE-CF305CB6D2F4}" type="pres">
      <dgm:prSet presAssocID="{11C854FB-4807-4191-A106-FCE0853A2737}" presName="hierChild5" presStyleCnt="0"/>
      <dgm:spPr/>
    </dgm:pt>
    <dgm:pt modelId="{BB1C3144-AF76-4C1A-AC16-5745FE3D6FF4}" type="pres">
      <dgm:prSet presAssocID="{8A0FDD62-5ACB-4363-8100-7921DB27FED9}" presName="hierChild3" presStyleCnt="0"/>
      <dgm:spPr/>
    </dgm:pt>
    <dgm:pt modelId="{E18B88DC-BC5B-4269-8303-2816E8A33297}" type="pres">
      <dgm:prSet presAssocID="{D09E3D4F-1D7D-42D1-986A-2D072940B2CA}" presName="hierRoot1" presStyleCnt="0">
        <dgm:presLayoutVars>
          <dgm:hierBranch val="init"/>
        </dgm:presLayoutVars>
      </dgm:prSet>
      <dgm:spPr/>
    </dgm:pt>
    <dgm:pt modelId="{7E1EFAEC-C6C5-4489-9136-BD7B0956B289}" type="pres">
      <dgm:prSet presAssocID="{D09E3D4F-1D7D-42D1-986A-2D072940B2CA}" presName="rootComposite1" presStyleCnt="0"/>
      <dgm:spPr/>
    </dgm:pt>
    <dgm:pt modelId="{8F43BE6E-166A-4736-B495-0F0C5F9C5A94}" type="pres">
      <dgm:prSet presAssocID="{D09E3D4F-1D7D-42D1-986A-2D072940B2CA}" presName="rootText1" presStyleLbl="node0" presStyleIdx="1" presStyleCnt="2" custScaleX="220215">
        <dgm:presLayoutVars>
          <dgm:chPref val="3"/>
        </dgm:presLayoutVars>
      </dgm:prSet>
      <dgm:spPr/>
    </dgm:pt>
    <dgm:pt modelId="{65E7425D-55D2-4A95-85AE-4170C0981629}" type="pres">
      <dgm:prSet presAssocID="{D09E3D4F-1D7D-42D1-986A-2D072940B2CA}" presName="rootConnector1" presStyleLbl="node1" presStyleIdx="0" presStyleCnt="0"/>
      <dgm:spPr/>
    </dgm:pt>
    <dgm:pt modelId="{0A91E4F6-AD54-49CF-9C53-9262E286DF5E}" type="pres">
      <dgm:prSet presAssocID="{D09E3D4F-1D7D-42D1-986A-2D072940B2CA}" presName="hierChild2" presStyleCnt="0"/>
      <dgm:spPr/>
    </dgm:pt>
    <dgm:pt modelId="{3AA06DB7-3CF2-4B80-A567-B41E54DCF106}" type="pres">
      <dgm:prSet presAssocID="{D09E3D4F-1D7D-42D1-986A-2D072940B2CA}" presName="hierChild3" presStyleCnt="0"/>
      <dgm:spPr/>
    </dgm:pt>
  </dgm:ptLst>
  <dgm:cxnLst>
    <dgm:cxn modelId="{64557A04-F32A-4FDF-8F5A-BE8516AA6E01}" type="presOf" srcId="{3594EC1A-C28A-40E2-9BA9-E7D01DC610A7}" destId="{6B0F7A21-8A71-4319-AC2E-D81074B65CBC}" srcOrd="0" destOrd="0" presId="urn:microsoft.com/office/officeart/2009/3/layout/HorizontalOrganizationChart"/>
    <dgm:cxn modelId="{FFCB8E0E-83EF-4599-BF13-C986EE976DEB}" srcId="{C14FF3FB-789E-4041-BAA4-8A5D3EF74394}" destId="{8A0FDD62-5ACB-4363-8100-7921DB27FED9}" srcOrd="0" destOrd="0" parTransId="{2E0A18BD-4B57-45A2-B599-17A5236A0DBA}" sibTransId="{95404541-6FCE-499D-B544-6283CA283D12}"/>
    <dgm:cxn modelId="{ED4D9E10-416E-403E-ADBA-09BE16C63D8D}" srcId="{8A0FDD62-5ACB-4363-8100-7921DB27FED9}" destId="{B487FD67-7267-482B-A536-C6D808E96D9C}" srcOrd="1" destOrd="0" parTransId="{445E6ECC-BB0F-4772-A31E-5A2DA500E851}" sibTransId="{4EA9E5A2-9B4B-4D3F-A6ED-250E73837D57}"/>
    <dgm:cxn modelId="{634DAF19-D7E1-4A13-AAE1-0DE3F1B14538}" type="presOf" srcId="{11C854FB-4807-4191-A106-FCE0853A2737}" destId="{B3171B48-87B5-412F-8372-E3F8BFD01636}" srcOrd="0" destOrd="0" presId="urn:microsoft.com/office/officeart/2009/3/layout/HorizontalOrganizationChart"/>
    <dgm:cxn modelId="{E8A0B528-C4D8-4C91-A789-0A0697D95969}" type="presOf" srcId="{11C854FB-4807-4191-A106-FCE0853A2737}" destId="{0B06F98C-C427-494C-A0A1-C26D1053C203}" srcOrd="1" destOrd="0" presId="urn:microsoft.com/office/officeart/2009/3/layout/HorizontalOrganizationChart"/>
    <dgm:cxn modelId="{F4ABB83C-24C7-4711-A232-B64194FD2448}" type="presOf" srcId="{FE1183B8-299D-4DAE-9761-D4155ED0D626}" destId="{C5E9805B-8734-43E5-87A9-3E4EDE6400A1}" srcOrd="0" destOrd="0" presId="urn:microsoft.com/office/officeart/2009/3/layout/HorizontalOrganizationChart"/>
    <dgm:cxn modelId="{27204B5F-1CC0-471D-A850-D419F147704F}" type="presOf" srcId="{D412B182-939A-4C07-BDA5-CE5C07BC0B2D}" destId="{77BD919E-47EC-450F-A587-C259C150CD11}" srcOrd="0" destOrd="0" presId="urn:microsoft.com/office/officeart/2009/3/layout/HorizontalOrganizationChart"/>
    <dgm:cxn modelId="{500DA64C-B97D-468B-8458-53084E7E3F40}" type="presOf" srcId="{500687D9-0065-48BF-95F4-F2E85DEA36C5}" destId="{0240BFF0-FF4F-4C09-943F-D38D8171ED95}" srcOrd="1" destOrd="0" presId="urn:microsoft.com/office/officeart/2009/3/layout/HorizontalOrganizationChart"/>
    <dgm:cxn modelId="{418DDD72-5F93-4278-B9A7-B366FC5F831B}" type="presOf" srcId="{D09E3D4F-1D7D-42D1-986A-2D072940B2CA}" destId="{65E7425D-55D2-4A95-85AE-4170C0981629}" srcOrd="1" destOrd="0" presId="urn:microsoft.com/office/officeart/2009/3/layout/HorizontalOrganizationChart"/>
    <dgm:cxn modelId="{37169C73-803B-4B53-8056-7D86DF425149}" type="presOf" srcId="{D09E3D4F-1D7D-42D1-986A-2D072940B2CA}" destId="{8F43BE6E-166A-4736-B495-0F0C5F9C5A94}" srcOrd="0" destOrd="0" presId="urn:microsoft.com/office/officeart/2009/3/layout/HorizontalOrganizationChart"/>
    <dgm:cxn modelId="{80630C54-088D-44D6-B58F-EEFCC41260FB}" type="presOf" srcId="{B487FD67-7267-482B-A536-C6D808E96D9C}" destId="{A4C68761-9E3E-4D68-B6DB-BA502EBD0C16}" srcOrd="1" destOrd="0" presId="urn:microsoft.com/office/officeart/2009/3/layout/HorizontalOrganizationChart"/>
    <dgm:cxn modelId="{DAB9C179-CF84-4B9B-A240-A23B5E2EABF7}" type="presOf" srcId="{9C224AA8-5D6D-439F-A5FF-D80F3FA166E4}" destId="{E545B4FB-CAAE-4F67-8274-077F8989871C}" srcOrd="1" destOrd="0" presId="urn:microsoft.com/office/officeart/2009/3/layout/HorizontalOrganizationChart"/>
    <dgm:cxn modelId="{3A4A7F7C-3773-44AD-831D-2EEC340A03E6}" type="presOf" srcId="{C14FF3FB-789E-4041-BAA4-8A5D3EF74394}" destId="{6DAD5AF5-2F6C-40CF-B4A4-4535DCB1DE5D}" srcOrd="0" destOrd="0" presId="urn:microsoft.com/office/officeart/2009/3/layout/HorizontalOrganizationChart"/>
    <dgm:cxn modelId="{B5728EA7-77BF-4A44-8D43-F6E7F6B898D8}" type="presOf" srcId="{500687D9-0065-48BF-95F4-F2E85DEA36C5}" destId="{69E3A919-74FB-480D-BB89-D9BE39E399E7}" srcOrd="0" destOrd="0" presId="urn:microsoft.com/office/officeart/2009/3/layout/HorizontalOrganizationChart"/>
    <dgm:cxn modelId="{2AB946AA-81B9-471D-9447-2C92C3DA6716}" type="presOf" srcId="{8A0FDD62-5ACB-4363-8100-7921DB27FED9}" destId="{4C951630-26BE-4FC2-B02A-6EABC31BCC02}" srcOrd="1" destOrd="0" presId="urn:microsoft.com/office/officeart/2009/3/layout/HorizontalOrganizationChart"/>
    <dgm:cxn modelId="{9CB71FB1-4091-4499-A694-E01ECE5458BA}" type="presOf" srcId="{8A0FDD62-5ACB-4363-8100-7921DB27FED9}" destId="{9243952B-3833-4F9A-A71B-0A59EE8FED19}" srcOrd="0" destOrd="0" presId="urn:microsoft.com/office/officeart/2009/3/layout/HorizontalOrganizationChart"/>
    <dgm:cxn modelId="{CD1619B7-958E-47B2-80DA-28F385F85BF6}" type="presOf" srcId="{B487FD67-7267-482B-A536-C6D808E96D9C}" destId="{5F10370A-A9DD-44D6-A47F-F058C24F9C2F}" srcOrd="0" destOrd="0" presId="urn:microsoft.com/office/officeart/2009/3/layout/HorizontalOrganizationChart"/>
    <dgm:cxn modelId="{17A8E6CF-3A06-437C-8D91-FCA2757CAFE6}" srcId="{8A0FDD62-5ACB-4363-8100-7921DB27FED9}" destId="{11C854FB-4807-4191-A106-FCE0853A2737}" srcOrd="3" destOrd="0" parTransId="{3594EC1A-C28A-40E2-9BA9-E7D01DC610A7}" sibTransId="{0B6FC9C1-497E-44B2-BA05-986DBD9831AA}"/>
    <dgm:cxn modelId="{471993E1-B340-4A72-921B-81101BD0227A}" type="presOf" srcId="{9C224AA8-5D6D-439F-A5FF-D80F3FA166E4}" destId="{F6C5896B-E465-4949-89C8-FE4B715A7AA6}" srcOrd="0" destOrd="0" presId="urn:microsoft.com/office/officeart/2009/3/layout/HorizontalOrganizationChart"/>
    <dgm:cxn modelId="{498BAEE2-7893-4D7B-95CC-F1C754C0CACB}" srcId="{C14FF3FB-789E-4041-BAA4-8A5D3EF74394}" destId="{D09E3D4F-1D7D-42D1-986A-2D072940B2CA}" srcOrd="1" destOrd="0" parTransId="{68ACF64D-A3E1-46BE-A0F8-EACFA27593B4}" sibTransId="{086D19BD-9679-4E1D-AB18-9C674F65C6F7}"/>
    <dgm:cxn modelId="{D1621CEF-9F93-4C79-B39F-CBA1E394B3B0}" type="presOf" srcId="{445E6ECC-BB0F-4772-A31E-5A2DA500E851}" destId="{072208BE-F468-4D92-91D9-C7A5020A5858}" srcOrd="0" destOrd="0" presId="urn:microsoft.com/office/officeart/2009/3/layout/HorizontalOrganizationChart"/>
    <dgm:cxn modelId="{E02BB2F0-87BB-483B-91A1-E7038189B78B}" srcId="{8A0FDD62-5ACB-4363-8100-7921DB27FED9}" destId="{9C224AA8-5D6D-439F-A5FF-D80F3FA166E4}" srcOrd="0" destOrd="0" parTransId="{FE1183B8-299D-4DAE-9761-D4155ED0D626}" sibTransId="{46ECC135-E1CD-4BA3-940E-260EB4B089CC}"/>
    <dgm:cxn modelId="{0BF568F5-7425-40FA-80D4-6CBF2F552140}" srcId="{8A0FDD62-5ACB-4363-8100-7921DB27FED9}" destId="{500687D9-0065-48BF-95F4-F2E85DEA36C5}" srcOrd="2" destOrd="0" parTransId="{D412B182-939A-4C07-BDA5-CE5C07BC0B2D}" sibTransId="{39DE803B-29D9-4A2A-A870-BF905220132E}"/>
    <dgm:cxn modelId="{1BBA2148-F184-41BE-A4AA-FF4AE6E11402}" type="presParOf" srcId="{6DAD5AF5-2F6C-40CF-B4A4-4535DCB1DE5D}" destId="{9E669CAF-C666-4968-9C8A-A75CD735112E}" srcOrd="0" destOrd="0" presId="urn:microsoft.com/office/officeart/2009/3/layout/HorizontalOrganizationChart"/>
    <dgm:cxn modelId="{CD4A52A8-BB30-46B1-A09C-FA3E5962EAC3}" type="presParOf" srcId="{9E669CAF-C666-4968-9C8A-A75CD735112E}" destId="{C9310B4B-0140-4156-88BB-BB8B405BA2F6}" srcOrd="0" destOrd="0" presId="urn:microsoft.com/office/officeart/2009/3/layout/HorizontalOrganizationChart"/>
    <dgm:cxn modelId="{00FEEC05-1D06-4F50-9D37-E227647C0275}" type="presParOf" srcId="{C9310B4B-0140-4156-88BB-BB8B405BA2F6}" destId="{9243952B-3833-4F9A-A71B-0A59EE8FED19}" srcOrd="0" destOrd="0" presId="urn:microsoft.com/office/officeart/2009/3/layout/HorizontalOrganizationChart"/>
    <dgm:cxn modelId="{61330E62-BE84-4CF8-B87D-76F69F8989F7}" type="presParOf" srcId="{C9310B4B-0140-4156-88BB-BB8B405BA2F6}" destId="{4C951630-26BE-4FC2-B02A-6EABC31BCC02}" srcOrd="1" destOrd="0" presId="urn:microsoft.com/office/officeart/2009/3/layout/HorizontalOrganizationChart"/>
    <dgm:cxn modelId="{2CE91F4A-E069-4DC6-AEE5-7A68566C91BE}" type="presParOf" srcId="{9E669CAF-C666-4968-9C8A-A75CD735112E}" destId="{A9CBB20B-D2FF-462D-8365-7D562044133A}" srcOrd="1" destOrd="0" presId="urn:microsoft.com/office/officeart/2009/3/layout/HorizontalOrganizationChart"/>
    <dgm:cxn modelId="{38FD33C2-E9ED-421A-AB97-66306F9C9EA4}" type="presParOf" srcId="{A9CBB20B-D2FF-462D-8365-7D562044133A}" destId="{C5E9805B-8734-43E5-87A9-3E4EDE6400A1}" srcOrd="0" destOrd="0" presId="urn:microsoft.com/office/officeart/2009/3/layout/HorizontalOrganizationChart"/>
    <dgm:cxn modelId="{AB331918-CE8E-4BD5-8F39-5A78E4F37DF3}" type="presParOf" srcId="{A9CBB20B-D2FF-462D-8365-7D562044133A}" destId="{59D565F5-CF79-4EC0-B001-75692E0C55A5}" srcOrd="1" destOrd="0" presId="urn:microsoft.com/office/officeart/2009/3/layout/HorizontalOrganizationChart"/>
    <dgm:cxn modelId="{C0A68D2F-44EF-4A10-AB34-46A774F23A22}" type="presParOf" srcId="{59D565F5-CF79-4EC0-B001-75692E0C55A5}" destId="{FD1AFDEF-415B-41D7-A2B3-18097AE78CD0}" srcOrd="0" destOrd="0" presId="urn:microsoft.com/office/officeart/2009/3/layout/HorizontalOrganizationChart"/>
    <dgm:cxn modelId="{C91D4CE7-12AC-4F90-9AFD-D0BE248578DB}" type="presParOf" srcId="{FD1AFDEF-415B-41D7-A2B3-18097AE78CD0}" destId="{F6C5896B-E465-4949-89C8-FE4B715A7AA6}" srcOrd="0" destOrd="0" presId="urn:microsoft.com/office/officeart/2009/3/layout/HorizontalOrganizationChart"/>
    <dgm:cxn modelId="{7D5BFA1F-51B3-46A7-B782-3C218484186E}" type="presParOf" srcId="{FD1AFDEF-415B-41D7-A2B3-18097AE78CD0}" destId="{E545B4FB-CAAE-4F67-8274-077F8989871C}" srcOrd="1" destOrd="0" presId="urn:microsoft.com/office/officeart/2009/3/layout/HorizontalOrganizationChart"/>
    <dgm:cxn modelId="{2DDC45EE-5C4F-471D-B9E6-165EED17ADD7}" type="presParOf" srcId="{59D565F5-CF79-4EC0-B001-75692E0C55A5}" destId="{12A0EF90-D8EB-4D76-A8C2-74FEB5F363FC}" srcOrd="1" destOrd="0" presId="urn:microsoft.com/office/officeart/2009/3/layout/HorizontalOrganizationChart"/>
    <dgm:cxn modelId="{DF3D3A8F-F7E9-4699-A141-CF0E8EA8347E}" type="presParOf" srcId="{59D565F5-CF79-4EC0-B001-75692E0C55A5}" destId="{945B86D7-60E4-41FF-9E22-41E01EACAF57}" srcOrd="2" destOrd="0" presId="urn:microsoft.com/office/officeart/2009/3/layout/HorizontalOrganizationChart"/>
    <dgm:cxn modelId="{41B646CF-43D0-49A0-90B8-A4F42031BB89}" type="presParOf" srcId="{A9CBB20B-D2FF-462D-8365-7D562044133A}" destId="{072208BE-F468-4D92-91D9-C7A5020A5858}" srcOrd="2" destOrd="0" presId="urn:microsoft.com/office/officeart/2009/3/layout/HorizontalOrganizationChart"/>
    <dgm:cxn modelId="{A525406A-0F7B-4113-BEE8-B56386FF1682}" type="presParOf" srcId="{A9CBB20B-D2FF-462D-8365-7D562044133A}" destId="{FE4E211E-805E-4926-9B50-E069108CDC74}" srcOrd="3" destOrd="0" presId="urn:microsoft.com/office/officeart/2009/3/layout/HorizontalOrganizationChart"/>
    <dgm:cxn modelId="{5637D8A9-C7D1-432E-98EE-DF47A1B8E581}" type="presParOf" srcId="{FE4E211E-805E-4926-9B50-E069108CDC74}" destId="{05677B27-E7DD-4A6A-ACAA-B9350D6719BF}" srcOrd="0" destOrd="0" presId="urn:microsoft.com/office/officeart/2009/3/layout/HorizontalOrganizationChart"/>
    <dgm:cxn modelId="{4A5E9A7E-9FD9-4D5B-AB44-6F1DD2825AA4}" type="presParOf" srcId="{05677B27-E7DD-4A6A-ACAA-B9350D6719BF}" destId="{5F10370A-A9DD-44D6-A47F-F058C24F9C2F}" srcOrd="0" destOrd="0" presId="urn:microsoft.com/office/officeart/2009/3/layout/HorizontalOrganizationChart"/>
    <dgm:cxn modelId="{F57B5992-1D67-429B-BF9B-6D8B841EF545}" type="presParOf" srcId="{05677B27-E7DD-4A6A-ACAA-B9350D6719BF}" destId="{A4C68761-9E3E-4D68-B6DB-BA502EBD0C16}" srcOrd="1" destOrd="0" presId="urn:microsoft.com/office/officeart/2009/3/layout/HorizontalOrganizationChart"/>
    <dgm:cxn modelId="{66B15C5B-023A-43A1-8EB0-F8A6B75F74D8}" type="presParOf" srcId="{FE4E211E-805E-4926-9B50-E069108CDC74}" destId="{0C5EFA30-BCFC-439E-B1F2-B68DB79AC200}" srcOrd="1" destOrd="0" presId="urn:microsoft.com/office/officeart/2009/3/layout/HorizontalOrganizationChart"/>
    <dgm:cxn modelId="{B947C541-9009-4D98-9547-EE14F5D16A10}" type="presParOf" srcId="{FE4E211E-805E-4926-9B50-E069108CDC74}" destId="{FE114DFA-BA97-40C0-9265-F7C1E69247D0}" srcOrd="2" destOrd="0" presId="urn:microsoft.com/office/officeart/2009/3/layout/HorizontalOrganizationChart"/>
    <dgm:cxn modelId="{883BE747-5EEB-4CB5-BE31-553541FA473A}" type="presParOf" srcId="{A9CBB20B-D2FF-462D-8365-7D562044133A}" destId="{77BD919E-47EC-450F-A587-C259C150CD11}" srcOrd="4" destOrd="0" presId="urn:microsoft.com/office/officeart/2009/3/layout/HorizontalOrganizationChart"/>
    <dgm:cxn modelId="{2D9EC5A3-2D8B-4BE9-9EF4-930B6B75C677}" type="presParOf" srcId="{A9CBB20B-D2FF-462D-8365-7D562044133A}" destId="{A461B146-54EF-4F15-AA9B-3B2A6B85524B}" srcOrd="5" destOrd="0" presId="urn:microsoft.com/office/officeart/2009/3/layout/HorizontalOrganizationChart"/>
    <dgm:cxn modelId="{99CF503B-EF2E-4958-B5CF-5B8059B0AFF9}" type="presParOf" srcId="{A461B146-54EF-4F15-AA9B-3B2A6B85524B}" destId="{48659850-4E23-4CE8-B3E4-25DB10213B00}" srcOrd="0" destOrd="0" presId="urn:microsoft.com/office/officeart/2009/3/layout/HorizontalOrganizationChart"/>
    <dgm:cxn modelId="{09A0D2CE-E99C-4000-A62A-939A19CB1956}" type="presParOf" srcId="{48659850-4E23-4CE8-B3E4-25DB10213B00}" destId="{69E3A919-74FB-480D-BB89-D9BE39E399E7}" srcOrd="0" destOrd="0" presId="urn:microsoft.com/office/officeart/2009/3/layout/HorizontalOrganizationChart"/>
    <dgm:cxn modelId="{983D0D3C-0BB9-4D1F-AF50-69B826F86D59}" type="presParOf" srcId="{48659850-4E23-4CE8-B3E4-25DB10213B00}" destId="{0240BFF0-FF4F-4C09-943F-D38D8171ED95}" srcOrd="1" destOrd="0" presId="urn:microsoft.com/office/officeart/2009/3/layout/HorizontalOrganizationChart"/>
    <dgm:cxn modelId="{EAA1FA69-59EA-452A-9A14-543F218D4AAD}" type="presParOf" srcId="{A461B146-54EF-4F15-AA9B-3B2A6B85524B}" destId="{0B9A7443-4860-4A0A-A343-BC94640D77DB}" srcOrd="1" destOrd="0" presId="urn:microsoft.com/office/officeart/2009/3/layout/HorizontalOrganizationChart"/>
    <dgm:cxn modelId="{61D964A9-B53E-4B0B-A159-747F1F3508E5}" type="presParOf" srcId="{A461B146-54EF-4F15-AA9B-3B2A6B85524B}" destId="{EE55C356-ECC5-49DC-82E3-FBD0AC214CCA}" srcOrd="2" destOrd="0" presId="urn:microsoft.com/office/officeart/2009/3/layout/HorizontalOrganizationChart"/>
    <dgm:cxn modelId="{5608B8D6-A8F3-4E76-B41E-395586BFE99F}" type="presParOf" srcId="{A9CBB20B-D2FF-462D-8365-7D562044133A}" destId="{6B0F7A21-8A71-4319-AC2E-D81074B65CBC}" srcOrd="6" destOrd="0" presId="urn:microsoft.com/office/officeart/2009/3/layout/HorizontalOrganizationChart"/>
    <dgm:cxn modelId="{C84EB760-A297-40B1-855F-17038CB88F54}" type="presParOf" srcId="{A9CBB20B-D2FF-462D-8365-7D562044133A}" destId="{9A318E4F-E2D8-4796-BA44-A1238E956757}" srcOrd="7" destOrd="0" presId="urn:microsoft.com/office/officeart/2009/3/layout/HorizontalOrganizationChart"/>
    <dgm:cxn modelId="{108DC13D-B7B4-4DB8-9A37-304BD9FD15FE}" type="presParOf" srcId="{9A318E4F-E2D8-4796-BA44-A1238E956757}" destId="{80AC5910-FBB1-45A9-ACC3-F8050A7CCCD1}" srcOrd="0" destOrd="0" presId="urn:microsoft.com/office/officeart/2009/3/layout/HorizontalOrganizationChart"/>
    <dgm:cxn modelId="{9379DFA1-2ACB-4931-A5A3-0041775C2394}" type="presParOf" srcId="{80AC5910-FBB1-45A9-ACC3-F8050A7CCCD1}" destId="{B3171B48-87B5-412F-8372-E3F8BFD01636}" srcOrd="0" destOrd="0" presId="urn:microsoft.com/office/officeart/2009/3/layout/HorizontalOrganizationChart"/>
    <dgm:cxn modelId="{B8D12E00-A2B2-47FC-819B-72511051FC14}" type="presParOf" srcId="{80AC5910-FBB1-45A9-ACC3-F8050A7CCCD1}" destId="{0B06F98C-C427-494C-A0A1-C26D1053C203}" srcOrd="1" destOrd="0" presId="urn:microsoft.com/office/officeart/2009/3/layout/HorizontalOrganizationChart"/>
    <dgm:cxn modelId="{CBD3CA40-F1B2-48B9-B1F2-D73874ED0A11}" type="presParOf" srcId="{9A318E4F-E2D8-4796-BA44-A1238E956757}" destId="{6325D762-2604-42FB-A526-0F0EE7A46B07}" srcOrd="1" destOrd="0" presId="urn:microsoft.com/office/officeart/2009/3/layout/HorizontalOrganizationChart"/>
    <dgm:cxn modelId="{9138CD50-545A-4C75-8CEE-81298912B487}" type="presParOf" srcId="{9A318E4F-E2D8-4796-BA44-A1238E956757}" destId="{335F8B26-6C68-450B-9CDE-CF305CB6D2F4}" srcOrd="2" destOrd="0" presId="urn:microsoft.com/office/officeart/2009/3/layout/HorizontalOrganizationChart"/>
    <dgm:cxn modelId="{2EEB8B91-47BD-4CBB-BF41-68D9D0249310}" type="presParOf" srcId="{9E669CAF-C666-4968-9C8A-A75CD735112E}" destId="{BB1C3144-AF76-4C1A-AC16-5745FE3D6FF4}" srcOrd="2" destOrd="0" presId="urn:microsoft.com/office/officeart/2009/3/layout/HorizontalOrganizationChart"/>
    <dgm:cxn modelId="{955AEF40-4F3F-4537-AF01-8943C55F9F46}" type="presParOf" srcId="{6DAD5AF5-2F6C-40CF-B4A4-4535DCB1DE5D}" destId="{E18B88DC-BC5B-4269-8303-2816E8A33297}" srcOrd="1" destOrd="0" presId="urn:microsoft.com/office/officeart/2009/3/layout/HorizontalOrganizationChart"/>
    <dgm:cxn modelId="{E2C7FD41-5A95-4129-949B-E52C827BCFEE}" type="presParOf" srcId="{E18B88DC-BC5B-4269-8303-2816E8A33297}" destId="{7E1EFAEC-C6C5-4489-9136-BD7B0956B289}" srcOrd="0" destOrd="0" presId="urn:microsoft.com/office/officeart/2009/3/layout/HorizontalOrganizationChart"/>
    <dgm:cxn modelId="{BEDF551C-3DAF-4BD3-8D74-32D5C90B7E44}" type="presParOf" srcId="{7E1EFAEC-C6C5-4489-9136-BD7B0956B289}" destId="{8F43BE6E-166A-4736-B495-0F0C5F9C5A94}" srcOrd="0" destOrd="0" presId="urn:microsoft.com/office/officeart/2009/3/layout/HorizontalOrganizationChart"/>
    <dgm:cxn modelId="{3AF3451C-B360-45D9-87AD-F22BD0B2F8A0}" type="presParOf" srcId="{7E1EFAEC-C6C5-4489-9136-BD7B0956B289}" destId="{65E7425D-55D2-4A95-85AE-4170C0981629}" srcOrd="1" destOrd="0" presId="urn:microsoft.com/office/officeart/2009/3/layout/HorizontalOrganizationChart"/>
    <dgm:cxn modelId="{84F8506D-BB3A-45DD-A804-FF6EF4A34DF4}" type="presParOf" srcId="{E18B88DC-BC5B-4269-8303-2816E8A33297}" destId="{0A91E4F6-AD54-49CF-9C53-9262E286DF5E}" srcOrd="1" destOrd="0" presId="urn:microsoft.com/office/officeart/2009/3/layout/HorizontalOrganizationChart"/>
    <dgm:cxn modelId="{3777CB0E-6951-496D-ABF3-8AE7E90A2F0F}" type="presParOf" srcId="{E18B88DC-BC5B-4269-8303-2816E8A33297}" destId="{3AA06DB7-3CF2-4B80-A567-B41E54DCF106}" srcOrd="2" destOrd="0" presId="urn:microsoft.com/office/officeart/2009/3/layout/HorizontalOrganizationChart"/>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C14FF3FB-789E-4041-BAA4-8A5D3EF74394}" type="doc">
      <dgm:prSet loTypeId="urn:microsoft.com/office/officeart/2009/3/layout/HorizontalOrganizationChart" loCatId="hierarchy" qsTypeId="urn:microsoft.com/office/officeart/2005/8/quickstyle/simple1" qsCatId="simple" csTypeId="urn:microsoft.com/office/officeart/2005/8/colors/accent1_2" csCatId="accent1" phldr="1"/>
      <dgm:spPr/>
      <dgm:t>
        <a:bodyPr/>
        <a:lstStyle/>
        <a:p>
          <a:endParaRPr lang="en-US"/>
        </a:p>
      </dgm:t>
    </dgm:pt>
    <dgm:pt modelId="{8A0FDD62-5ACB-4363-8100-7921DB27FED9}">
      <dgm:prSet phldrT="[Text]" custT="1"/>
      <dgm:spPr>
        <a:solidFill>
          <a:schemeClr val="accent6"/>
        </a:solidFill>
      </dgm:spPr>
      <dgm:t>
        <a:bodyPr/>
        <a:lstStyle/>
        <a:p>
          <a:r>
            <a:rPr lang="en-US" sz="1800" dirty="0"/>
            <a:t>Recycling</a:t>
          </a:r>
        </a:p>
      </dgm:t>
    </dgm:pt>
    <dgm:pt modelId="{2E0A18BD-4B57-45A2-B599-17A5236A0DBA}" type="parTrans" cxnId="{FFCB8E0E-83EF-4599-BF13-C986EE976DEB}">
      <dgm:prSet/>
      <dgm:spPr/>
      <dgm:t>
        <a:bodyPr/>
        <a:lstStyle/>
        <a:p>
          <a:endParaRPr lang="en-US" sz="1800"/>
        </a:p>
      </dgm:t>
    </dgm:pt>
    <dgm:pt modelId="{95404541-6FCE-499D-B544-6283CA283D12}" type="sibTrans" cxnId="{FFCB8E0E-83EF-4599-BF13-C986EE976DEB}">
      <dgm:prSet/>
      <dgm:spPr/>
      <dgm:t>
        <a:bodyPr/>
        <a:lstStyle/>
        <a:p>
          <a:endParaRPr lang="en-US" sz="1800"/>
        </a:p>
      </dgm:t>
    </dgm:pt>
    <dgm:pt modelId="{9C224AA8-5D6D-439F-A5FF-D80F3FA166E4}">
      <dgm:prSet phldrT="[Text]" custT="1"/>
      <dgm:spPr>
        <a:solidFill>
          <a:schemeClr val="accent6"/>
        </a:solidFill>
      </dgm:spPr>
      <dgm:t>
        <a:bodyPr/>
        <a:lstStyle/>
        <a:p>
          <a:r>
            <a:rPr lang="en-US" sz="1800" dirty="0"/>
            <a:t>Class I</a:t>
          </a:r>
        </a:p>
      </dgm:t>
    </dgm:pt>
    <dgm:pt modelId="{FE1183B8-299D-4DAE-9761-D4155ED0D626}" type="parTrans" cxnId="{E02BB2F0-87BB-483B-91A1-E7038189B78B}">
      <dgm:prSet/>
      <dgm:spPr/>
      <dgm:t>
        <a:bodyPr/>
        <a:lstStyle/>
        <a:p>
          <a:endParaRPr lang="en-US" sz="1800"/>
        </a:p>
      </dgm:t>
    </dgm:pt>
    <dgm:pt modelId="{46ECC135-E1CD-4BA3-940E-260EB4B089CC}" type="sibTrans" cxnId="{E02BB2F0-87BB-483B-91A1-E7038189B78B}">
      <dgm:prSet/>
      <dgm:spPr/>
      <dgm:t>
        <a:bodyPr/>
        <a:lstStyle/>
        <a:p>
          <a:endParaRPr lang="en-US" sz="1800"/>
        </a:p>
      </dgm:t>
    </dgm:pt>
    <dgm:pt modelId="{D09E3D4F-1D7D-42D1-986A-2D072940B2CA}">
      <dgm:prSet phldrT="[Text]" custT="1"/>
      <dgm:spPr>
        <a:solidFill>
          <a:schemeClr val="accent6"/>
        </a:solidFill>
      </dgm:spPr>
      <dgm:t>
        <a:bodyPr/>
        <a:lstStyle/>
        <a:p>
          <a:r>
            <a:rPr lang="en-US" sz="1800" dirty="0"/>
            <a:t>Organics Processing</a:t>
          </a:r>
        </a:p>
      </dgm:t>
    </dgm:pt>
    <dgm:pt modelId="{68ACF64D-A3E1-46BE-A0F8-EACFA27593B4}" type="parTrans" cxnId="{498BAEE2-7893-4D7B-95CC-F1C754C0CACB}">
      <dgm:prSet/>
      <dgm:spPr/>
      <dgm:t>
        <a:bodyPr/>
        <a:lstStyle/>
        <a:p>
          <a:endParaRPr lang="en-US" sz="1800"/>
        </a:p>
      </dgm:t>
    </dgm:pt>
    <dgm:pt modelId="{086D19BD-9679-4E1D-AB18-9C674F65C6F7}" type="sibTrans" cxnId="{498BAEE2-7893-4D7B-95CC-F1C754C0CACB}">
      <dgm:prSet/>
      <dgm:spPr/>
      <dgm:t>
        <a:bodyPr/>
        <a:lstStyle/>
        <a:p>
          <a:endParaRPr lang="en-US" sz="1800"/>
        </a:p>
      </dgm:t>
    </dgm:pt>
    <dgm:pt modelId="{A63D69D2-ED31-4993-930F-751C45C13CD4}">
      <dgm:prSet phldrT="[Text]" custT="1"/>
      <dgm:spPr>
        <a:solidFill>
          <a:schemeClr val="accent6"/>
        </a:solidFill>
      </dgm:spPr>
      <dgm:t>
        <a:bodyPr/>
        <a:lstStyle/>
        <a:p>
          <a:r>
            <a:rPr lang="en-US" sz="1800" dirty="0"/>
            <a:t>Food Waste &amp; Manure</a:t>
          </a:r>
        </a:p>
      </dgm:t>
    </dgm:pt>
    <dgm:pt modelId="{56CFB6F2-8ADE-4838-A1ED-04DC59B84DF2}" type="parTrans" cxnId="{2DF84CA8-05F6-44B5-B32C-C070F0034577}">
      <dgm:prSet/>
      <dgm:spPr/>
      <dgm:t>
        <a:bodyPr/>
        <a:lstStyle/>
        <a:p>
          <a:endParaRPr lang="en-US" sz="1800"/>
        </a:p>
      </dgm:t>
    </dgm:pt>
    <dgm:pt modelId="{C3A94619-7880-4FE5-9FE3-8CDA03266D62}" type="sibTrans" cxnId="{2DF84CA8-05F6-44B5-B32C-C070F0034577}">
      <dgm:prSet/>
      <dgm:spPr/>
      <dgm:t>
        <a:bodyPr/>
        <a:lstStyle/>
        <a:p>
          <a:endParaRPr lang="en-US" sz="1800"/>
        </a:p>
      </dgm:t>
    </dgm:pt>
    <dgm:pt modelId="{91762AC4-5843-45DA-BD82-07AA1A1B93DC}">
      <dgm:prSet phldrT="[Text]" custT="1"/>
      <dgm:spPr>
        <a:solidFill>
          <a:schemeClr val="accent6"/>
        </a:solidFill>
      </dgm:spPr>
      <dgm:t>
        <a:bodyPr/>
        <a:lstStyle/>
        <a:p>
          <a:r>
            <a:rPr lang="en-US" sz="1800" dirty="0"/>
            <a:t>Yard Trash</a:t>
          </a:r>
        </a:p>
      </dgm:t>
    </dgm:pt>
    <dgm:pt modelId="{44316C2B-8810-4B50-9686-5B8AC20A9943}" type="parTrans" cxnId="{1AAC81B3-3511-4BEE-B020-161368D405A0}">
      <dgm:prSet/>
      <dgm:spPr/>
      <dgm:t>
        <a:bodyPr/>
        <a:lstStyle/>
        <a:p>
          <a:endParaRPr lang="en-US" sz="1800"/>
        </a:p>
      </dgm:t>
    </dgm:pt>
    <dgm:pt modelId="{69F84360-F8FB-4DC2-8AA4-DA39E260F788}" type="sibTrans" cxnId="{1AAC81B3-3511-4BEE-B020-161368D405A0}">
      <dgm:prSet/>
      <dgm:spPr/>
      <dgm:t>
        <a:bodyPr/>
        <a:lstStyle/>
        <a:p>
          <a:endParaRPr lang="en-US" sz="1800"/>
        </a:p>
      </dgm:t>
    </dgm:pt>
    <dgm:pt modelId="{008E733D-A691-43BC-BA5B-9A1FC1EAE70B}">
      <dgm:prSet phldrT="[Text]" custT="1"/>
      <dgm:spPr>
        <a:solidFill>
          <a:schemeClr val="accent6"/>
        </a:solidFill>
      </dgm:spPr>
      <dgm:t>
        <a:bodyPr/>
        <a:lstStyle/>
        <a:p>
          <a:r>
            <a:rPr lang="en-US" sz="1800" dirty="0"/>
            <a:t>Class III/CDD</a:t>
          </a:r>
        </a:p>
      </dgm:t>
    </dgm:pt>
    <dgm:pt modelId="{9B6CE281-A07D-4914-93D2-9572AC8D5A6F}" type="parTrans" cxnId="{AD5298DF-9589-4A56-B320-737BAAF026D5}">
      <dgm:prSet/>
      <dgm:spPr/>
      <dgm:t>
        <a:bodyPr/>
        <a:lstStyle/>
        <a:p>
          <a:endParaRPr lang="en-US" sz="1800"/>
        </a:p>
      </dgm:t>
    </dgm:pt>
    <dgm:pt modelId="{C1D44F35-2DE3-41EF-8668-22EC13345377}" type="sibTrans" cxnId="{AD5298DF-9589-4A56-B320-737BAAF026D5}">
      <dgm:prSet/>
      <dgm:spPr/>
      <dgm:t>
        <a:bodyPr/>
        <a:lstStyle/>
        <a:p>
          <a:endParaRPr lang="en-US" sz="1800"/>
        </a:p>
      </dgm:t>
    </dgm:pt>
    <dgm:pt modelId="{4AF9AEFF-42D1-B740-82E9-C1B79BBA1D1D}">
      <dgm:prSet custT="1"/>
      <dgm:spPr>
        <a:solidFill>
          <a:schemeClr val="accent6"/>
        </a:solidFill>
      </dgm:spPr>
      <dgm:t>
        <a:bodyPr/>
        <a:lstStyle/>
        <a:p>
          <a:r>
            <a:rPr lang="en-US" sz="1800" dirty="0"/>
            <a:t>Used Oil Processing</a:t>
          </a:r>
        </a:p>
      </dgm:t>
    </dgm:pt>
    <dgm:pt modelId="{136DFE82-DD95-9440-99FE-AD1D30173A71}" type="parTrans" cxnId="{DF4C2B5F-7246-F94A-8255-732907A6C824}">
      <dgm:prSet/>
      <dgm:spPr/>
      <dgm:t>
        <a:bodyPr/>
        <a:lstStyle/>
        <a:p>
          <a:endParaRPr lang="en-US" sz="1800"/>
        </a:p>
      </dgm:t>
    </dgm:pt>
    <dgm:pt modelId="{7CA9E5FE-025A-A543-85F9-9D75B8464C49}" type="sibTrans" cxnId="{DF4C2B5F-7246-F94A-8255-732907A6C824}">
      <dgm:prSet/>
      <dgm:spPr/>
      <dgm:t>
        <a:bodyPr/>
        <a:lstStyle/>
        <a:p>
          <a:endParaRPr lang="en-US" sz="1800"/>
        </a:p>
      </dgm:t>
    </dgm:pt>
    <dgm:pt modelId="{99A6F7B8-F459-C049-8C11-CCDD7B940BE5}">
      <dgm:prSet custT="1"/>
      <dgm:spPr>
        <a:solidFill>
          <a:schemeClr val="accent6"/>
        </a:solidFill>
      </dgm:spPr>
      <dgm:t>
        <a:bodyPr/>
        <a:lstStyle/>
        <a:p>
          <a:r>
            <a:rPr lang="en-US" sz="1800" dirty="0"/>
            <a:t>Anaerobic Digestion</a:t>
          </a:r>
        </a:p>
      </dgm:t>
    </dgm:pt>
    <dgm:pt modelId="{4CE8A549-566D-4C42-A09F-87E406049175}" type="parTrans" cxnId="{F63E21A2-8CCE-FA46-BC05-575C278D6DE2}">
      <dgm:prSet/>
      <dgm:spPr/>
      <dgm:t>
        <a:bodyPr/>
        <a:lstStyle/>
        <a:p>
          <a:endParaRPr lang="en-US" sz="1800"/>
        </a:p>
      </dgm:t>
    </dgm:pt>
    <dgm:pt modelId="{880CDBBF-3EE3-1049-BA69-72D0330DC069}" type="sibTrans" cxnId="{F63E21A2-8CCE-FA46-BC05-575C278D6DE2}">
      <dgm:prSet/>
      <dgm:spPr/>
      <dgm:t>
        <a:bodyPr/>
        <a:lstStyle/>
        <a:p>
          <a:endParaRPr lang="en-US" sz="1800"/>
        </a:p>
      </dgm:t>
    </dgm:pt>
    <dgm:pt modelId="{4CC743BE-89B2-7B43-BF58-D59F86D8E5AF}">
      <dgm:prSet custT="1"/>
      <dgm:spPr>
        <a:solidFill>
          <a:schemeClr val="accent6"/>
        </a:solidFill>
      </dgm:spPr>
      <dgm:t>
        <a:bodyPr/>
        <a:lstStyle/>
        <a:p>
          <a:r>
            <a:rPr lang="en-US" sz="1800" dirty="0"/>
            <a:t>HHW</a:t>
          </a:r>
        </a:p>
      </dgm:t>
    </dgm:pt>
    <dgm:pt modelId="{6FCB5090-C78A-4A40-B1E1-D95882A618A4}" type="parTrans" cxnId="{005F93D0-0F40-B244-93EB-B7486C7FF021}">
      <dgm:prSet/>
      <dgm:spPr/>
      <dgm:t>
        <a:bodyPr/>
        <a:lstStyle/>
        <a:p>
          <a:endParaRPr lang="en-US" sz="1800"/>
        </a:p>
      </dgm:t>
    </dgm:pt>
    <dgm:pt modelId="{DDD58D91-D3F1-CF45-A967-235059630097}" type="sibTrans" cxnId="{005F93D0-0F40-B244-93EB-B7486C7FF021}">
      <dgm:prSet/>
      <dgm:spPr/>
      <dgm:t>
        <a:bodyPr/>
        <a:lstStyle/>
        <a:p>
          <a:endParaRPr lang="en-US" sz="1800"/>
        </a:p>
      </dgm:t>
    </dgm:pt>
    <dgm:pt modelId="{6DAD5AF5-2F6C-40CF-B4A4-4535DCB1DE5D}" type="pres">
      <dgm:prSet presAssocID="{C14FF3FB-789E-4041-BAA4-8A5D3EF74394}" presName="hierChild1" presStyleCnt="0">
        <dgm:presLayoutVars>
          <dgm:orgChart val="1"/>
          <dgm:chPref val="1"/>
          <dgm:dir/>
          <dgm:animOne val="branch"/>
          <dgm:animLvl val="lvl"/>
          <dgm:resizeHandles/>
        </dgm:presLayoutVars>
      </dgm:prSet>
      <dgm:spPr/>
    </dgm:pt>
    <dgm:pt modelId="{9E669CAF-C666-4968-9C8A-A75CD735112E}" type="pres">
      <dgm:prSet presAssocID="{8A0FDD62-5ACB-4363-8100-7921DB27FED9}" presName="hierRoot1" presStyleCnt="0">
        <dgm:presLayoutVars>
          <dgm:hierBranch val="init"/>
        </dgm:presLayoutVars>
      </dgm:prSet>
      <dgm:spPr/>
    </dgm:pt>
    <dgm:pt modelId="{C9310B4B-0140-4156-88BB-BB8B405BA2F6}" type="pres">
      <dgm:prSet presAssocID="{8A0FDD62-5ACB-4363-8100-7921DB27FED9}" presName="rootComposite1" presStyleCnt="0"/>
      <dgm:spPr/>
    </dgm:pt>
    <dgm:pt modelId="{9243952B-3833-4F9A-A71B-0A59EE8FED19}" type="pres">
      <dgm:prSet presAssocID="{8A0FDD62-5ACB-4363-8100-7921DB27FED9}" presName="rootText1" presStyleLbl="node0" presStyleIdx="0" presStyleCnt="4" custLinFactNeighborX="-108" custLinFactNeighborY="9627">
        <dgm:presLayoutVars>
          <dgm:chPref val="3"/>
        </dgm:presLayoutVars>
      </dgm:prSet>
      <dgm:spPr/>
    </dgm:pt>
    <dgm:pt modelId="{4C951630-26BE-4FC2-B02A-6EABC31BCC02}" type="pres">
      <dgm:prSet presAssocID="{8A0FDD62-5ACB-4363-8100-7921DB27FED9}" presName="rootConnector1" presStyleLbl="node1" presStyleIdx="0" presStyleCnt="0"/>
      <dgm:spPr/>
    </dgm:pt>
    <dgm:pt modelId="{A9CBB20B-D2FF-462D-8365-7D562044133A}" type="pres">
      <dgm:prSet presAssocID="{8A0FDD62-5ACB-4363-8100-7921DB27FED9}" presName="hierChild2" presStyleCnt="0"/>
      <dgm:spPr/>
    </dgm:pt>
    <dgm:pt modelId="{C5E9805B-8734-43E5-87A9-3E4EDE6400A1}" type="pres">
      <dgm:prSet presAssocID="{FE1183B8-299D-4DAE-9761-D4155ED0D626}" presName="Name64" presStyleLbl="parChTrans1D2" presStyleIdx="0" presStyleCnt="5"/>
      <dgm:spPr/>
    </dgm:pt>
    <dgm:pt modelId="{59D565F5-CF79-4EC0-B001-75692E0C55A5}" type="pres">
      <dgm:prSet presAssocID="{9C224AA8-5D6D-439F-A5FF-D80F3FA166E4}" presName="hierRoot2" presStyleCnt="0">
        <dgm:presLayoutVars>
          <dgm:hierBranch val="init"/>
        </dgm:presLayoutVars>
      </dgm:prSet>
      <dgm:spPr/>
    </dgm:pt>
    <dgm:pt modelId="{FD1AFDEF-415B-41D7-A2B3-18097AE78CD0}" type="pres">
      <dgm:prSet presAssocID="{9C224AA8-5D6D-439F-A5FF-D80F3FA166E4}" presName="rootComposite" presStyleCnt="0"/>
      <dgm:spPr/>
    </dgm:pt>
    <dgm:pt modelId="{F6C5896B-E465-4949-89C8-FE4B715A7AA6}" type="pres">
      <dgm:prSet presAssocID="{9C224AA8-5D6D-439F-A5FF-D80F3FA166E4}" presName="rootText" presStyleLbl="node2" presStyleIdx="0" presStyleCnt="5" custLinFactNeighborY="9627">
        <dgm:presLayoutVars>
          <dgm:chPref val="3"/>
        </dgm:presLayoutVars>
      </dgm:prSet>
      <dgm:spPr/>
    </dgm:pt>
    <dgm:pt modelId="{E545B4FB-CAAE-4F67-8274-077F8989871C}" type="pres">
      <dgm:prSet presAssocID="{9C224AA8-5D6D-439F-A5FF-D80F3FA166E4}" presName="rootConnector" presStyleLbl="node2" presStyleIdx="0" presStyleCnt="5"/>
      <dgm:spPr/>
    </dgm:pt>
    <dgm:pt modelId="{12A0EF90-D8EB-4D76-A8C2-74FEB5F363FC}" type="pres">
      <dgm:prSet presAssocID="{9C224AA8-5D6D-439F-A5FF-D80F3FA166E4}" presName="hierChild4" presStyleCnt="0"/>
      <dgm:spPr/>
    </dgm:pt>
    <dgm:pt modelId="{945B86D7-60E4-41FF-9E22-41E01EACAF57}" type="pres">
      <dgm:prSet presAssocID="{9C224AA8-5D6D-439F-A5FF-D80F3FA166E4}" presName="hierChild5" presStyleCnt="0"/>
      <dgm:spPr/>
    </dgm:pt>
    <dgm:pt modelId="{128DFF0E-9219-4A5D-9DC2-F45043BFED9C}" type="pres">
      <dgm:prSet presAssocID="{9B6CE281-A07D-4914-93D2-9572AC8D5A6F}" presName="Name64" presStyleLbl="parChTrans1D2" presStyleIdx="1" presStyleCnt="5"/>
      <dgm:spPr/>
    </dgm:pt>
    <dgm:pt modelId="{FAA8B00E-FFCD-4593-8064-8429CF84817D}" type="pres">
      <dgm:prSet presAssocID="{008E733D-A691-43BC-BA5B-9A1FC1EAE70B}" presName="hierRoot2" presStyleCnt="0">
        <dgm:presLayoutVars>
          <dgm:hierBranch val="init"/>
        </dgm:presLayoutVars>
      </dgm:prSet>
      <dgm:spPr/>
    </dgm:pt>
    <dgm:pt modelId="{4791B7BC-7EE6-4C28-B1A7-F15C8A55C61B}" type="pres">
      <dgm:prSet presAssocID="{008E733D-A691-43BC-BA5B-9A1FC1EAE70B}" presName="rootComposite" presStyleCnt="0"/>
      <dgm:spPr/>
    </dgm:pt>
    <dgm:pt modelId="{7912A520-6302-4FA0-B726-5F1C79158053}" type="pres">
      <dgm:prSet presAssocID="{008E733D-A691-43BC-BA5B-9A1FC1EAE70B}" presName="rootText" presStyleLbl="node2" presStyleIdx="1" presStyleCnt="5" custLinFactNeighborY="9627">
        <dgm:presLayoutVars>
          <dgm:chPref val="3"/>
        </dgm:presLayoutVars>
      </dgm:prSet>
      <dgm:spPr/>
    </dgm:pt>
    <dgm:pt modelId="{B94DF8A1-A875-4807-9162-20A5A5F20602}" type="pres">
      <dgm:prSet presAssocID="{008E733D-A691-43BC-BA5B-9A1FC1EAE70B}" presName="rootConnector" presStyleLbl="node2" presStyleIdx="1" presStyleCnt="5"/>
      <dgm:spPr/>
    </dgm:pt>
    <dgm:pt modelId="{6D2B7FA0-C8F7-4BB1-A24B-5867C359A830}" type="pres">
      <dgm:prSet presAssocID="{008E733D-A691-43BC-BA5B-9A1FC1EAE70B}" presName="hierChild4" presStyleCnt="0"/>
      <dgm:spPr/>
    </dgm:pt>
    <dgm:pt modelId="{9E8D2733-07A7-4B55-AECD-D0F401EC67DB}" type="pres">
      <dgm:prSet presAssocID="{008E733D-A691-43BC-BA5B-9A1FC1EAE70B}" presName="hierChild5" presStyleCnt="0"/>
      <dgm:spPr/>
    </dgm:pt>
    <dgm:pt modelId="{BB1C3144-AF76-4C1A-AC16-5745FE3D6FF4}" type="pres">
      <dgm:prSet presAssocID="{8A0FDD62-5ACB-4363-8100-7921DB27FED9}" presName="hierChild3" presStyleCnt="0"/>
      <dgm:spPr/>
    </dgm:pt>
    <dgm:pt modelId="{E18B88DC-BC5B-4269-8303-2816E8A33297}" type="pres">
      <dgm:prSet presAssocID="{D09E3D4F-1D7D-42D1-986A-2D072940B2CA}" presName="hierRoot1" presStyleCnt="0">
        <dgm:presLayoutVars>
          <dgm:hierBranch val="init"/>
        </dgm:presLayoutVars>
      </dgm:prSet>
      <dgm:spPr/>
    </dgm:pt>
    <dgm:pt modelId="{7E1EFAEC-C6C5-4489-9136-BD7B0956B289}" type="pres">
      <dgm:prSet presAssocID="{D09E3D4F-1D7D-42D1-986A-2D072940B2CA}" presName="rootComposite1" presStyleCnt="0"/>
      <dgm:spPr/>
    </dgm:pt>
    <dgm:pt modelId="{8F43BE6E-166A-4736-B495-0F0C5F9C5A94}" type="pres">
      <dgm:prSet presAssocID="{D09E3D4F-1D7D-42D1-986A-2D072940B2CA}" presName="rootText1" presStyleLbl="node0" presStyleIdx="1" presStyleCnt="4" custScaleY="193739">
        <dgm:presLayoutVars>
          <dgm:chPref val="3"/>
        </dgm:presLayoutVars>
      </dgm:prSet>
      <dgm:spPr/>
    </dgm:pt>
    <dgm:pt modelId="{65E7425D-55D2-4A95-85AE-4170C0981629}" type="pres">
      <dgm:prSet presAssocID="{D09E3D4F-1D7D-42D1-986A-2D072940B2CA}" presName="rootConnector1" presStyleLbl="node1" presStyleIdx="0" presStyleCnt="0"/>
      <dgm:spPr/>
    </dgm:pt>
    <dgm:pt modelId="{0A91E4F6-AD54-49CF-9C53-9262E286DF5E}" type="pres">
      <dgm:prSet presAssocID="{D09E3D4F-1D7D-42D1-986A-2D072940B2CA}" presName="hierChild2" presStyleCnt="0"/>
      <dgm:spPr/>
    </dgm:pt>
    <dgm:pt modelId="{3C8331C7-B13D-4AF7-A323-1B1603B58B0E}" type="pres">
      <dgm:prSet presAssocID="{56CFB6F2-8ADE-4838-A1ED-04DC59B84DF2}" presName="Name64" presStyleLbl="parChTrans1D2" presStyleIdx="2" presStyleCnt="5"/>
      <dgm:spPr/>
    </dgm:pt>
    <dgm:pt modelId="{B92978FC-A8E3-4BC5-983D-A951B513D496}" type="pres">
      <dgm:prSet presAssocID="{A63D69D2-ED31-4993-930F-751C45C13CD4}" presName="hierRoot2" presStyleCnt="0">
        <dgm:presLayoutVars>
          <dgm:hierBranch val="init"/>
        </dgm:presLayoutVars>
      </dgm:prSet>
      <dgm:spPr/>
    </dgm:pt>
    <dgm:pt modelId="{BCE6459C-EE48-41D9-B74E-BEC9785A15BD}" type="pres">
      <dgm:prSet presAssocID="{A63D69D2-ED31-4993-930F-751C45C13CD4}" presName="rootComposite" presStyleCnt="0"/>
      <dgm:spPr/>
    </dgm:pt>
    <dgm:pt modelId="{B633B50C-55B7-4080-8A5D-DD9EE7F65740}" type="pres">
      <dgm:prSet presAssocID="{A63D69D2-ED31-4993-930F-751C45C13CD4}" presName="rootText" presStyleLbl="node2" presStyleIdx="2" presStyleCnt="5" custScaleY="183604" custLinFactNeighborY="9627">
        <dgm:presLayoutVars>
          <dgm:chPref val="3"/>
        </dgm:presLayoutVars>
      </dgm:prSet>
      <dgm:spPr/>
    </dgm:pt>
    <dgm:pt modelId="{BCAEF62C-2B92-4445-AEF0-05B432CBDEDE}" type="pres">
      <dgm:prSet presAssocID="{A63D69D2-ED31-4993-930F-751C45C13CD4}" presName="rootConnector" presStyleLbl="node2" presStyleIdx="2" presStyleCnt="5"/>
      <dgm:spPr/>
    </dgm:pt>
    <dgm:pt modelId="{85D17B27-E6A5-4A40-B9C1-320A246A7E32}" type="pres">
      <dgm:prSet presAssocID="{A63D69D2-ED31-4993-930F-751C45C13CD4}" presName="hierChild4" presStyleCnt="0"/>
      <dgm:spPr/>
    </dgm:pt>
    <dgm:pt modelId="{009D29F9-C5F4-4601-953B-F2A1F0EC73B1}" type="pres">
      <dgm:prSet presAssocID="{A63D69D2-ED31-4993-930F-751C45C13CD4}" presName="hierChild5" presStyleCnt="0"/>
      <dgm:spPr/>
    </dgm:pt>
    <dgm:pt modelId="{4E1287EB-C0CC-4C9B-8503-F8372D7BE22A}" type="pres">
      <dgm:prSet presAssocID="{44316C2B-8810-4B50-9686-5B8AC20A9943}" presName="Name64" presStyleLbl="parChTrans1D2" presStyleIdx="3" presStyleCnt="5"/>
      <dgm:spPr/>
    </dgm:pt>
    <dgm:pt modelId="{30BCAA1C-BC25-46FB-975C-8FC930EF37D0}" type="pres">
      <dgm:prSet presAssocID="{91762AC4-5843-45DA-BD82-07AA1A1B93DC}" presName="hierRoot2" presStyleCnt="0">
        <dgm:presLayoutVars>
          <dgm:hierBranch val="init"/>
        </dgm:presLayoutVars>
      </dgm:prSet>
      <dgm:spPr/>
    </dgm:pt>
    <dgm:pt modelId="{6641C33A-4F6C-4E1C-8D18-646008060B9F}" type="pres">
      <dgm:prSet presAssocID="{91762AC4-5843-45DA-BD82-07AA1A1B93DC}" presName="rootComposite" presStyleCnt="0"/>
      <dgm:spPr/>
    </dgm:pt>
    <dgm:pt modelId="{F8970BD3-839A-4C82-84BD-B0A41A6A9807}" type="pres">
      <dgm:prSet presAssocID="{91762AC4-5843-45DA-BD82-07AA1A1B93DC}" presName="rootText" presStyleLbl="node2" presStyleIdx="3" presStyleCnt="5" custLinFactNeighborY="9627">
        <dgm:presLayoutVars>
          <dgm:chPref val="3"/>
        </dgm:presLayoutVars>
      </dgm:prSet>
      <dgm:spPr/>
    </dgm:pt>
    <dgm:pt modelId="{240D1101-2E34-40E6-BD15-AE5CAEF83A68}" type="pres">
      <dgm:prSet presAssocID="{91762AC4-5843-45DA-BD82-07AA1A1B93DC}" presName="rootConnector" presStyleLbl="node2" presStyleIdx="3" presStyleCnt="5"/>
      <dgm:spPr/>
    </dgm:pt>
    <dgm:pt modelId="{E0095A6F-32CE-4B3E-BA2B-7B435D2E0C1B}" type="pres">
      <dgm:prSet presAssocID="{91762AC4-5843-45DA-BD82-07AA1A1B93DC}" presName="hierChild4" presStyleCnt="0"/>
      <dgm:spPr/>
    </dgm:pt>
    <dgm:pt modelId="{0B7ED1C2-376D-49B3-9285-F308DEBA2294}" type="pres">
      <dgm:prSet presAssocID="{91762AC4-5843-45DA-BD82-07AA1A1B93DC}" presName="hierChild5" presStyleCnt="0"/>
      <dgm:spPr/>
    </dgm:pt>
    <dgm:pt modelId="{97D80550-4753-414D-9E2C-29E87CC202F1}" type="pres">
      <dgm:prSet presAssocID="{4CE8A549-566D-4C42-A09F-87E406049175}" presName="Name64" presStyleLbl="parChTrans1D2" presStyleIdx="4" presStyleCnt="5"/>
      <dgm:spPr/>
    </dgm:pt>
    <dgm:pt modelId="{AFBDD29A-F995-7942-816C-A971466B6455}" type="pres">
      <dgm:prSet presAssocID="{99A6F7B8-F459-C049-8C11-CCDD7B940BE5}" presName="hierRoot2" presStyleCnt="0">
        <dgm:presLayoutVars>
          <dgm:hierBranch val="init"/>
        </dgm:presLayoutVars>
      </dgm:prSet>
      <dgm:spPr/>
    </dgm:pt>
    <dgm:pt modelId="{B7B45292-BDF8-124E-BDB4-0352C7C47D67}" type="pres">
      <dgm:prSet presAssocID="{99A6F7B8-F459-C049-8C11-CCDD7B940BE5}" presName="rootComposite" presStyleCnt="0"/>
      <dgm:spPr/>
    </dgm:pt>
    <dgm:pt modelId="{C517AAD2-5580-C644-8C97-234B421E295B}" type="pres">
      <dgm:prSet presAssocID="{99A6F7B8-F459-C049-8C11-CCDD7B940BE5}" presName="rootText" presStyleLbl="node2" presStyleIdx="4" presStyleCnt="5" custScaleY="172050">
        <dgm:presLayoutVars>
          <dgm:chPref val="3"/>
        </dgm:presLayoutVars>
      </dgm:prSet>
      <dgm:spPr/>
    </dgm:pt>
    <dgm:pt modelId="{AE3B0388-2463-EF47-AFC2-5437291EF998}" type="pres">
      <dgm:prSet presAssocID="{99A6F7B8-F459-C049-8C11-CCDD7B940BE5}" presName="rootConnector" presStyleLbl="node2" presStyleIdx="4" presStyleCnt="5"/>
      <dgm:spPr/>
    </dgm:pt>
    <dgm:pt modelId="{1D002B0A-C78F-3E48-8C25-35AA92CAD96F}" type="pres">
      <dgm:prSet presAssocID="{99A6F7B8-F459-C049-8C11-CCDD7B940BE5}" presName="hierChild4" presStyleCnt="0"/>
      <dgm:spPr/>
    </dgm:pt>
    <dgm:pt modelId="{B0C7CB86-8280-C041-9FE8-BF2844EBC949}" type="pres">
      <dgm:prSet presAssocID="{99A6F7B8-F459-C049-8C11-CCDD7B940BE5}" presName="hierChild5" presStyleCnt="0"/>
      <dgm:spPr/>
    </dgm:pt>
    <dgm:pt modelId="{3AA06DB7-3CF2-4B80-A567-B41E54DCF106}" type="pres">
      <dgm:prSet presAssocID="{D09E3D4F-1D7D-42D1-986A-2D072940B2CA}" presName="hierChild3" presStyleCnt="0"/>
      <dgm:spPr/>
    </dgm:pt>
    <dgm:pt modelId="{23C114B1-B44D-274C-ACD6-335C344B8881}" type="pres">
      <dgm:prSet presAssocID="{4AF9AEFF-42D1-B740-82E9-C1B79BBA1D1D}" presName="hierRoot1" presStyleCnt="0">
        <dgm:presLayoutVars>
          <dgm:hierBranch val="init"/>
        </dgm:presLayoutVars>
      </dgm:prSet>
      <dgm:spPr/>
    </dgm:pt>
    <dgm:pt modelId="{3A5DF050-98B2-A44B-9D94-394A589761C7}" type="pres">
      <dgm:prSet presAssocID="{4AF9AEFF-42D1-B740-82E9-C1B79BBA1D1D}" presName="rootComposite1" presStyleCnt="0"/>
      <dgm:spPr/>
    </dgm:pt>
    <dgm:pt modelId="{3EA02441-E62E-C24E-A4DF-460F53CDBD20}" type="pres">
      <dgm:prSet presAssocID="{4AF9AEFF-42D1-B740-82E9-C1B79BBA1D1D}" presName="rootText1" presStyleLbl="node0" presStyleIdx="2" presStyleCnt="4" custScaleX="220215">
        <dgm:presLayoutVars>
          <dgm:chPref val="3"/>
        </dgm:presLayoutVars>
      </dgm:prSet>
      <dgm:spPr/>
    </dgm:pt>
    <dgm:pt modelId="{03B6B337-FD0F-8F46-B2A3-A49AE23D70A9}" type="pres">
      <dgm:prSet presAssocID="{4AF9AEFF-42D1-B740-82E9-C1B79BBA1D1D}" presName="rootConnector1" presStyleLbl="node1" presStyleIdx="0" presStyleCnt="0"/>
      <dgm:spPr/>
    </dgm:pt>
    <dgm:pt modelId="{DE1717D0-2F56-2147-8E6D-2E4A6D170743}" type="pres">
      <dgm:prSet presAssocID="{4AF9AEFF-42D1-B740-82E9-C1B79BBA1D1D}" presName="hierChild2" presStyleCnt="0"/>
      <dgm:spPr/>
    </dgm:pt>
    <dgm:pt modelId="{369D3ECE-AB07-3143-A203-76E48C3520DF}" type="pres">
      <dgm:prSet presAssocID="{4AF9AEFF-42D1-B740-82E9-C1B79BBA1D1D}" presName="hierChild3" presStyleCnt="0"/>
      <dgm:spPr/>
    </dgm:pt>
    <dgm:pt modelId="{130F00FC-FAB4-FC48-8F3A-C00C60F773F6}" type="pres">
      <dgm:prSet presAssocID="{4CC743BE-89B2-7B43-BF58-D59F86D8E5AF}" presName="hierRoot1" presStyleCnt="0">
        <dgm:presLayoutVars>
          <dgm:hierBranch val="init"/>
        </dgm:presLayoutVars>
      </dgm:prSet>
      <dgm:spPr/>
    </dgm:pt>
    <dgm:pt modelId="{CAC83379-269E-5741-8414-E5ED31DF00E5}" type="pres">
      <dgm:prSet presAssocID="{4CC743BE-89B2-7B43-BF58-D59F86D8E5AF}" presName="rootComposite1" presStyleCnt="0"/>
      <dgm:spPr/>
    </dgm:pt>
    <dgm:pt modelId="{A0471F14-CFB3-8449-8997-79C53AE48F72}" type="pres">
      <dgm:prSet presAssocID="{4CC743BE-89B2-7B43-BF58-D59F86D8E5AF}" presName="rootText1" presStyleLbl="node0" presStyleIdx="3" presStyleCnt="4" custScaleX="220215">
        <dgm:presLayoutVars>
          <dgm:chPref val="3"/>
        </dgm:presLayoutVars>
      </dgm:prSet>
      <dgm:spPr/>
    </dgm:pt>
    <dgm:pt modelId="{20E2811A-1241-1C43-8D08-396FBA25036F}" type="pres">
      <dgm:prSet presAssocID="{4CC743BE-89B2-7B43-BF58-D59F86D8E5AF}" presName="rootConnector1" presStyleLbl="node1" presStyleIdx="0" presStyleCnt="0"/>
      <dgm:spPr/>
    </dgm:pt>
    <dgm:pt modelId="{EDCA2F9E-F17A-3E45-80B8-679DF2787438}" type="pres">
      <dgm:prSet presAssocID="{4CC743BE-89B2-7B43-BF58-D59F86D8E5AF}" presName="hierChild2" presStyleCnt="0"/>
      <dgm:spPr/>
    </dgm:pt>
    <dgm:pt modelId="{81A7C4EA-C53A-3A4F-B2EC-E0CE77B8741F}" type="pres">
      <dgm:prSet presAssocID="{4CC743BE-89B2-7B43-BF58-D59F86D8E5AF}" presName="hierChild3" presStyleCnt="0"/>
      <dgm:spPr/>
    </dgm:pt>
  </dgm:ptLst>
  <dgm:cxnLst>
    <dgm:cxn modelId="{FFCB8E0E-83EF-4599-BF13-C986EE976DEB}" srcId="{C14FF3FB-789E-4041-BAA4-8A5D3EF74394}" destId="{8A0FDD62-5ACB-4363-8100-7921DB27FED9}" srcOrd="0" destOrd="0" parTransId="{2E0A18BD-4B57-45A2-B599-17A5236A0DBA}" sibTransId="{95404541-6FCE-499D-B544-6283CA283D12}"/>
    <dgm:cxn modelId="{BEC3980F-6EFA-3B4C-B0F5-406E4A0F5D23}" type="presOf" srcId="{99A6F7B8-F459-C049-8C11-CCDD7B940BE5}" destId="{C517AAD2-5580-C644-8C97-234B421E295B}" srcOrd="0" destOrd="0" presId="urn:microsoft.com/office/officeart/2009/3/layout/HorizontalOrganizationChart"/>
    <dgm:cxn modelId="{1BFC2014-0346-4085-A372-634EDC4246C7}" type="presOf" srcId="{008E733D-A691-43BC-BA5B-9A1FC1EAE70B}" destId="{7912A520-6302-4FA0-B726-5F1C79158053}" srcOrd="0" destOrd="0" presId="urn:microsoft.com/office/officeart/2009/3/layout/HorizontalOrganizationChart"/>
    <dgm:cxn modelId="{4EC2F718-0E10-4255-80DA-B31FD988F7FE}" type="presOf" srcId="{A63D69D2-ED31-4993-930F-751C45C13CD4}" destId="{BCAEF62C-2B92-4445-AEF0-05B432CBDEDE}" srcOrd="1" destOrd="0" presId="urn:microsoft.com/office/officeart/2009/3/layout/HorizontalOrganizationChart"/>
    <dgm:cxn modelId="{E457742C-253D-5D41-B628-8E3215250C26}" type="presOf" srcId="{4CC743BE-89B2-7B43-BF58-D59F86D8E5AF}" destId="{20E2811A-1241-1C43-8D08-396FBA25036F}" srcOrd="1" destOrd="0" presId="urn:microsoft.com/office/officeart/2009/3/layout/HorizontalOrganizationChart"/>
    <dgm:cxn modelId="{F4ABB83C-24C7-4711-A232-B64194FD2448}" type="presOf" srcId="{FE1183B8-299D-4DAE-9761-D4155ED0D626}" destId="{C5E9805B-8734-43E5-87A9-3E4EDE6400A1}" srcOrd="0" destOrd="0" presId="urn:microsoft.com/office/officeart/2009/3/layout/HorizontalOrganizationChart"/>
    <dgm:cxn modelId="{F85C7F5B-9BC1-4931-B469-45AFB800FF9A}" type="presOf" srcId="{A63D69D2-ED31-4993-930F-751C45C13CD4}" destId="{B633B50C-55B7-4080-8A5D-DD9EE7F65740}" srcOrd="0" destOrd="0" presId="urn:microsoft.com/office/officeart/2009/3/layout/HorizontalOrganizationChart"/>
    <dgm:cxn modelId="{DF4C2B5F-7246-F94A-8255-732907A6C824}" srcId="{C14FF3FB-789E-4041-BAA4-8A5D3EF74394}" destId="{4AF9AEFF-42D1-B740-82E9-C1B79BBA1D1D}" srcOrd="2" destOrd="0" parTransId="{136DFE82-DD95-9440-99FE-AD1D30173A71}" sibTransId="{7CA9E5FE-025A-A543-85F9-9D75B8464C49}"/>
    <dgm:cxn modelId="{D00B0B62-966B-4BC1-812E-4461A799A4F6}" type="presOf" srcId="{9B6CE281-A07D-4914-93D2-9572AC8D5A6F}" destId="{128DFF0E-9219-4A5D-9DC2-F45043BFED9C}" srcOrd="0" destOrd="0" presId="urn:microsoft.com/office/officeart/2009/3/layout/HorizontalOrganizationChart"/>
    <dgm:cxn modelId="{B57D786E-BC9E-C849-8C6F-B2E7F76C7E06}" type="presOf" srcId="{4CC743BE-89B2-7B43-BF58-D59F86D8E5AF}" destId="{A0471F14-CFB3-8449-8997-79C53AE48F72}" srcOrd="0" destOrd="0" presId="urn:microsoft.com/office/officeart/2009/3/layout/HorizontalOrganizationChart"/>
    <dgm:cxn modelId="{2BEC1470-7626-6643-BE17-A1EC90A007AE}" type="presOf" srcId="{4AF9AEFF-42D1-B740-82E9-C1B79BBA1D1D}" destId="{03B6B337-FD0F-8F46-B2A3-A49AE23D70A9}" srcOrd="1" destOrd="0" presId="urn:microsoft.com/office/officeart/2009/3/layout/HorizontalOrganizationChart"/>
    <dgm:cxn modelId="{418DDD72-5F93-4278-B9A7-B366FC5F831B}" type="presOf" srcId="{D09E3D4F-1D7D-42D1-986A-2D072940B2CA}" destId="{65E7425D-55D2-4A95-85AE-4170C0981629}" srcOrd="1" destOrd="0" presId="urn:microsoft.com/office/officeart/2009/3/layout/HorizontalOrganizationChart"/>
    <dgm:cxn modelId="{37169C73-803B-4B53-8056-7D86DF425149}" type="presOf" srcId="{D09E3D4F-1D7D-42D1-986A-2D072940B2CA}" destId="{8F43BE6E-166A-4736-B495-0F0C5F9C5A94}" srcOrd="0" destOrd="0" presId="urn:microsoft.com/office/officeart/2009/3/layout/HorizontalOrganizationChart"/>
    <dgm:cxn modelId="{EBE61E78-7C4C-8941-9AB5-46E2FCEC82E1}" type="presOf" srcId="{4AF9AEFF-42D1-B740-82E9-C1B79BBA1D1D}" destId="{3EA02441-E62E-C24E-A4DF-460F53CDBD20}" srcOrd="0" destOrd="0" presId="urn:microsoft.com/office/officeart/2009/3/layout/HorizontalOrganizationChart"/>
    <dgm:cxn modelId="{DAB9C179-CF84-4B9B-A240-A23B5E2EABF7}" type="presOf" srcId="{9C224AA8-5D6D-439F-A5FF-D80F3FA166E4}" destId="{E545B4FB-CAAE-4F67-8274-077F8989871C}" srcOrd="1" destOrd="0" presId="urn:microsoft.com/office/officeart/2009/3/layout/HorizontalOrganizationChart"/>
    <dgm:cxn modelId="{3A4A7F7C-3773-44AD-831D-2EEC340A03E6}" type="presOf" srcId="{C14FF3FB-789E-4041-BAA4-8A5D3EF74394}" destId="{6DAD5AF5-2F6C-40CF-B4A4-4535DCB1DE5D}" srcOrd="0" destOrd="0" presId="urn:microsoft.com/office/officeart/2009/3/layout/HorizontalOrganizationChart"/>
    <dgm:cxn modelId="{82C1FF81-201C-4ADF-A1A9-A5FC6A205E06}" type="presOf" srcId="{008E733D-A691-43BC-BA5B-9A1FC1EAE70B}" destId="{B94DF8A1-A875-4807-9162-20A5A5F20602}" srcOrd="1" destOrd="0" presId="urn:microsoft.com/office/officeart/2009/3/layout/HorizontalOrganizationChart"/>
    <dgm:cxn modelId="{3E6FF197-5C51-BA42-84F2-283924AFBBEC}" type="presOf" srcId="{99A6F7B8-F459-C049-8C11-CCDD7B940BE5}" destId="{AE3B0388-2463-EF47-AFC2-5437291EF998}" srcOrd="1" destOrd="0" presId="urn:microsoft.com/office/officeart/2009/3/layout/HorizontalOrganizationChart"/>
    <dgm:cxn modelId="{F63E21A2-8CCE-FA46-BC05-575C278D6DE2}" srcId="{D09E3D4F-1D7D-42D1-986A-2D072940B2CA}" destId="{99A6F7B8-F459-C049-8C11-CCDD7B940BE5}" srcOrd="2" destOrd="0" parTransId="{4CE8A549-566D-4C42-A09F-87E406049175}" sibTransId="{880CDBBF-3EE3-1049-BA69-72D0330DC069}"/>
    <dgm:cxn modelId="{75F13DA4-FA2F-45CE-98D6-21A7FC633828}" type="presOf" srcId="{91762AC4-5843-45DA-BD82-07AA1A1B93DC}" destId="{F8970BD3-839A-4C82-84BD-B0A41A6A9807}" srcOrd="0" destOrd="0" presId="urn:microsoft.com/office/officeart/2009/3/layout/HorizontalOrganizationChart"/>
    <dgm:cxn modelId="{0BBCF1A4-D106-5F47-AE99-00FCA6F17C0C}" type="presOf" srcId="{4CE8A549-566D-4C42-A09F-87E406049175}" destId="{97D80550-4753-414D-9E2C-29E87CC202F1}" srcOrd="0" destOrd="0" presId="urn:microsoft.com/office/officeart/2009/3/layout/HorizontalOrganizationChart"/>
    <dgm:cxn modelId="{2DF84CA8-05F6-44B5-B32C-C070F0034577}" srcId="{D09E3D4F-1D7D-42D1-986A-2D072940B2CA}" destId="{A63D69D2-ED31-4993-930F-751C45C13CD4}" srcOrd="0" destOrd="0" parTransId="{56CFB6F2-8ADE-4838-A1ED-04DC59B84DF2}" sibTransId="{C3A94619-7880-4FE5-9FE3-8CDA03266D62}"/>
    <dgm:cxn modelId="{2AB946AA-81B9-471D-9447-2C92C3DA6716}" type="presOf" srcId="{8A0FDD62-5ACB-4363-8100-7921DB27FED9}" destId="{4C951630-26BE-4FC2-B02A-6EABC31BCC02}" srcOrd="1" destOrd="0" presId="urn:microsoft.com/office/officeart/2009/3/layout/HorizontalOrganizationChart"/>
    <dgm:cxn modelId="{9CB71FB1-4091-4499-A694-E01ECE5458BA}" type="presOf" srcId="{8A0FDD62-5ACB-4363-8100-7921DB27FED9}" destId="{9243952B-3833-4F9A-A71B-0A59EE8FED19}" srcOrd="0" destOrd="0" presId="urn:microsoft.com/office/officeart/2009/3/layout/HorizontalOrganizationChart"/>
    <dgm:cxn modelId="{1AAC81B3-3511-4BEE-B020-161368D405A0}" srcId="{D09E3D4F-1D7D-42D1-986A-2D072940B2CA}" destId="{91762AC4-5843-45DA-BD82-07AA1A1B93DC}" srcOrd="1" destOrd="0" parTransId="{44316C2B-8810-4B50-9686-5B8AC20A9943}" sibTransId="{69F84360-F8FB-4DC2-8AA4-DA39E260F788}"/>
    <dgm:cxn modelId="{3906FFB6-8A5C-4D36-979B-0E1D1A1CD3FD}" type="presOf" srcId="{56CFB6F2-8ADE-4838-A1ED-04DC59B84DF2}" destId="{3C8331C7-B13D-4AF7-A323-1B1603B58B0E}" srcOrd="0" destOrd="0" presId="urn:microsoft.com/office/officeart/2009/3/layout/HorizontalOrganizationChart"/>
    <dgm:cxn modelId="{014BABC1-0E51-4069-80CD-AE6B55BB3A4A}" type="presOf" srcId="{91762AC4-5843-45DA-BD82-07AA1A1B93DC}" destId="{240D1101-2E34-40E6-BD15-AE5CAEF83A68}" srcOrd="1" destOrd="0" presId="urn:microsoft.com/office/officeart/2009/3/layout/HorizontalOrganizationChart"/>
    <dgm:cxn modelId="{005F93D0-0F40-B244-93EB-B7486C7FF021}" srcId="{C14FF3FB-789E-4041-BAA4-8A5D3EF74394}" destId="{4CC743BE-89B2-7B43-BF58-D59F86D8E5AF}" srcOrd="3" destOrd="0" parTransId="{6FCB5090-C78A-4A40-B1E1-D95882A618A4}" sibTransId="{DDD58D91-D3F1-CF45-A967-235059630097}"/>
    <dgm:cxn modelId="{49920FD5-87B7-4F99-ACE4-0498AF7B821F}" type="presOf" srcId="{44316C2B-8810-4B50-9686-5B8AC20A9943}" destId="{4E1287EB-C0CC-4C9B-8503-F8372D7BE22A}" srcOrd="0" destOrd="0" presId="urn:microsoft.com/office/officeart/2009/3/layout/HorizontalOrganizationChart"/>
    <dgm:cxn modelId="{AD5298DF-9589-4A56-B320-737BAAF026D5}" srcId="{8A0FDD62-5ACB-4363-8100-7921DB27FED9}" destId="{008E733D-A691-43BC-BA5B-9A1FC1EAE70B}" srcOrd="1" destOrd="0" parTransId="{9B6CE281-A07D-4914-93D2-9572AC8D5A6F}" sibTransId="{C1D44F35-2DE3-41EF-8668-22EC13345377}"/>
    <dgm:cxn modelId="{471993E1-B340-4A72-921B-81101BD0227A}" type="presOf" srcId="{9C224AA8-5D6D-439F-A5FF-D80F3FA166E4}" destId="{F6C5896B-E465-4949-89C8-FE4B715A7AA6}" srcOrd="0" destOrd="0" presId="urn:microsoft.com/office/officeart/2009/3/layout/HorizontalOrganizationChart"/>
    <dgm:cxn modelId="{498BAEE2-7893-4D7B-95CC-F1C754C0CACB}" srcId="{C14FF3FB-789E-4041-BAA4-8A5D3EF74394}" destId="{D09E3D4F-1D7D-42D1-986A-2D072940B2CA}" srcOrd="1" destOrd="0" parTransId="{68ACF64D-A3E1-46BE-A0F8-EACFA27593B4}" sibTransId="{086D19BD-9679-4E1D-AB18-9C674F65C6F7}"/>
    <dgm:cxn modelId="{E02BB2F0-87BB-483B-91A1-E7038189B78B}" srcId="{8A0FDD62-5ACB-4363-8100-7921DB27FED9}" destId="{9C224AA8-5D6D-439F-A5FF-D80F3FA166E4}" srcOrd="0" destOrd="0" parTransId="{FE1183B8-299D-4DAE-9761-D4155ED0D626}" sibTransId="{46ECC135-E1CD-4BA3-940E-260EB4B089CC}"/>
    <dgm:cxn modelId="{1BBA2148-F184-41BE-A4AA-FF4AE6E11402}" type="presParOf" srcId="{6DAD5AF5-2F6C-40CF-B4A4-4535DCB1DE5D}" destId="{9E669CAF-C666-4968-9C8A-A75CD735112E}" srcOrd="0" destOrd="0" presId="urn:microsoft.com/office/officeart/2009/3/layout/HorizontalOrganizationChart"/>
    <dgm:cxn modelId="{CD4A52A8-BB30-46B1-A09C-FA3E5962EAC3}" type="presParOf" srcId="{9E669CAF-C666-4968-9C8A-A75CD735112E}" destId="{C9310B4B-0140-4156-88BB-BB8B405BA2F6}" srcOrd="0" destOrd="0" presId="urn:microsoft.com/office/officeart/2009/3/layout/HorizontalOrganizationChart"/>
    <dgm:cxn modelId="{00FEEC05-1D06-4F50-9D37-E227647C0275}" type="presParOf" srcId="{C9310B4B-0140-4156-88BB-BB8B405BA2F6}" destId="{9243952B-3833-4F9A-A71B-0A59EE8FED19}" srcOrd="0" destOrd="0" presId="urn:microsoft.com/office/officeart/2009/3/layout/HorizontalOrganizationChart"/>
    <dgm:cxn modelId="{61330E62-BE84-4CF8-B87D-76F69F8989F7}" type="presParOf" srcId="{C9310B4B-0140-4156-88BB-BB8B405BA2F6}" destId="{4C951630-26BE-4FC2-B02A-6EABC31BCC02}" srcOrd="1" destOrd="0" presId="urn:microsoft.com/office/officeart/2009/3/layout/HorizontalOrganizationChart"/>
    <dgm:cxn modelId="{2CE91F4A-E069-4DC6-AEE5-7A68566C91BE}" type="presParOf" srcId="{9E669CAF-C666-4968-9C8A-A75CD735112E}" destId="{A9CBB20B-D2FF-462D-8365-7D562044133A}" srcOrd="1" destOrd="0" presId="urn:microsoft.com/office/officeart/2009/3/layout/HorizontalOrganizationChart"/>
    <dgm:cxn modelId="{38FD33C2-E9ED-421A-AB97-66306F9C9EA4}" type="presParOf" srcId="{A9CBB20B-D2FF-462D-8365-7D562044133A}" destId="{C5E9805B-8734-43E5-87A9-3E4EDE6400A1}" srcOrd="0" destOrd="0" presId="urn:microsoft.com/office/officeart/2009/3/layout/HorizontalOrganizationChart"/>
    <dgm:cxn modelId="{AB331918-CE8E-4BD5-8F39-5A78E4F37DF3}" type="presParOf" srcId="{A9CBB20B-D2FF-462D-8365-7D562044133A}" destId="{59D565F5-CF79-4EC0-B001-75692E0C55A5}" srcOrd="1" destOrd="0" presId="urn:microsoft.com/office/officeart/2009/3/layout/HorizontalOrganizationChart"/>
    <dgm:cxn modelId="{C0A68D2F-44EF-4A10-AB34-46A774F23A22}" type="presParOf" srcId="{59D565F5-CF79-4EC0-B001-75692E0C55A5}" destId="{FD1AFDEF-415B-41D7-A2B3-18097AE78CD0}" srcOrd="0" destOrd="0" presId="urn:microsoft.com/office/officeart/2009/3/layout/HorizontalOrganizationChart"/>
    <dgm:cxn modelId="{C91D4CE7-12AC-4F90-9AFD-D0BE248578DB}" type="presParOf" srcId="{FD1AFDEF-415B-41D7-A2B3-18097AE78CD0}" destId="{F6C5896B-E465-4949-89C8-FE4B715A7AA6}" srcOrd="0" destOrd="0" presId="urn:microsoft.com/office/officeart/2009/3/layout/HorizontalOrganizationChart"/>
    <dgm:cxn modelId="{7D5BFA1F-51B3-46A7-B782-3C218484186E}" type="presParOf" srcId="{FD1AFDEF-415B-41D7-A2B3-18097AE78CD0}" destId="{E545B4FB-CAAE-4F67-8274-077F8989871C}" srcOrd="1" destOrd="0" presId="urn:microsoft.com/office/officeart/2009/3/layout/HorizontalOrganizationChart"/>
    <dgm:cxn modelId="{2DDC45EE-5C4F-471D-B9E6-165EED17ADD7}" type="presParOf" srcId="{59D565F5-CF79-4EC0-B001-75692E0C55A5}" destId="{12A0EF90-D8EB-4D76-A8C2-74FEB5F363FC}" srcOrd="1" destOrd="0" presId="urn:microsoft.com/office/officeart/2009/3/layout/HorizontalOrganizationChart"/>
    <dgm:cxn modelId="{DF3D3A8F-F7E9-4699-A141-CF0E8EA8347E}" type="presParOf" srcId="{59D565F5-CF79-4EC0-B001-75692E0C55A5}" destId="{945B86D7-60E4-41FF-9E22-41E01EACAF57}" srcOrd="2" destOrd="0" presId="urn:microsoft.com/office/officeart/2009/3/layout/HorizontalOrganizationChart"/>
    <dgm:cxn modelId="{570AB87B-F212-470D-AAFE-0007CE7D9C98}" type="presParOf" srcId="{A9CBB20B-D2FF-462D-8365-7D562044133A}" destId="{128DFF0E-9219-4A5D-9DC2-F45043BFED9C}" srcOrd="2" destOrd="0" presId="urn:microsoft.com/office/officeart/2009/3/layout/HorizontalOrganizationChart"/>
    <dgm:cxn modelId="{AB377DF9-02DB-4A1B-9A6F-8D5CBF15E237}" type="presParOf" srcId="{A9CBB20B-D2FF-462D-8365-7D562044133A}" destId="{FAA8B00E-FFCD-4593-8064-8429CF84817D}" srcOrd="3" destOrd="0" presId="urn:microsoft.com/office/officeart/2009/3/layout/HorizontalOrganizationChart"/>
    <dgm:cxn modelId="{F0E35F52-E630-46F5-8602-6A637DC64B33}" type="presParOf" srcId="{FAA8B00E-FFCD-4593-8064-8429CF84817D}" destId="{4791B7BC-7EE6-4C28-B1A7-F15C8A55C61B}" srcOrd="0" destOrd="0" presId="urn:microsoft.com/office/officeart/2009/3/layout/HorizontalOrganizationChart"/>
    <dgm:cxn modelId="{8B4D615B-562E-48AF-84CF-0BAE577EBD31}" type="presParOf" srcId="{4791B7BC-7EE6-4C28-B1A7-F15C8A55C61B}" destId="{7912A520-6302-4FA0-B726-5F1C79158053}" srcOrd="0" destOrd="0" presId="urn:microsoft.com/office/officeart/2009/3/layout/HorizontalOrganizationChart"/>
    <dgm:cxn modelId="{3CE242D1-49EE-49F4-BE6F-B7ACD5DF6847}" type="presParOf" srcId="{4791B7BC-7EE6-4C28-B1A7-F15C8A55C61B}" destId="{B94DF8A1-A875-4807-9162-20A5A5F20602}" srcOrd="1" destOrd="0" presId="urn:microsoft.com/office/officeart/2009/3/layout/HorizontalOrganizationChart"/>
    <dgm:cxn modelId="{027A58EE-77C3-445F-97ED-EDBA31F8036C}" type="presParOf" srcId="{FAA8B00E-FFCD-4593-8064-8429CF84817D}" destId="{6D2B7FA0-C8F7-4BB1-A24B-5867C359A830}" srcOrd="1" destOrd="0" presId="urn:microsoft.com/office/officeart/2009/3/layout/HorizontalOrganizationChart"/>
    <dgm:cxn modelId="{35187DFD-FEA4-47C8-B1B8-F9E10844464F}" type="presParOf" srcId="{FAA8B00E-FFCD-4593-8064-8429CF84817D}" destId="{9E8D2733-07A7-4B55-AECD-D0F401EC67DB}" srcOrd="2" destOrd="0" presId="urn:microsoft.com/office/officeart/2009/3/layout/HorizontalOrganizationChart"/>
    <dgm:cxn modelId="{2EEB8B91-47BD-4CBB-BF41-68D9D0249310}" type="presParOf" srcId="{9E669CAF-C666-4968-9C8A-A75CD735112E}" destId="{BB1C3144-AF76-4C1A-AC16-5745FE3D6FF4}" srcOrd="2" destOrd="0" presId="urn:microsoft.com/office/officeart/2009/3/layout/HorizontalOrganizationChart"/>
    <dgm:cxn modelId="{955AEF40-4F3F-4537-AF01-8943C55F9F46}" type="presParOf" srcId="{6DAD5AF5-2F6C-40CF-B4A4-4535DCB1DE5D}" destId="{E18B88DC-BC5B-4269-8303-2816E8A33297}" srcOrd="1" destOrd="0" presId="urn:microsoft.com/office/officeart/2009/3/layout/HorizontalOrganizationChart"/>
    <dgm:cxn modelId="{E2C7FD41-5A95-4129-949B-E52C827BCFEE}" type="presParOf" srcId="{E18B88DC-BC5B-4269-8303-2816E8A33297}" destId="{7E1EFAEC-C6C5-4489-9136-BD7B0956B289}" srcOrd="0" destOrd="0" presId="urn:microsoft.com/office/officeart/2009/3/layout/HorizontalOrganizationChart"/>
    <dgm:cxn modelId="{BEDF551C-3DAF-4BD3-8D74-32D5C90B7E44}" type="presParOf" srcId="{7E1EFAEC-C6C5-4489-9136-BD7B0956B289}" destId="{8F43BE6E-166A-4736-B495-0F0C5F9C5A94}" srcOrd="0" destOrd="0" presId="urn:microsoft.com/office/officeart/2009/3/layout/HorizontalOrganizationChart"/>
    <dgm:cxn modelId="{3AF3451C-B360-45D9-87AD-F22BD0B2F8A0}" type="presParOf" srcId="{7E1EFAEC-C6C5-4489-9136-BD7B0956B289}" destId="{65E7425D-55D2-4A95-85AE-4170C0981629}" srcOrd="1" destOrd="0" presId="urn:microsoft.com/office/officeart/2009/3/layout/HorizontalOrganizationChart"/>
    <dgm:cxn modelId="{84F8506D-BB3A-45DD-A804-FF6EF4A34DF4}" type="presParOf" srcId="{E18B88DC-BC5B-4269-8303-2816E8A33297}" destId="{0A91E4F6-AD54-49CF-9C53-9262E286DF5E}" srcOrd="1" destOrd="0" presId="urn:microsoft.com/office/officeart/2009/3/layout/HorizontalOrganizationChart"/>
    <dgm:cxn modelId="{6C56CFF5-6BE4-4FD0-917A-B1F908753DEA}" type="presParOf" srcId="{0A91E4F6-AD54-49CF-9C53-9262E286DF5E}" destId="{3C8331C7-B13D-4AF7-A323-1B1603B58B0E}" srcOrd="0" destOrd="0" presId="urn:microsoft.com/office/officeart/2009/3/layout/HorizontalOrganizationChart"/>
    <dgm:cxn modelId="{40B7F0CC-6AB5-4F6E-AF7C-EE9FFC84E04F}" type="presParOf" srcId="{0A91E4F6-AD54-49CF-9C53-9262E286DF5E}" destId="{B92978FC-A8E3-4BC5-983D-A951B513D496}" srcOrd="1" destOrd="0" presId="urn:microsoft.com/office/officeart/2009/3/layout/HorizontalOrganizationChart"/>
    <dgm:cxn modelId="{AAFE19FC-A7D2-45AE-AC56-DD5FBB83E39A}" type="presParOf" srcId="{B92978FC-A8E3-4BC5-983D-A951B513D496}" destId="{BCE6459C-EE48-41D9-B74E-BEC9785A15BD}" srcOrd="0" destOrd="0" presId="urn:microsoft.com/office/officeart/2009/3/layout/HorizontalOrganizationChart"/>
    <dgm:cxn modelId="{9F5890F7-0D57-45A2-BAD9-9FBB3B2476BC}" type="presParOf" srcId="{BCE6459C-EE48-41D9-B74E-BEC9785A15BD}" destId="{B633B50C-55B7-4080-8A5D-DD9EE7F65740}" srcOrd="0" destOrd="0" presId="urn:microsoft.com/office/officeart/2009/3/layout/HorizontalOrganizationChart"/>
    <dgm:cxn modelId="{A7F795A8-0DD5-42E3-A9ED-1325D6DC1215}" type="presParOf" srcId="{BCE6459C-EE48-41D9-B74E-BEC9785A15BD}" destId="{BCAEF62C-2B92-4445-AEF0-05B432CBDEDE}" srcOrd="1" destOrd="0" presId="urn:microsoft.com/office/officeart/2009/3/layout/HorizontalOrganizationChart"/>
    <dgm:cxn modelId="{7A5AAA12-D2CE-43F1-B8EF-98656DE7EBDE}" type="presParOf" srcId="{B92978FC-A8E3-4BC5-983D-A951B513D496}" destId="{85D17B27-E6A5-4A40-B9C1-320A246A7E32}" srcOrd="1" destOrd="0" presId="urn:microsoft.com/office/officeart/2009/3/layout/HorizontalOrganizationChart"/>
    <dgm:cxn modelId="{F1E9E4F9-78A6-42E8-B570-4DAB2549CA24}" type="presParOf" srcId="{B92978FC-A8E3-4BC5-983D-A951B513D496}" destId="{009D29F9-C5F4-4601-953B-F2A1F0EC73B1}" srcOrd="2" destOrd="0" presId="urn:microsoft.com/office/officeart/2009/3/layout/HorizontalOrganizationChart"/>
    <dgm:cxn modelId="{379614FD-7BAD-4FF5-B45A-0F91817B4635}" type="presParOf" srcId="{0A91E4F6-AD54-49CF-9C53-9262E286DF5E}" destId="{4E1287EB-C0CC-4C9B-8503-F8372D7BE22A}" srcOrd="2" destOrd="0" presId="urn:microsoft.com/office/officeart/2009/3/layout/HorizontalOrganizationChart"/>
    <dgm:cxn modelId="{28902B3C-7AC7-44C7-A2C0-1652103DDF83}" type="presParOf" srcId="{0A91E4F6-AD54-49CF-9C53-9262E286DF5E}" destId="{30BCAA1C-BC25-46FB-975C-8FC930EF37D0}" srcOrd="3" destOrd="0" presId="urn:microsoft.com/office/officeart/2009/3/layout/HorizontalOrganizationChart"/>
    <dgm:cxn modelId="{787DEEA4-6EF7-45C0-906E-6EC1AFC6D7DA}" type="presParOf" srcId="{30BCAA1C-BC25-46FB-975C-8FC930EF37D0}" destId="{6641C33A-4F6C-4E1C-8D18-646008060B9F}" srcOrd="0" destOrd="0" presId="urn:microsoft.com/office/officeart/2009/3/layout/HorizontalOrganizationChart"/>
    <dgm:cxn modelId="{80D4E7DA-FC11-481E-B016-E8D455910CCA}" type="presParOf" srcId="{6641C33A-4F6C-4E1C-8D18-646008060B9F}" destId="{F8970BD3-839A-4C82-84BD-B0A41A6A9807}" srcOrd="0" destOrd="0" presId="urn:microsoft.com/office/officeart/2009/3/layout/HorizontalOrganizationChart"/>
    <dgm:cxn modelId="{4A84F124-55EE-4507-8A93-4FE308F64D1B}" type="presParOf" srcId="{6641C33A-4F6C-4E1C-8D18-646008060B9F}" destId="{240D1101-2E34-40E6-BD15-AE5CAEF83A68}" srcOrd="1" destOrd="0" presId="urn:microsoft.com/office/officeart/2009/3/layout/HorizontalOrganizationChart"/>
    <dgm:cxn modelId="{8F60F114-CE00-4D39-A890-478F832DCF52}" type="presParOf" srcId="{30BCAA1C-BC25-46FB-975C-8FC930EF37D0}" destId="{E0095A6F-32CE-4B3E-BA2B-7B435D2E0C1B}" srcOrd="1" destOrd="0" presId="urn:microsoft.com/office/officeart/2009/3/layout/HorizontalOrganizationChart"/>
    <dgm:cxn modelId="{F604783F-B22D-41DA-BC46-EA5CA0910368}" type="presParOf" srcId="{30BCAA1C-BC25-46FB-975C-8FC930EF37D0}" destId="{0B7ED1C2-376D-49B3-9285-F308DEBA2294}" srcOrd="2" destOrd="0" presId="urn:microsoft.com/office/officeart/2009/3/layout/HorizontalOrganizationChart"/>
    <dgm:cxn modelId="{D9E50B7F-37E9-A541-AC10-FC33CA870B40}" type="presParOf" srcId="{0A91E4F6-AD54-49CF-9C53-9262E286DF5E}" destId="{97D80550-4753-414D-9E2C-29E87CC202F1}" srcOrd="4" destOrd="0" presId="urn:microsoft.com/office/officeart/2009/3/layout/HorizontalOrganizationChart"/>
    <dgm:cxn modelId="{0A8C5D3A-4A2C-0C46-844A-4253898FDBBD}" type="presParOf" srcId="{0A91E4F6-AD54-49CF-9C53-9262E286DF5E}" destId="{AFBDD29A-F995-7942-816C-A971466B6455}" srcOrd="5" destOrd="0" presId="urn:microsoft.com/office/officeart/2009/3/layout/HorizontalOrganizationChart"/>
    <dgm:cxn modelId="{535CBBB2-91A8-5448-A113-EB481EB96411}" type="presParOf" srcId="{AFBDD29A-F995-7942-816C-A971466B6455}" destId="{B7B45292-BDF8-124E-BDB4-0352C7C47D67}" srcOrd="0" destOrd="0" presId="urn:microsoft.com/office/officeart/2009/3/layout/HorizontalOrganizationChart"/>
    <dgm:cxn modelId="{42F43251-624B-4445-B2D3-689B8C5860D7}" type="presParOf" srcId="{B7B45292-BDF8-124E-BDB4-0352C7C47D67}" destId="{C517AAD2-5580-C644-8C97-234B421E295B}" srcOrd="0" destOrd="0" presId="urn:microsoft.com/office/officeart/2009/3/layout/HorizontalOrganizationChart"/>
    <dgm:cxn modelId="{8E7F28CB-87AA-9440-AA2D-E46873466702}" type="presParOf" srcId="{B7B45292-BDF8-124E-BDB4-0352C7C47D67}" destId="{AE3B0388-2463-EF47-AFC2-5437291EF998}" srcOrd="1" destOrd="0" presId="urn:microsoft.com/office/officeart/2009/3/layout/HorizontalOrganizationChart"/>
    <dgm:cxn modelId="{D12C27B0-C126-DE46-B3E2-7A48DE61374A}" type="presParOf" srcId="{AFBDD29A-F995-7942-816C-A971466B6455}" destId="{1D002B0A-C78F-3E48-8C25-35AA92CAD96F}" srcOrd="1" destOrd="0" presId="urn:microsoft.com/office/officeart/2009/3/layout/HorizontalOrganizationChart"/>
    <dgm:cxn modelId="{825F1641-1B08-3D48-BBC1-FFB0AC6B9E4F}" type="presParOf" srcId="{AFBDD29A-F995-7942-816C-A971466B6455}" destId="{B0C7CB86-8280-C041-9FE8-BF2844EBC949}" srcOrd="2" destOrd="0" presId="urn:microsoft.com/office/officeart/2009/3/layout/HorizontalOrganizationChart"/>
    <dgm:cxn modelId="{3777CB0E-6951-496D-ABF3-8AE7E90A2F0F}" type="presParOf" srcId="{E18B88DC-BC5B-4269-8303-2816E8A33297}" destId="{3AA06DB7-3CF2-4B80-A567-B41E54DCF106}" srcOrd="2" destOrd="0" presId="urn:microsoft.com/office/officeart/2009/3/layout/HorizontalOrganizationChart"/>
    <dgm:cxn modelId="{66BEB029-6BBE-894F-AC08-16E06128AED3}" type="presParOf" srcId="{6DAD5AF5-2F6C-40CF-B4A4-4535DCB1DE5D}" destId="{23C114B1-B44D-274C-ACD6-335C344B8881}" srcOrd="2" destOrd="0" presId="urn:microsoft.com/office/officeart/2009/3/layout/HorizontalOrganizationChart"/>
    <dgm:cxn modelId="{FEEF7B8D-1EDD-2540-9416-6EAC069FE475}" type="presParOf" srcId="{23C114B1-B44D-274C-ACD6-335C344B8881}" destId="{3A5DF050-98B2-A44B-9D94-394A589761C7}" srcOrd="0" destOrd="0" presId="urn:microsoft.com/office/officeart/2009/3/layout/HorizontalOrganizationChart"/>
    <dgm:cxn modelId="{D1553FB0-C4DC-4D4F-A5A8-F7D246B928FD}" type="presParOf" srcId="{3A5DF050-98B2-A44B-9D94-394A589761C7}" destId="{3EA02441-E62E-C24E-A4DF-460F53CDBD20}" srcOrd="0" destOrd="0" presId="urn:microsoft.com/office/officeart/2009/3/layout/HorizontalOrganizationChart"/>
    <dgm:cxn modelId="{418FA2CA-E58B-314D-99DC-264F1B850378}" type="presParOf" srcId="{3A5DF050-98B2-A44B-9D94-394A589761C7}" destId="{03B6B337-FD0F-8F46-B2A3-A49AE23D70A9}" srcOrd="1" destOrd="0" presId="urn:microsoft.com/office/officeart/2009/3/layout/HorizontalOrganizationChart"/>
    <dgm:cxn modelId="{50D0E0B7-0FE0-7047-8E7A-8DB9DCFE92A3}" type="presParOf" srcId="{23C114B1-B44D-274C-ACD6-335C344B8881}" destId="{DE1717D0-2F56-2147-8E6D-2E4A6D170743}" srcOrd="1" destOrd="0" presId="urn:microsoft.com/office/officeart/2009/3/layout/HorizontalOrganizationChart"/>
    <dgm:cxn modelId="{F6024C63-812F-8C45-B1FD-0597965B651A}" type="presParOf" srcId="{23C114B1-B44D-274C-ACD6-335C344B8881}" destId="{369D3ECE-AB07-3143-A203-76E48C3520DF}" srcOrd="2" destOrd="0" presId="urn:microsoft.com/office/officeart/2009/3/layout/HorizontalOrganizationChart"/>
    <dgm:cxn modelId="{1A4C4011-44B0-4F45-86C6-BD6AFA0178CF}" type="presParOf" srcId="{6DAD5AF5-2F6C-40CF-B4A4-4535DCB1DE5D}" destId="{130F00FC-FAB4-FC48-8F3A-C00C60F773F6}" srcOrd="3" destOrd="0" presId="urn:microsoft.com/office/officeart/2009/3/layout/HorizontalOrganizationChart"/>
    <dgm:cxn modelId="{3070607D-DD41-1242-A6D3-37C1DD87B860}" type="presParOf" srcId="{130F00FC-FAB4-FC48-8F3A-C00C60F773F6}" destId="{CAC83379-269E-5741-8414-E5ED31DF00E5}" srcOrd="0" destOrd="0" presId="urn:microsoft.com/office/officeart/2009/3/layout/HorizontalOrganizationChart"/>
    <dgm:cxn modelId="{FD1C7F6C-38D4-2D4D-91C5-90F969F6BB64}" type="presParOf" srcId="{CAC83379-269E-5741-8414-E5ED31DF00E5}" destId="{A0471F14-CFB3-8449-8997-79C53AE48F72}" srcOrd="0" destOrd="0" presId="urn:microsoft.com/office/officeart/2009/3/layout/HorizontalOrganizationChart"/>
    <dgm:cxn modelId="{28398A17-AE25-9B4E-B8FA-453F275235A3}" type="presParOf" srcId="{CAC83379-269E-5741-8414-E5ED31DF00E5}" destId="{20E2811A-1241-1C43-8D08-396FBA25036F}" srcOrd="1" destOrd="0" presId="urn:microsoft.com/office/officeart/2009/3/layout/HorizontalOrganizationChart"/>
    <dgm:cxn modelId="{8BC4B408-F08D-1A4E-A4EE-E1EFB9E9E9F4}" type="presParOf" srcId="{130F00FC-FAB4-FC48-8F3A-C00C60F773F6}" destId="{EDCA2F9E-F17A-3E45-80B8-679DF2787438}" srcOrd="1" destOrd="0" presId="urn:microsoft.com/office/officeart/2009/3/layout/HorizontalOrganizationChart"/>
    <dgm:cxn modelId="{57E05CD6-E599-C645-8689-3E5CA0544D86}" type="presParOf" srcId="{130F00FC-FAB4-FC48-8F3A-C00C60F773F6}" destId="{81A7C4EA-C53A-3A4F-B2EC-E0CE77B8741F}" srcOrd="2" destOrd="0" presId="urn:microsoft.com/office/officeart/2009/3/layout/HorizontalOrganizationChart"/>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C14FF3FB-789E-4041-BAA4-8A5D3EF74394}" type="doc">
      <dgm:prSet loTypeId="urn:microsoft.com/office/officeart/2009/3/layout/HorizontalOrganizationChart" loCatId="hierarchy" qsTypeId="urn:microsoft.com/office/officeart/2005/8/quickstyle/simple1" qsCatId="simple" csTypeId="urn:microsoft.com/office/officeart/2005/8/colors/accent1_2" csCatId="accent1" phldr="1"/>
      <dgm:spPr/>
      <dgm:t>
        <a:bodyPr/>
        <a:lstStyle/>
        <a:p>
          <a:endParaRPr lang="en-US"/>
        </a:p>
      </dgm:t>
    </dgm:pt>
    <dgm:pt modelId="{8A0FDD62-5ACB-4363-8100-7921DB27FED9}">
      <dgm:prSet phldrT="[Text]" custT="1"/>
      <dgm:spPr>
        <a:solidFill>
          <a:srgbClr val="FDF69C"/>
        </a:solidFill>
      </dgm:spPr>
      <dgm:t>
        <a:bodyPr/>
        <a:lstStyle/>
        <a:p>
          <a:r>
            <a:rPr lang="en-US" sz="1800" dirty="0">
              <a:solidFill>
                <a:schemeClr val="tx1"/>
              </a:solidFill>
            </a:rPr>
            <a:t>Recycling</a:t>
          </a:r>
        </a:p>
      </dgm:t>
    </dgm:pt>
    <dgm:pt modelId="{2E0A18BD-4B57-45A2-B599-17A5236A0DBA}" type="parTrans" cxnId="{FFCB8E0E-83EF-4599-BF13-C986EE976DEB}">
      <dgm:prSet/>
      <dgm:spPr/>
      <dgm:t>
        <a:bodyPr/>
        <a:lstStyle/>
        <a:p>
          <a:endParaRPr lang="en-US" sz="1800"/>
        </a:p>
      </dgm:t>
    </dgm:pt>
    <dgm:pt modelId="{95404541-6FCE-499D-B544-6283CA283D12}" type="sibTrans" cxnId="{FFCB8E0E-83EF-4599-BF13-C986EE976DEB}">
      <dgm:prSet/>
      <dgm:spPr/>
      <dgm:t>
        <a:bodyPr/>
        <a:lstStyle/>
        <a:p>
          <a:endParaRPr lang="en-US" sz="1800"/>
        </a:p>
      </dgm:t>
    </dgm:pt>
    <dgm:pt modelId="{9C224AA8-5D6D-439F-A5FF-D80F3FA166E4}">
      <dgm:prSet phldrT="[Text]" custT="1"/>
      <dgm:spPr>
        <a:solidFill>
          <a:srgbClr val="FDF69C"/>
        </a:solidFill>
      </dgm:spPr>
      <dgm:t>
        <a:bodyPr/>
        <a:lstStyle/>
        <a:p>
          <a:r>
            <a:rPr lang="en-US" sz="1800" dirty="0">
              <a:solidFill>
                <a:schemeClr val="tx1"/>
              </a:solidFill>
            </a:rPr>
            <a:t>Class I</a:t>
          </a:r>
        </a:p>
      </dgm:t>
    </dgm:pt>
    <dgm:pt modelId="{FE1183B8-299D-4DAE-9761-D4155ED0D626}" type="parTrans" cxnId="{E02BB2F0-87BB-483B-91A1-E7038189B78B}">
      <dgm:prSet/>
      <dgm:spPr/>
      <dgm:t>
        <a:bodyPr/>
        <a:lstStyle/>
        <a:p>
          <a:endParaRPr lang="en-US" sz="1800"/>
        </a:p>
      </dgm:t>
    </dgm:pt>
    <dgm:pt modelId="{46ECC135-E1CD-4BA3-940E-260EB4B089CC}" type="sibTrans" cxnId="{E02BB2F0-87BB-483B-91A1-E7038189B78B}">
      <dgm:prSet/>
      <dgm:spPr/>
      <dgm:t>
        <a:bodyPr/>
        <a:lstStyle/>
        <a:p>
          <a:endParaRPr lang="en-US" sz="1800"/>
        </a:p>
      </dgm:t>
    </dgm:pt>
    <dgm:pt modelId="{D09E3D4F-1D7D-42D1-986A-2D072940B2CA}">
      <dgm:prSet phldrT="[Text]" custT="1"/>
      <dgm:spPr>
        <a:solidFill>
          <a:schemeClr val="accent6"/>
        </a:solidFill>
      </dgm:spPr>
      <dgm:t>
        <a:bodyPr/>
        <a:lstStyle/>
        <a:p>
          <a:r>
            <a:rPr lang="en-US" sz="1800" dirty="0"/>
            <a:t>Organics Processing</a:t>
          </a:r>
        </a:p>
      </dgm:t>
    </dgm:pt>
    <dgm:pt modelId="{68ACF64D-A3E1-46BE-A0F8-EACFA27593B4}" type="parTrans" cxnId="{498BAEE2-7893-4D7B-95CC-F1C754C0CACB}">
      <dgm:prSet/>
      <dgm:spPr/>
      <dgm:t>
        <a:bodyPr/>
        <a:lstStyle/>
        <a:p>
          <a:endParaRPr lang="en-US" sz="1800"/>
        </a:p>
      </dgm:t>
    </dgm:pt>
    <dgm:pt modelId="{086D19BD-9679-4E1D-AB18-9C674F65C6F7}" type="sibTrans" cxnId="{498BAEE2-7893-4D7B-95CC-F1C754C0CACB}">
      <dgm:prSet/>
      <dgm:spPr/>
      <dgm:t>
        <a:bodyPr/>
        <a:lstStyle/>
        <a:p>
          <a:endParaRPr lang="en-US" sz="1800"/>
        </a:p>
      </dgm:t>
    </dgm:pt>
    <dgm:pt modelId="{A63D69D2-ED31-4993-930F-751C45C13CD4}">
      <dgm:prSet phldrT="[Text]" custT="1"/>
      <dgm:spPr>
        <a:solidFill>
          <a:schemeClr val="accent6"/>
        </a:solidFill>
      </dgm:spPr>
      <dgm:t>
        <a:bodyPr/>
        <a:lstStyle/>
        <a:p>
          <a:r>
            <a:rPr lang="en-US" sz="1800" dirty="0"/>
            <a:t>Food Waste &amp; Manure</a:t>
          </a:r>
        </a:p>
      </dgm:t>
    </dgm:pt>
    <dgm:pt modelId="{56CFB6F2-8ADE-4838-A1ED-04DC59B84DF2}" type="parTrans" cxnId="{2DF84CA8-05F6-44B5-B32C-C070F0034577}">
      <dgm:prSet/>
      <dgm:spPr/>
      <dgm:t>
        <a:bodyPr/>
        <a:lstStyle/>
        <a:p>
          <a:endParaRPr lang="en-US" sz="1800"/>
        </a:p>
      </dgm:t>
    </dgm:pt>
    <dgm:pt modelId="{C3A94619-7880-4FE5-9FE3-8CDA03266D62}" type="sibTrans" cxnId="{2DF84CA8-05F6-44B5-B32C-C070F0034577}">
      <dgm:prSet/>
      <dgm:spPr/>
      <dgm:t>
        <a:bodyPr/>
        <a:lstStyle/>
        <a:p>
          <a:endParaRPr lang="en-US" sz="1800"/>
        </a:p>
      </dgm:t>
    </dgm:pt>
    <dgm:pt modelId="{91762AC4-5843-45DA-BD82-07AA1A1B93DC}">
      <dgm:prSet phldrT="[Text]" custT="1"/>
      <dgm:spPr>
        <a:solidFill>
          <a:schemeClr val="accent6"/>
        </a:solidFill>
      </dgm:spPr>
      <dgm:t>
        <a:bodyPr/>
        <a:lstStyle/>
        <a:p>
          <a:r>
            <a:rPr lang="en-US" sz="1800" dirty="0"/>
            <a:t>Yard Trash</a:t>
          </a:r>
        </a:p>
      </dgm:t>
    </dgm:pt>
    <dgm:pt modelId="{44316C2B-8810-4B50-9686-5B8AC20A9943}" type="parTrans" cxnId="{1AAC81B3-3511-4BEE-B020-161368D405A0}">
      <dgm:prSet/>
      <dgm:spPr/>
      <dgm:t>
        <a:bodyPr/>
        <a:lstStyle/>
        <a:p>
          <a:endParaRPr lang="en-US" sz="1800"/>
        </a:p>
      </dgm:t>
    </dgm:pt>
    <dgm:pt modelId="{69F84360-F8FB-4DC2-8AA4-DA39E260F788}" type="sibTrans" cxnId="{1AAC81B3-3511-4BEE-B020-161368D405A0}">
      <dgm:prSet/>
      <dgm:spPr/>
      <dgm:t>
        <a:bodyPr/>
        <a:lstStyle/>
        <a:p>
          <a:endParaRPr lang="en-US" sz="1800"/>
        </a:p>
      </dgm:t>
    </dgm:pt>
    <dgm:pt modelId="{008E733D-A691-43BC-BA5B-9A1FC1EAE70B}">
      <dgm:prSet phldrT="[Text]" custT="1"/>
      <dgm:spPr>
        <a:solidFill>
          <a:schemeClr val="accent6"/>
        </a:solidFill>
      </dgm:spPr>
      <dgm:t>
        <a:bodyPr/>
        <a:lstStyle/>
        <a:p>
          <a:r>
            <a:rPr lang="en-US" sz="1800" dirty="0"/>
            <a:t>Class III/CDD</a:t>
          </a:r>
        </a:p>
      </dgm:t>
    </dgm:pt>
    <dgm:pt modelId="{9B6CE281-A07D-4914-93D2-9572AC8D5A6F}" type="parTrans" cxnId="{AD5298DF-9589-4A56-B320-737BAAF026D5}">
      <dgm:prSet/>
      <dgm:spPr/>
      <dgm:t>
        <a:bodyPr/>
        <a:lstStyle/>
        <a:p>
          <a:endParaRPr lang="en-US" sz="1800"/>
        </a:p>
      </dgm:t>
    </dgm:pt>
    <dgm:pt modelId="{C1D44F35-2DE3-41EF-8668-22EC13345377}" type="sibTrans" cxnId="{AD5298DF-9589-4A56-B320-737BAAF026D5}">
      <dgm:prSet/>
      <dgm:spPr/>
      <dgm:t>
        <a:bodyPr/>
        <a:lstStyle/>
        <a:p>
          <a:endParaRPr lang="en-US" sz="1800"/>
        </a:p>
      </dgm:t>
    </dgm:pt>
    <dgm:pt modelId="{4AF9AEFF-42D1-B740-82E9-C1B79BBA1D1D}">
      <dgm:prSet custT="1"/>
      <dgm:spPr>
        <a:solidFill>
          <a:schemeClr val="accent6"/>
        </a:solidFill>
      </dgm:spPr>
      <dgm:t>
        <a:bodyPr/>
        <a:lstStyle/>
        <a:p>
          <a:r>
            <a:rPr lang="en-US" sz="1800" dirty="0"/>
            <a:t>Used Oil Processing</a:t>
          </a:r>
        </a:p>
      </dgm:t>
    </dgm:pt>
    <dgm:pt modelId="{136DFE82-DD95-9440-99FE-AD1D30173A71}" type="parTrans" cxnId="{DF4C2B5F-7246-F94A-8255-732907A6C824}">
      <dgm:prSet/>
      <dgm:spPr/>
      <dgm:t>
        <a:bodyPr/>
        <a:lstStyle/>
        <a:p>
          <a:endParaRPr lang="en-US" sz="1800"/>
        </a:p>
      </dgm:t>
    </dgm:pt>
    <dgm:pt modelId="{7CA9E5FE-025A-A543-85F9-9D75B8464C49}" type="sibTrans" cxnId="{DF4C2B5F-7246-F94A-8255-732907A6C824}">
      <dgm:prSet/>
      <dgm:spPr/>
      <dgm:t>
        <a:bodyPr/>
        <a:lstStyle/>
        <a:p>
          <a:endParaRPr lang="en-US" sz="1800"/>
        </a:p>
      </dgm:t>
    </dgm:pt>
    <dgm:pt modelId="{99A6F7B8-F459-C049-8C11-CCDD7B940BE5}">
      <dgm:prSet custT="1"/>
      <dgm:spPr>
        <a:solidFill>
          <a:schemeClr val="accent6"/>
        </a:solidFill>
      </dgm:spPr>
      <dgm:t>
        <a:bodyPr/>
        <a:lstStyle/>
        <a:p>
          <a:r>
            <a:rPr lang="en-US" sz="1800" dirty="0"/>
            <a:t>Anaerobic Digestion</a:t>
          </a:r>
        </a:p>
      </dgm:t>
    </dgm:pt>
    <dgm:pt modelId="{4CE8A549-566D-4C42-A09F-87E406049175}" type="parTrans" cxnId="{F63E21A2-8CCE-FA46-BC05-575C278D6DE2}">
      <dgm:prSet/>
      <dgm:spPr/>
      <dgm:t>
        <a:bodyPr/>
        <a:lstStyle/>
        <a:p>
          <a:endParaRPr lang="en-US" sz="1800"/>
        </a:p>
      </dgm:t>
    </dgm:pt>
    <dgm:pt modelId="{880CDBBF-3EE3-1049-BA69-72D0330DC069}" type="sibTrans" cxnId="{F63E21A2-8CCE-FA46-BC05-575C278D6DE2}">
      <dgm:prSet/>
      <dgm:spPr/>
      <dgm:t>
        <a:bodyPr/>
        <a:lstStyle/>
        <a:p>
          <a:endParaRPr lang="en-US" sz="1800"/>
        </a:p>
      </dgm:t>
    </dgm:pt>
    <dgm:pt modelId="{4CC743BE-89B2-7B43-BF58-D59F86D8E5AF}">
      <dgm:prSet custT="1"/>
      <dgm:spPr>
        <a:solidFill>
          <a:schemeClr val="accent6"/>
        </a:solidFill>
      </dgm:spPr>
      <dgm:t>
        <a:bodyPr/>
        <a:lstStyle/>
        <a:p>
          <a:r>
            <a:rPr lang="en-US" sz="1800" dirty="0"/>
            <a:t>HHW</a:t>
          </a:r>
        </a:p>
      </dgm:t>
    </dgm:pt>
    <dgm:pt modelId="{6FCB5090-C78A-4A40-B1E1-D95882A618A4}" type="parTrans" cxnId="{005F93D0-0F40-B244-93EB-B7486C7FF021}">
      <dgm:prSet/>
      <dgm:spPr/>
      <dgm:t>
        <a:bodyPr/>
        <a:lstStyle/>
        <a:p>
          <a:endParaRPr lang="en-US" sz="1800"/>
        </a:p>
      </dgm:t>
    </dgm:pt>
    <dgm:pt modelId="{DDD58D91-D3F1-CF45-A967-235059630097}" type="sibTrans" cxnId="{005F93D0-0F40-B244-93EB-B7486C7FF021}">
      <dgm:prSet/>
      <dgm:spPr/>
      <dgm:t>
        <a:bodyPr/>
        <a:lstStyle/>
        <a:p>
          <a:endParaRPr lang="en-US" sz="1800"/>
        </a:p>
      </dgm:t>
    </dgm:pt>
    <dgm:pt modelId="{6DAD5AF5-2F6C-40CF-B4A4-4535DCB1DE5D}" type="pres">
      <dgm:prSet presAssocID="{C14FF3FB-789E-4041-BAA4-8A5D3EF74394}" presName="hierChild1" presStyleCnt="0">
        <dgm:presLayoutVars>
          <dgm:orgChart val="1"/>
          <dgm:chPref val="1"/>
          <dgm:dir/>
          <dgm:animOne val="branch"/>
          <dgm:animLvl val="lvl"/>
          <dgm:resizeHandles/>
        </dgm:presLayoutVars>
      </dgm:prSet>
      <dgm:spPr/>
    </dgm:pt>
    <dgm:pt modelId="{9E669CAF-C666-4968-9C8A-A75CD735112E}" type="pres">
      <dgm:prSet presAssocID="{8A0FDD62-5ACB-4363-8100-7921DB27FED9}" presName="hierRoot1" presStyleCnt="0">
        <dgm:presLayoutVars>
          <dgm:hierBranch val="init"/>
        </dgm:presLayoutVars>
      </dgm:prSet>
      <dgm:spPr/>
    </dgm:pt>
    <dgm:pt modelId="{C9310B4B-0140-4156-88BB-BB8B405BA2F6}" type="pres">
      <dgm:prSet presAssocID="{8A0FDD62-5ACB-4363-8100-7921DB27FED9}" presName="rootComposite1" presStyleCnt="0"/>
      <dgm:spPr/>
    </dgm:pt>
    <dgm:pt modelId="{9243952B-3833-4F9A-A71B-0A59EE8FED19}" type="pres">
      <dgm:prSet presAssocID="{8A0FDD62-5ACB-4363-8100-7921DB27FED9}" presName="rootText1" presStyleLbl="node0" presStyleIdx="0" presStyleCnt="4" custLinFactNeighborX="-108" custLinFactNeighborY="9627">
        <dgm:presLayoutVars>
          <dgm:chPref val="3"/>
        </dgm:presLayoutVars>
      </dgm:prSet>
      <dgm:spPr/>
    </dgm:pt>
    <dgm:pt modelId="{4C951630-26BE-4FC2-B02A-6EABC31BCC02}" type="pres">
      <dgm:prSet presAssocID="{8A0FDD62-5ACB-4363-8100-7921DB27FED9}" presName="rootConnector1" presStyleLbl="node1" presStyleIdx="0" presStyleCnt="0"/>
      <dgm:spPr/>
    </dgm:pt>
    <dgm:pt modelId="{A9CBB20B-D2FF-462D-8365-7D562044133A}" type="pres">
      <dgm:prSet presAssocID="{8A0FDD62-5ACB-4363-8100-7921DB27FED9}" presName="hierChild2" presStyleCnt="0"/>
      <dgm:spPr/>
    </dgm:pt>
    <dgm:pt modelId="{C5E9805B-8734-43E5-87A9-3E4EDE6400A1}" type="pres">
      <dgm:prSet presAssocID="{FE1183B8-299D-4DAE-9761-D4155ED0D626}" presName="Name64" presStyleLbl="parChTrans1D2" presStyleIdx="0" presStyleCnt="5"/>
      <dgm:spPr/>
    </dgm:pt>
    <dgm:pt modelId="{59D565F5-CF79-4EC0-B001-75692E0C55A5}" type="pres">
      <dgm:prSet presAssocID="{9C224AA8-5D6D-439F-A5FF-D80F3FA166E4}" presName="hierRoot2" presStyleCnt="0">
        <dgm:presLayoutVars>
          <dgm:hierBranch val="init"/>
        </dgm:presLayoutVars>
      </dgm:prSet>
      <dgm:spPr/>
    </dgm:pt>
    <dgm:pt modelId="{FD1AFDEF-415B-41D7-A2B3-18097AE78CD0}" type="pres">
      <dgm:prSet presAssocID="{9C224AA8-5D6D-439F-A5FF-D80F3FA166E4}" presName="rootComposite" presStyleCnt="0"/>
      <dgm:spPr/>
    </dgm:pt>
    <dgm:pt modelId="{F6C5896B-E465-4949-89C8-FE4B715A7AA6}" type="pres">
      <dgm:prSet presAssocID="{9C224AA8-5D6D-439F-A5FF-D80F3FA166E4}" presName="rootText" presStyleLbl="node2" presStyleIdx="0" presStyleCnt="5" custLinFactNeighborY="9627">
        <dgm:presLayoutVars>
          <dgm:chPref val="3"/>
        </dgm:presLayoutVars>
      </dgm:prSet>
      <dgm:spPr/>
    </dgm:pt>
    <dgm:pt modelId="{E545B4FB-CAAE-4F67-8274-077F8989871C}" type="pres">
      <dgm:prSet presAssocID="{9C224AA8-5D6D-439F-A5FF-D80F3FA166E4}" presName="rootConnector" presStyleLbl="node2" presStyleIdx="0" presStyleCnt="5"/>
      <dgm:spPr/>
    </dgm:pt>
    <dgm:pt modelId="{12A0EF90-D8EB-4D76-A8C2-74FEB5F363FC}" type="pres">
      <dgm:prSet presAssocID="{9C224AA8-5D6D-439F-A5FF-D80F3FA166E4}" presName="hierChild4" presStyleCnt="0"/>
      <dgm:spPr/>
    </dgm:pt>
    <dgm:pt modelId="{945B86D7-60E4-41FF-9E22-41E01EACAF57}" type="pres">
      <dgm:prSet presAssocID="{9C224AA8-5D6D-439F-A5FF-D80F3FA166E4}" presName="hierChild5" presStyleCnt="0"/>
      <dgm:spPr/>
    </dgm:pt>
    <dgm:pt modelId="{128DFF0E-9219-4A5D-9DC2-F45043BFED9C}" type="pres">
      <dgm:prSet presAssocID="{9B6CE281-A07D-4914-93D2-9572AC8D5A6F}" presName="Name64" presStyleLbl="parChTrans1D2" presStyleIdx="1" presStyleCnt="5"/>
      <dgm:spPr/>
    </dgm:pt>
    <dgm:pt modelId="{FAA8B00E-FFCD-4593-8064-8429CF84817D}" type="pres">
      <dgm:prSet presAssocID="{008E733D-A691-43BC-BA5B-9A1FC1EAE70B}" presName="hierRoot2" presStyleCnt="0">
        <dgm:presLayoutVars>
          <dgm:hierBranch val="init"/>
        </dgm:presLayoutVars>
      </dgm:prSet>
      <dgm:spPr/>
    </dgm:pt>
    <dgm:pt modelId="{4791B7BC-7EE6-4C28-B1A7-F15C8A55C61B}" type="pres">
      <dgm:prSet presAssocID="{008E733D-A691-43BC-BA5B-9A1FC1EAE70B}" presName="rootComposite" presStyleCnt="0"/>
      <dgm:spPr/>
    </dgm:pt>
    <dgm:pt modelId="{7912A520-6302-4FA0-B726-5F1C79158053}" type="pres">
      <dgm:prSet presAssocID="{008E733D-A691-43BC-BA5B-9A1FC1EAE70B}" presName="rootText" presStyleLbl="node2" presStyleIdx="1" presStyleCnt="5" custLinFactNeighborY="9627">
        <dgm:presLayoutVars>
          <dgm:chPref val="3"/>
        </dgm:presLayoutVars>
      </dgm:prSet>
      <dgm:spPr/>
    </dgm:pt>
    <dgm:pt modelId="{B94DF8A1-A875-4807-9162-20A5A5F20602}" type="pres">
      <dgm:prSet presAssocID="{008E733D-A691-43BC-BA5B-9A1FC1EAE70B}" presName="rootConnector" presStyleLbl="node2" presStyleIdx="1" presStyleCnt="5"/>
      <dgm:spPr/>
    </dgm:pt>
    <dgm:pt modelId="{6D2B7FA0-C8F7-4BB1-A24B-5867C359A830}" type="pres">
      <dgm:prSet presAssocID="{008E733D-A691-43BC-BA5B-9A1FC1EAE70B}" presName="hierChild4" presStyleCnt="0"/>
      <dgm:spPr/>
    </dgm:pt>
    <dgm:pt modelId="{9E8D2733-07A7-4B55-AECD-D0F401EC67DB}" type="pres">
      <dgm:prSet presAssocID="{008E733D-A691-43BC-BA5B-9A1FC1EAE70B}" presName="hierChild5" presStyleCnt="0"/>
      <dgm:spPr/>
    </dgm:pt>
    <dgm:pt modelId="{BB1C3144-AF76-4C1A-AC16-5745FE3D6FF4}" type="pres">
      <dgm:prSet presAssocID="{8A0FDD62-5ACB-4363-8100-7921DB27FED9}" presName="hierChild3" presStyleCnt="0"/>
      <dgm:spPr/>
    </dgm:pt>
    <dgm:pt modelId="{E18B88DC-BC5B-4269-8303-2816E8A33297}" type="pres">
      <dgm:prSet presAssocID="{D09E3D4F-1D7D-42D1-986A-2D072940B2CA}" presName="hierRoot1" presStyleCnt="0">
        <dgm:presLayoutVars>
          <dgm:hierBranch val="init"/>
        </dgm:presLayoutVars>
      </dgm:prSet>
      <dgm:spPr/>
    </dgm:pt>
    <dgm:pt modelId="{7E1EFAEC-C6C5-4489-9136-BD7B0956B289}" type="pres">
      <dgm:prSet presAssocID="{D09E3D4F-1D7D-42D1-986A-2D072940B2CA}" presName="rootComposite1" presStyleCnt="0"/>
      <dgm:spPr/>
    </dgm:pt>
    <dgm:pt modelId="{8F43BE6E-166A-4736-B495-0F0C5F9C5A94}" type="pres">
      <dgm:prSet presAssocID="{D09E3D4F-1D7D-42D1-986A-2D072940B2CA}" presName="rootText1" presStyleLbl="node0" presStyleIdx="1" presStyleCnt="4" custScaleY="193739">
        <dgm:presLayoutVars>
          <dgm:chPref val="3"/>
        </dgm:presLayoutVars>
      </dgm:prSet>
      <dgm:spPr/>
    </dgm:pt>
    <dgm:pt modelId="{65E7425D-55D2-4A95-85AE-4170C0981629}" type="pres">
      <dgm:prSet presAssocID="{D09E3D4F-1D7D-42D1-986A-2D072940B2CA}" presName="rootConnector1" presStyleLbl="node1" presStyleIdx="0" presStyleCnt="0"/>
      <dgm:spPr/>
    </dgm:pt>
    <dgm:pt modelId="{0A91E4F6-AD54-49CF-9C53-9262E286DF5E}" type="pres">
      <dgm:prSet presAssocID="{D09E3D4F-1D7D-42D1-986A-2D072940B2CA}" presName="hierChild2" presStyleCnt="0"/>
      <dgm:spPr/>
    </dgm:pt>
    <dgm:pt modelId="{3C8331C7-B13D-4AF7-A323-1B1603B58B0E}" type="pres">
      <dgm:prSet presAssocID="{56CFB6F2-8ADE-4838-A1ED-04DC59B84DF2}" presName="Name64" presStyleLbl="parChTrans1D2" presStyleIdx="2" presStyleCnt="5"/>
      <dgm:spPr/>
    </dgm:pt>
    <dgm:pt modelId="{B92978FC-A8E3-4BC5-983D-A951B513D496}" type="pres">
      <dgm:prSet presAssocID="{A63D69D2-ED31-4993-930F-751C45C13CD4}" presName="hierRoot2" presStyleCnt="0">
        <dgm:presLayoutVars>
          <dgm:hierBranch val="init"/>
        </dgm:presLayoutVars>
      </dgm:prSet>
      <dgm:spPr/>
    </dgm:pt>
    <dgm:pt modelId="{BCE6459C-EE48-41D9-B74E-BEC9785A15BD}" type="pres">
      <dgm:prSet presAssocID="{A63D69D2-ED31-4993-930F-751C45C13CD4}" presName="rootComposite" presStyleCnt="0"/>
      <dgm:spPr/>
    </dgm:pt>
    <dgm:pt modelId="{B633B50C-55B7-4080-8A5D-DD9EE7F65740}" type="pres">
      <dgm:prSet presAssocID="{A63D69D2-ED31-4993-930F-751C45C13CD4}" presName="rootText" presStyleLbl="node2" presStyleIdx="2" presStyleCnt="5" custScaleY="183604" custLinFactNeighborY="9627">
        <dgm:presLayoutVars>
          <dgm:chPref val="3"/>
        </dgm:presLayoutVars>
      </dgm:prSet>
      <dgm:spPr/>
    </dgm:pt>
    <dgm:pt modelId="{BCAEF62C-2B92-4445-AEF0-05B432CBDEDE}" type="pres">
      <dgm:prSet presAssocID="{A63D69D2-ED31-4993-930F-751C45C13CD4}" presName="rootConnector" presStyleLbl="node2" presStyleIdx="2" presStyleCnt="5"/>
      <dgm:spPr/>
    </dgm:pt>
    <dgm:pt modelId="{85D17B27-E6A5-4A40-B9C1-320A246A7E32}" type="pres">
      <dgm:prSet presAssocID="{A63D69D2-ED31-4993-930F-751C45C13CD4}" presName="hierChild4" presStyleCnt="0"/>
      <dgm:spPr/>
    </dgm:pt>
    <dgm:pt modelId="{009D29F9-C5F4-4601-953B-F2A1F0EC73B1}" type="pres">
      <dgm:prSet presAssocID="{A63D69D2-ED31-4993-930F-751C45C13CD4}" presName="hierChild5" presStyleCnt="0"/>
      <dgm:spPr/>
    </dgm:pt>
    <dgm:pt modelId="{4E1287EB-C0CC-4C9B-8503-F8372D7BE22A}" type="pres">
      <dgm:prSet presAssocID="{44316C2B-8810-4B50-9686-5B8AC20A9943}" presName="Name64" presStyleLbl="parChTrans1D2" presStyleIdx="3" presStyleCnt="5"/>
      <dgm:spPr/>
    </dgm:pt>
    <dgm:pt modelId="{30BCAA1C-BC25-46FB-975C-8FC930EF37D0}" type="pres">
      <dgm:prSet presAssocID="{91762AC4-5843-45DA-BD82-07AA1A1B93DC}" presName="hierRoot2" presStyleCnt="0">
        <dgm:presLayoutVars>
          <dgm:hierBranch val="init"/>
        </dgm:presLayoutVars>
      </dgm:prSet>
      <dgm:spPr/>
    </dgm:pt>
    <dgm:pt modelId="{6641C33A-4F6C-4E1C-8D18-646008060B9F}" type="pres">
      <dgm:prSet presAssocID="{91762AC4-5843-45DA-BD82-07AA1A1B93DC}" presName="rootComposite" presStyleCnt="0"/>
      <dgm:spPr/>
    </dgm:pt>
    <dgm:pt modelId="{F8970BD3-839A-4C82-84BD-B0A41A6A9807}" type="pres">
      <dgm:prSet presAssocID="{91762AC4-5843-45DA-BD82-07AA1A1B93DC}" presName="rootText" presStyleLbl="node2" presStyleIdx="3" presStyleCnt="5" custLinFactNeighborY="9627">
        <dgm:presLayoutVars>
          <dgm:chPref val="3"/>
        </dgm:presLayoutVars>
      </dgm:prSet>
      <dgm:spPr/>
    </dgm:pt>
    <dgm:pt modelId="{240D1101-2E34-40E6-BD15-AE5CAEF83A68}" type="pres">
      <dgm:prSet presAssocID="{91762AC4-5843-45DA-BD82-07AA1A1B93DC}" presName="rootConnector" presStyleLbl="node2" presStyleIdx="3" presStyleCnt="5"/>
      <dgm:spPr/>
    </dgm:pt>
    <dgm:pt modelId="{E0095A6F-32CE-4B3E-BA2B-7B435D2E0C1B}" type="pres">
      <dgm:prSet presAssocID="{91762AC4-5843-45DA-BD82-07AA1A1B93DC}" presName="hierChild4" presStyleCnt="0"/>
      <dgm:spPr/>
    </dgm:pt>
    <dgm:pt modelId="{0B7ED1C2-376D-49B3-9285-F308DEBA2294}" type="pres">
      <dgm:prSet presAssocID="{91762AC4-5843-45DA-BD82-07AA1A1B93DC}" presName="hierChild5" presStyleCnt="0"/>
      <dgm:spPr/>
    </dgm:pt>
    <dgm:pt modelId="{97D80550-4753-414D-9E2C-29E87CC202F1}" type="pres">
      <dgm:prSet presAssocID="{4CE8A549-566D-4C42-A09F-87E406049175}" presName="Name64" presStyleLbl="parChTrans1D2" presStyleIdx="4" presStyleCnt="5"/>
      <dgm:spPr/>
    </dgm:pt>
    <dgm:pt modelId="{AFBDD29A-F995-7942-816C-A971466B6455}" type="pres">
      <dgm:prSet presAssocID="{99A6F7B8-F459-C049-8C11-CCDD7B940BE5}" presName="hierRoot2" presStyleCnt="0">
        <dgm:presLayoutVars>
          <dgm:hierBranch val="init"/>
        </dgm:presLayoutVars>
      </dgm:prSet>
      <dgm:spPr/>
    </dgm:pt>
    <dgm:pt modelId="{B7B45292-BDF8-124E-BDB4-0352C7C47D67}" type="pres">
      <dgm:prSet presAssocID="{99A6F7B8-F459-C049-8C11-CCDD7B940BE5}" presName="rootComposite" presStyleCnt="0"/>
      <dgm:spPr/>
    </dgm:pt>
    <dgm:pt modelId="{C517AAD2-5580-C644-8C97-234B421E295B}" type="pres">
      <dgm:prSet presAssocID="{99A6F7B8-F459-C049-8C11-CCDD7B940BE5}" presName="rootText" presStyleLbl="node2" presStyleIdx="4" presStyleCnt="5" custScaleY="172050">
        <dgm:presLayoutVars>
          <dgm:chPref val="3"/>
        </dgm:presLayoutVars>
      </dgm:prSet>
      <dgm:spPr/>
    </dgm:pt>
    <dgm:pt modelId="{AE3B0388-2463-EF47-AFC2-5437291EF998}" type="pres">
      <dgm:prSet presAssocID="{99A6F7B8-F459-C049-8C11-CCDD7B940BE5}" presName="rootConnector" presStyleLbl="node2" presStyleIdx="4" presStyleCnt="5"/>
      <dgm:spPr/>
    </dgm:pt>
    <dgm:pt modelId="{1D002B0A-C78F-3E48-8C25-35AA92CAD96F}" type="pres">
      <dgm:prSet presAssocID="{99A6F7B8-F459-C049-8C11-CCDD7B940BE5}" presName="hierChild4" presStyleCnt="0"/>
      <dgm:spPr/>
    </dgm:pt>
    <dgm:pt modelId="{B0C7CB86-8280-C041-9FE8-BF2844EBC949}" type="pres">
      <dgm:prSet presAssocID="{99A6F7B8-F459-C049-8C11-CCDD7B940BE5}" presName="hierChild5" presStyleCnt="0"/>
      <dgm:spPr/>
    </dgm:pt>
    <dgm:pt modelId="{3AA06DB7-3CF2-4B80-A567-B41E54DCF106}" type="pres">
      <dgm:prSet presAssocID="{D09E3D4F-1D7D-42D1-986A-2D072940B2CA}" presName="hierChild3" presStyleCnt="0"/>
      <dgm:spPr/>
    </dgm:pt>
    <dgm:pt modelId="{23C114B1-B44D-274C-ACD6-335C344B8881}" type="pres">
      <dgm:prSet presAssocID="{4AF9AEFF-42D1-B740-82E9-C1B79BBA1D1D}" presName="hierRoot1" presStyleCnt="0">
        <dgm:presLayoutVars>
          <dgm:hierBranch val="init"/>
        </dgm:presLayoutVars>
      </dgm:prSet>
      <dgm:spPr/>
    </dgm:pt>
    <dgm:pt modelId="{3A5DF050-98B2-A44B-9D94-394A589761C7}" type="pres">
      <dgm:prSet presAssocID="{4AF9AEFF-42D1-B740-82E9-C1B79BBA1D1D}" presName="rootComposite1" presStyleCnt="0"/>
      <dgm:spPr/>
    </dgm:pt>
    <dgm:pt modelId="{3EA02441-E62E-C24E-A4DF-460F53CDBD20}" type="pres">
      <dgm:prSet presAssocID="{4AF9AEFF-42D1-B740-82E9-C1B79BBA1D1D}" presName="rootText1" presStyleLbl="node0" presStyleIdx="2" presStyleCnt="4" custScaleX="220215">
        <dgm:presLayoutVars>
          <dgm:chPref val="3"/>
        </dgm:presLayoutVars>
      </dgm:prSet>
      <dgm:spPr/>
    </dgm:pt>
    <dgm:pt modelId="{03B6B337-FD0F-8F46-B2A3-A49AE23D70A9}" type="pres">
      <dgm:prSet presAssocID="{4AF9AEFF-42D1-B740-82E9-C1B79BBA1D1D}" presName="rootConnector1" presStyleLbl="node1" presStyleIdx="0" presStyleCnt="0"/>
      <dgm:spPr/>
    </dgm:pt>
    <dgm:pt modelId="{DE1717D0-2F56-2147-8E6D-2E4A6D170743}" type="pres">
      <dgm:prSet presAssocID="{4AF9AEFF-42D1-B740-82E9-C1B79BBA1D1D}" presName="hierChild2" presStyleCnt="0"/>
      <dgm:spPr/>
    </dgm:pt>
    <dgm:pt modelId="{369D3ECE-AB07-3143-A203-76E48C3520DF}" type="pres">
      <dgm:prSet presAssocID="{4AF9AEFF-42D1-B740-82E9-C1B79BBA1D1D}" presName="hierChild3" presStyleCnt="0"/>
      <dgm:spPr/>
    </dgm:pt>
    <dgm:pt modelId="{130F00FC-FAB4-FC48-8F3A-C00C60F773F6}" type="pres">
      <dgm:prSet presAssocID="{4CC743BE-89B2-7B43-BF58-D59F86D8E5AF}" presName="hierRoot1" presStyleCnt="0">
        <dgm:presLayoutVars>
          <dgm:hierBranch val="init"/>
        </dgm:presLayoutVars>
      </dgm:prSet>
      <dgm:spPr/>
    </dgm:pt>
    <dgm:pt modelId="{CAC83379-269E-5741-8414-E5ED31DF00E5}" type="pres">
      <dgm:prSet presAssocID="{4CC743BE-89B2-7B43-BF58-D59F86D8E5AF}" presName="rootComposite1" presStyleCnt="0"/>
      <dgm:spPr/>
    </dgm:pt>
    <dgm:pt modelId="{A0471F14-CFB3-8449-8997-79C53AE48F72}" type="pres">
      <dgm:prSet presAssocID="{4CC743BE-89B2-7B43-BF58-D59F86D8E5AF}" presName="rootText1" presStyleLbl="node0" presStyleIdx="3" presStyleCnt="4" custScaleX="220215">
        <dgm:presLayoutVars>
          <dgm:chPref val="3"/>
        </dgm:presLayoutVars>
      </dgm:prSet>
      <dgm:spPr/>
    </dgm:pt>
    <dgm:pt modelId="{20E2811A-1241-1C43-8D08-396FBA25036F}" type="pres">
      <dgm:prSet presAssocID="{4CC743BE-89B2-7B43-BF58-D59F86D8E5AF}" presName="rootConnector1" presStyleLbl="node1" presStyleIdx="0" presStyleCnt="0"/>
      <dgm:spPr/>
    </dgm:pt>
    <dgm:pt modelId="{EDCA2F9E-F17A-3E45-80B8-679DF2787438}" type="pres">
      <dgm:prSet presAssocID="{4CC743BE-89B2-7B43-BF58-D59F86D8E5AF}" presName="hierChild2" presStyleCnt="0"/>
      <dgm:spPr/>
    </dgm:pt>
    <dgm:pt modelId="{81A7C4EA-C53A-3A4F-B2EC-E0CE77B8741F}" type="pres">
      <dgm:prSet presAssocID="{4CC743BE-89B2-7B43-BF58-D59F86D8E5AF}" presName="hierChild3" presStyleCnt="0"/>
      <dgm:spPr/>
    </dgm:pt>
  </dgm:ptLst>
  <dgm:cxnLst>
    <dgm:cxn modelId="{FFCB8E0E-83EF-4599-BF13-C986EE976DEB}" srcId="{C14FF3FB-789E-4041-BAA4-8A5D3EF74394}" destId="{8A0FDD62-5ACB-4363-8100-7921DB27FED9}" srcOrd="0" destOrd="0" parTransId="{2E0A18BD-4B57-45A2-B599-17A5236A0DBA}" sibTransId="{95404541-6FCE-499D-B544-6283CA283D12}"/>
    <dgm:cxn modelId="{BEC3980F-6EFA-3B4C-B0F5-406E4A0F5D23}" type="presOf" srcId="{99A6F7B8-F459-C049-8C11-CCDD7B940BE5}" destId="{C517AAD2-5580-C644-8C97-234B421E295B}" srcOrd="0" destOrd="0" presId="urn:microsoft.com/office/officeart/2009/3/layout/HorizontalOrganizationChart"/>
    <dgm:cxn modelId="{1BFC2014-0346-4085-A372-634EDC4246C7}" type="presOf" srcId="{008E733D-A691-43BC-BA5B-9A1FC1EAE70B}" destId="{7912A520-6302-4FA0-B726-5F1C79158053}" srcOrd="0" destOrd="0" presId="urn:microsoft.com/office/officeart/2009/3/layout/HorizontalOrganizationChart"/>
    <dgm:cxn modelId="{4EC2F718-0E10-4255-80DA-B31FD988F7FE}" type="presOf" srcId="{A63D69D2-ED31-4993-930F-751C45C13CD4}" destId="{BCAEF62C-2B92-4445-AEF0-05B432CBDEDE}" srcOrd="1" destOrd="0" presId="urn:microsoft.com/office/officeart/2009/3/layout/HorizontalOrganizationChart"/>
    <dgm:cxn modelId="{E457742C-253D-5D41-B628-8E3215250C26}" type="presOf" srcId="{4CC743BE-89B2-7B43-BF58-D59F86D8E5AF}" destId="{20E2811A-1241-1C43-8D08-396FBA25036F}" srcOrd="1" destOrd="0" presId="urn:microsoft.com/office/officeart/2009/3/layout/HorizontalOrganizationChart"/>
    <dgm:cxn modelId="{F4ABB83C-24C7-4711-A232-B64194FD2448}" type="presOf" srcId="{FE1183B8-299D-4DAE-9761-D4155ED0D626}" destId="{C5E9805B-8734-43E5-87A9-3E4EDE6400A1}" srcOrd="0" destOrd="0" presId="urn:microsoft.com/office/officeart/2009/3/layout/HorizontalOrganizationChart"/>
    <dgm:cxn modelId="{F85C7F5B-9BC1-4931-B469-45AFB800FF9A}" type="presOf" srcId="{A63D69D2-ED31-4993-930F-751C45C13CD4}" destId="{B633B50C-55B7-4080-8A5D-DD9EE7F65740}" srcOrd="0" destOrd="0" presId="urn:microsoft.com/office/officeart/2009/3/layout/HorizontalOrganizationChart"/>
    <dgm:cxn modelId="{DF4C2B5F-7246-F94A-8255-732907A6C824}" srcId="{C14FF3FB-789E-4041-BAA4-8A5D3EF74394}" destId="{4AF9AEFF-42D1-B740-82E9-C1B79BBA1D1D}" srcOrd="2" destOrd="0" parTransId="{136DFE82-DD95-9440-99FE-AD1D30173A71}" sibTransId="{7CA9E5FE-025A-A543-85F9-9D75B8464C49}"/>
    <dgm:cxn modelId="{D00B0B62-966B-4BC1-812E-4461A799A4F6}" type="presOf" srcId="{9B6CE281-A07D-4914-93D2-9572AC8D5A6F}" destId="{128DFF0E-9219-4A5D-9DC2-F45043BFED9C}" srcOrd="0" destOrd="0" presId="urn:microsoft.com/office/officeart/2009/3/layout/HorizontalOrganizationChart"/>
    <dgm:cxn modelId="{B57D786E-BC9E-C849-8C6F-B2E7F76C7E06}" type="presOf" srcId="{4CC743BE-89B2-7B43-BF58-D59F86D8E5AF}" destId="{A0471F14-CFB3-8449-8997-79C53AE48F72}" srcOrd="0" destOrd="0" presId="urn:microsoft.com/office/officeart/2009/3/layout/HorizontalOrganizationChart"/>
    <dgm:cxn modelId="{2BEC1470-7626-6643-BE17-A1EC90A007AE}" type="presOf" srcId="{4AF9AEFF-42D1-B740-82E9-C1B79BBA1D1D}" destId="{03B6B337-FD0F-8F46-B2A3-A49AE23D70A9}" srcOrd="1" destOrd="0" presId="urn:microsoft.com/office/officeart/2009/3/layout/HorizontalOrganizationChart"/>
    <dgm:cxn modelId="{418DDD72-5F93-4278-B9A7-B366FC5F831B}" type="presOf" srcId="{D09E3D4F-1D7D-42D1-986A-2D072940B2CA}" destId="{65E7425D-55D2-4A95-85AE-4170C0981629}" srcOrd="1" destOrd="0" presId="urn:microsoft.com/office/officeart/2009/3/layout/HorizontalOrganizationChart"/>
    <dgm:cxn modelId="{37169C73-803B-4B53-8056-7D86DF425149}" type="presOf" srcId="{D09E3D4F-1D7D-42D1-986A-2D072940B2CA}" destId="{8F43BE6E-166A-4736-B495-0F0C5F9C5A94}" srcOrd="0" destOrd="0" presId="urn:microsoft.com/office/officeart/2009/3/layout/HorizontalOrganizationChart"/>
    <dgm:cxn modelId="{EBE61E78-7C4C-8941-9AB5-46E2FCEC82E1}" type="presOf" srcId="{4AF9AEFF-42D1-B740-82E9-C1B79BBA1D1D}" destId="{3EA02441-E62E-C24E-A4DF-460F53CDBD20}" srcOrd="0" destOrd="0" presId="urn:microsoft.com/office/officeart/2009/3/layout/HorizontalOrganizationChart"/>
    <dgm:cxn modelId="{DAB9C179-CF84-4B9B-A240-A23B5E2EABF7}" type="presOf" srcId="{9C224AA8-5D6D-439F-A5FF-D80F3FA166E4}" destId="{E545B4FB-CAAE-4F67-8274-077F8989871C}" srcOrd="1" destOrd="0" presId="urn:microsoft.com/office/officeart/2009/3/layout/HorizontalOrganizationChart"/>
    <dgm:cxn modelId="{3A4A7F7C-3773-44AD-831D-2EEC340A03E6}" type="presOf" srcId="{C14FF3FB-789E-4041-BAA4-8A5D3EF74394}" destId="{6DAD5AF5-2F6C-40CF-B4A4-4535DCB1DE5D}" srcOrd="0" destOrd="0" presId="urn:microsoft.com/office/officeart/2009/3/layout/HorizontalOrganizationChart"/>
    <dgm:cxn modelId="{82C1FF81-201C-4ADF-A1A9-A5FC6A205E06}" type="presOf" srcId="{008E733D-A691-43BC-BA5B-9A1FC1EAE70B}" destId="{B94DF8A1-A875-4807-9162-20A5A5F20602}" srcOrd="1" destOrd="0" presId="urn:microsoft.com/office/officeart/2009/3/layout/HorizontalOrganizationChart"/>
    <dgm:cxn modelId="{3E6FF197-5C51-BA42-84F2-283924AFBBEC}" type="presOf" srcId="{99A6F7B8-F459-C049-8C11-CCDD7B940BE5}" destId="{AE3B0388-2463-EF47-AFC2-5437291EF998}" srcOrd="1" destOrd="0" presId="urn:microsoft.com/office/officeart/2009/3/layout/HorizontalOrganizationChart"/>
    <dgm:cxn modelId="{F63E21A2-8CCE-FA46-BC05-575C278D6DE2}" srcId="{D09E3D4F-1D7D-42D1-986A-2D072940B2CA}" destId="{99A6F7B8-F459-C049-8C11-CCDD7B940BE5}" srcOrd="2" destOrd="0" parTransId="{4CE8A549-566D-4C42-A09F-87E406049175}" sibTransId="{880CDBBF-3EE3-1049-BA69-72D0330DC069}"/>
    <dgm:cxn modelId="{75F13DA4-FA2F-45CE-98D6-21A7FC633828}" type="presOf" srcId="{91762AC4-5843-45DA-BD82-07AA1A1B93DC}" destId="{F8970BD3-839A-4C82-84BD-B0A41A6A9807}" srcOrd="0" destOrd="0" presId="urn:microsoft.com/office/officeart/2009/3/layout/HorizontalOrganizationChart"/>
    <dgm:cxn modelId="{0BBCF1A4-D106-5F47-AE99-00FCA6F17C0C}" type="presOf" srcId="{4CE8A549-566D-4C42-A09F-87E406049175}" destId="{97D80550-4753-414D-9E2C-29E87CC202F1}" srcOrd="0" destOrd="0" presId="urn:microsoft.com/office/officeart/2009/3/layout/HorizontalOrganizationChart"/>
    <dgm:cxn modelId="{2DF84CA8-05F6-44B5-B32C-C070F0034577}" srcId="{D09E3D4F-1D7D-42D1-986A-2D072940B2CA}" destId="{A63D69D2-ED31-4993-930F-751C45C13CD4}" srcOrd="0" destOrd="0" parTransId="{56CFB6F2-8ADE-4838-A1ED-04DC59B84DF2}" sibTransId="{C3A94619-7880-4FE5-9FE3-8CDA03266D62}"/>
    <dgm:cxn modelId="{2AB946AA-81B9-471D-9447-2C92C3DA6716}" type="presOf" srcId="{8A0FDD62-5ACB-4363-8100-7921DB27FED9}" destId="{4C951630-26BE-4FC2-B02A-6EABC31BCC02}" srcOrd="1" destOrd="0" presId="urn:microsoft.com/office/officeart/2009/3/layout/HorizontalOrganizationChart"/>
    <dgm:cxn modelId="{9CB71FB1-4091-4499-A694-E01ECE5458BA}" type="presOf" srcId="{8A0FDD62-5ACB-4363-8100-7921DB27FED9}" destId="{9243952B-3833-4F9A-A71B-0A59EE8FED19}" srcOrd="0" destOrd="0" presId="urn:microsoft.com/office/officeart/2009/3/layout/HorizontalOrganizationChart"/>
    <dgm:cxn modelId="{1AAC81B3-3511-4BEE-B020-161368D405A0}" srcId="{D09E3D4F-1D7D-42D1-986A-2D072940B2CA}" destId="{91762AC4-5843-45DA-BD82-07AA1A1B93DC}" srcOrd="1" destOrd="0" parTransId="{44316C2B-8810-4B50-9686-5B8AC20A9943}" sibTransId="{69F84360-F8FB-4DC2-8AA4-DA39E260F788}"/>
    <dgm:cxn modelId="{3906FFB6-8A5C-4D36-979B-0E1D1A1CD3FD}" type="presOf" srcId="{56CFB6F2-8ADE-4838-A1ED-04DC59B84DF2}" destId="{3C8331C7-B13D-4AF7-A323-1B1603B58B0E}" srcOrd="0" destOrd="0" presId="urn:microsoft.com/office/officeart/2009/3/layout/HorizontalOrganizationChart"/>
    <dgm:cxn modelId="{014BABC1-0E51-4069-80CD-AE6B55BB3A4A}" type="presOf" srcId="{91762AC4-5843-45DA-BD82-07AA1A1B93DC}" destId="{240D1101-2E34-40E6-BD15-AE5CAEF83A68}" srcOrd="1" destOrd="0" presId="urn:microsoft.com/office/officeart/2009/3/layout/HorizontalOrganizationChart"/>
    <dgm:cxn modelId="{005F93D0-0F40-B244-93EB-B7486C7FF021}" srcId="{C14FF3FB-789E-4041-BAA4-8A5D3EF74394}" destId="{4CC743BE-89B2-7B43-BF58-D59F86D8E5AF}" srcOrd="3" destOrd="0" parTransId="{6FCB5090-C78A-4A40-B1E1-D95882A618A4}" sibTransId="{DDD58D91-D3F1-CF45-A967-235059630097}"/>
    <dgm:cxn modelId="{49920FD5-87B7-4F99-ACE4-0498AF7B821F}" type="presOf" srcId="{44316C2B-8810-4B50-9686-5B8AC20A9943}" destId="{4E1287EB-C0CC-4C9B-8503-F8372D7BE22A}" srcOrd="0" destOrd="0" presId="urn:microsoft.com/office/officeart/2009/3/layout/HorizontalOrganizationChart"/>
    <dgm:cxn modelId="{AD5298DF-9589-4A56-B320-737BAAF026D5}" srcId="{8A0FDD62-5ACB-4363-8100-7921DB27FED9}" destId="{008E733D-A691-43BC-BA5B-9A1FC1EAE70B}" srcOrd="1" destOrd="0" parTransId="{9B6CE281-A07D-4914-93D2-9572AC8D5A6F}" sibTransId="{C1D44F35-2DE3-41EF-8668-22EC13345377}"/>
    <dgm:cxn modelId="{471993E1-B340-4A72-921B-81101BD0227A}" type="presOf" srcId="{9C224AA8-5D6D-439F-A5FF-D80F3FA166E4}" destId="{F6C5896B-E465-4949-89C8-FE4B715A7AA6}" srcOrd="0" destOrd="0" presId="urn:microsoft.com/office/officeart/2009/3/layout/HorizontalOrganizationChart"/>
    <dgm:cxn modelId="{498BAEE2-7893-4D7B-95CC-F1C754C0CACB}" srcId="{C14FF3FB-789E-4041-BAA4-8A5D3EF74394}" destId="{D09E3D4F-1D7D-42D1-986A-2D072940B2CA}" srcOrd="1" destOrd="0" parTransId="{68ACF64D-A3E1-46BE-A0F8-EACFA27593B4}" sibTransId="{086D19BD-9679-4E1D-AB18-9C674F65C6F7}"/>
    <dgm:cxn modelId="{E02BB2F0-87BB-483B-91A1-E7038189B78B}" srcId="{8A0FDD62-5ACB-4363-8100-7921DB27FED9}" destId="{9C224AA8-5D6D-439F-A5FF-D80F3FA166E4}" srcOrd="0" destOrd="0" parTransId="{FE1183B8-299D-4DAE-9761-D4155ED0D626}" sibTransId="{46ECC135-E1CD-4BA3-940E-260EB4B089CC}"/>
    <dgm:cxn modelId="{1BBA2148-F184-41BE-A4AA-FF4AE6E11402}" type="presParOf" srcId="{6DAD5AF5-2F6C-40CF-B4A4-4535DCB1DE5D}" destId="{9E669CAF-C666-4968-9C8A-A75CD735112E}" srcOrd="0" destOrd="0" presId="urn:microsoft.com/office/officeart/2009/3/layout/HorizontalOrganizationChart"/>
    <dgm:cxn modelId="{CD4A52A8-BB30-46B1-A09C-FA3E5962EAC3}" type="presParOf" srcId="{9E669CAF-C666-4968-9C8A-A75CD735112E}" destId="{C9310B4B-0140-4156-88BB-BB8B405BA2F6}" srcOrd="0" destOrd="0" presId="urn:microsoft.com/office/officeart/2009/3/layout/HorizontalOrganizationChart"/>
    <dgm:cxn modelId="{00FEEC05-1D06-4F50-9D37-E227647C0275}" type="presParOf" srcId="{C9310B4B-0140-4156-88BB-BB8B405BA2F6}" destId="{9243952B-3833-4F9A-A71B-0A59EE8FED19}" srcOrd="0" destOrd="0" presId="urn:microsoft.com/office/officeart/2009/3/layout/HorizontalOrganizationChart"/>
    <dgm:cxn modelId="{61330E62-BE84-4CF8-B87D-76F69F8989F7}" type="presParOf" srcId="{C9310B4B-0140-4156-88BB-BB8B405BA2F6}" destId="{4C951630-26BE-4FC2-B02A-6EABC31BCC02}" srcOrd="1" destOrd="0" presId="urn:microsoft.com/office/officeart/2009/3/layout/HorizontalOrganizationChart"/>
    <dgm:cxn modelId="{2CE91F4A-E069-4DC6-AEE5-7A68566C91BE}" type="presParOf" srcId="{9E669CAF-C666-4968-9C8A-A75CD735112E}" destId="{A9CBB20B-D2FF-462D-8365-7D562044133A}" srcOrd="1" destOrd="0" presId="urn:microsoft.com/office/officeart/2009/3/layout/HorizontalOrganizationChart"/>
    <dgm:cxn modelId="{38FD33C2-E9ED-421A-AB97-66306F9C9EA4}" type="presParOf" srcId="{A9CBB20B-D2FF-462D-8365-7D562044133A}" destId="{C5E9805B-8734-43E5-87A9-3E4EDE6400A1}" srcOrd="0" destOrd="0" presId="urn:microsoft.com/office/officeart/2009/3/layout/HorizontalOrganizationChart"/>
    <dgm:cxn modelId="{AB331918-CE8E-4BD5-8F39-5A78E4F37DF3}" type="presParOf" srcId="{A9CBB20B-D2FF-462D-8365-7D562044133A}" destId="{59D565F5-CF79-4EC0-B001-75692E0C55A5}" srcOrd="1" destOrd="0" presId="urn:microsoft.com/office/officeart/2009/3/layout/HorizontalOrganizationChart"/>
    <dgm:cxn modelId="{C0A68D2F-44EF-4A10-AB34-46A774F23A22}" type="presParOf" srcId="{59D565F5-CF79-4EC0-B001-75692E0C55A5}" destId="{FD1AFDEF-415B-41D7-A2B3-18097AE78CD0}" srcOrd="0" destOrd="0" presId="urn:microsoft.com/office/officeart/2009/3/layout/HorizontalOrganizationChart"/>
    <dgm:cxn modelId="{C91D4CE7-12AC-4F90-9AFD-D0BE248578DB}" type="presParOf" srcId="{FD1AFDEF-415B-41D7-A2B3-18097AE78CD0}" destId="{F6C5896B-E465-4949-89C8-FE4B715A7AA6}" srcOrd="0" destOrd="0" presId="urn:microsoft.com/office/officeart/2009/3/layout/HorizontalOrganizationChart"/>
    <dgm:cxn modelId="{7D5BFA1F-51B3-46A7-B782-3C218484186E}" type="presParOf" srcId="{FD1AFDEF-415B-41D7-A2B3-18097AE78CD0}" destId="{E545B4FB-CAAE-4F67-8274-077F8989871C}" srcOrd="1" destOrd="0" presId="urn:microsoft.com/office/officeart/2009/3/layout/HorizontalOrganizationChart"/>
    <dgm:cxn modelId="{2DDC45EE-5C4F-471D-B9E6-165EED17ADD7}" type="presParOf" srcId="{59D565F5-CF79-4EC0-B001-75692E0C55A5}" destId="{12A0EF90-D8EB-4D76-A8C2-74FEB5F363FC}" srcOrd="1" destOrd="0" presId="urn:microsoft.com/office/officeart/2009/3/layout/HorizontalOrganizationChart"/>
    <dgm:cxn modelId="{DF3D3A8F-F7E9-4699-A141-CF0E8EA8347E}" type="presParOf" srcId="{59D565F5-CF79-4EC0-B001-75692E0C55A5}" destId="{945B86D7-60E4-41FF-9E22-41E01EACAF57}" srcOrd="2" destOrd="0" presId="urn:microsoft.com/office/officeart/2009/3/layout/HorizontalOrganizationChart"/>
    <dgm:cxn modelId="{570AB87B-F212-470D-AAFE-0007CE7D9C98}" type="presParOf" srcId="{A9CBB20B-D2FF-462D-8365-7D562044133A}" destId="{128DFF0E-9219-4A5D-9DC2-F45043BFED9C}" srcOrd="2" destOrd="0" presId="urn:microsoft.com/office/officeart/2009/3/layout/HorizontalOrganizationChart"/>
    <dgm:cxn modelId="{AB377DF9-02DB-4A1B-9A6F-8D5CBF15E237}" type="presParOf" srcId="{A9CBB20B-D2FF-462D-8365-7D562044133A}" destId="{FAA8B00E-FFCD-4593-8064-8429CF84817D}" srcOrd="3" destOrd="0" presId="urn:microsoft.com/office/officeart/2009/3/layout/HorizontalOrganizationChart"/>
    <dgm:cxn modelId="{F0E35F52-E630-46F5-8602-6A637DC64B33}" type="presParOf" srcId="{FAA8B00E-FFCD-4593-8064-8429CF84817D}" destId="{4791B7BC-7EE6-4C28-B1A7-F15C8A55C61B}" srcOrd="0" destOrd="0" presId="urn:microsoft.com/office/officeart/2009/3/layout/HorizontalOrganizationChart"/>
    <dgm:cxn modelId="{8B4D615B-562E-48AF-84CF-0BAE577EBD31}" type="presParOf" srcId="{4791B7BC-7EE6-4C28-B1A7-F15C8A55C61B}" destId="{7912A520-6302-4FA0-B726-5F1C79158053}" srcOrd="0" destOrd="0" presId="urn:microsoft.com/office/officeart/2009/3/layout/HorizontalOrganizationChart"/>
    <dgm:cxn modelId="{3CE242D1-49EE-49F4-BE6F-B7ACD5DF6847}" type="presParOf" srcId="{4791B7BC-7EE6-4C28-B1A7-F15C8A55C61B}" destId="{B94DF8A1-A875-4807-9162-20A5A5F20602}" srcOrd="1" destOrd="0" presId="urn:microsoft.com/office/officeart/2009/3/layout/HorizontalOrganizationChart"/>
    <dgm:cxn modelId="{027A58EE-77C3-445F-97ED-EDBA31F8036C}" type="presParOf" srcId="{FAA8B00E-FFCD-4593-8064-8429CF84817D}" destId="{6D2B7FA0-C8F7-4BB1-A24B-5867C359A830}" srcOrd="1" destOrd="0" presId="urn:microsoft.com/office/officeart/2009/3/layout/HorizontalOrganizationChart"/>
    <dgm:cxn modelId="{35187DFD-FEA4-47C8-B1B8-F9E10844464F}" type="presParOf" srcId="{FAA8B00E-FFCD-4593-8064-8429CF84817D}" destId="{9E8D2733-07A7-4B55-AECD-D0F401EC67DB}" srcOrd="2" destOrd="0" presId="urn:microsoft.com/office/officeart/2009/3/layout/HorizontalOrganizationChart"/>
    <dgm:cxn modelId="{2EEB8B91-47BD-4CBB-BF41-68D9D0249310}" type="presParOf" srcId="{9E669CAF-C666-4968-9C8A-A75CD735112E}" destId="{BB1C3144-AF76-4C1A-AC16-5745FE3D6FF4}" srcOrd="2" destOrd="0" presId="urn:microsoft.com/office/officeart/2009/3/layout/HorizontalOrganizationChart"/>
    <dgm:cxn modelId="{955AEF40-4F3F-4537-AF01-8943C55F9F46}" type="presParOf" srcId="{6DAD5AF5-2F6C-40CF-B4A4-4535DCB1DE5D}" destId="{E18B88DC-BC5B-4269-8303-2816E8A33297}" srcOrd="1" destOrd="0" presId="urn:microsoft.com/office/officeart/2009/3/layout/HorizontalOrganizationChart"/>
    <dgm:cxn modelId="{E2C7FD41-5A95-4129-949B-E52C827BCFEE}" type="presParOf" srcId="{E18B88DC-BC5B-4269-8303-2816E8A33297}" destId="{7E1EFAEC-C6C5-4489-9136-BD7B0956B289}" srcOrd="0" destOrd="0" presId="urn:microsoft.com/office/officeart/2009/3/layout/HorizontalOrganizationChart"/>
    <dgm:cxn modelId="{BEDF551C-3DAF-4BD3-8D74-32D5C90B7E44}" type="presParOf" srcId="{7E1EFAEC-C6C5-4489-9136-BD7B0956B289}" destId="{8F43BE6E-166A-4736-B495-0F0C5F9C5A94}" srcOrd="0" destOrd="0" presId="urn:microsoft.com/office/officeart/2009/3/layout/HorizontalOrganizationChart"/>
    <dgm:cxn modelId="{3AF3451C-B360-45D9-87AD-F22BD0B2F8A0}" type="presParOf" srcId="{7E1EFAEC-C6C5-4489-9136-BD7B0956B289}" destId="{65E7425D-55D2-4A95-85AE-4170C0981629}" srcOrd="1" destOrd="0" presId="urn:microsoft.com/office/officeart/2009/3/layout/HorizontalOrganizationChart"/>
    <dgm:cxn modelId="{84F8506D-BB3A-45DD-A804-FF6EF4A34DF4}" type="presParOf" srcId="{E18B88DC-BC5B-4269-8303-2816E8A33297}" destId="{0A91E4F6-AD54-49CF-9C53-9262E286DF5E}" srcOrd="1" destOrd="0" presId="urn:microsoft.com/office/officeart/2009/3/layout/HorizontalOrganizationChart"/>
    <dgm:cxn modelId="{6C56CFF5-6BE4-4FD0-917A-B1F908753DEA}" type="presParOf" srcId="{0A91E4F6-AD54-49CF-9C53-9262E286DF5E}" destId="{3C8331C7-B13D-4AF7-A323-1B1603B58B0E}" srcOrd="0" destOrd="0" presId="urn:microsoft.com/office/officeart/2009/3/layout/HorizontalOrganizationChart"/>
    <dgm:cxn modelId="{40B7F0CC-6AB5-4F6E-AF7C-EE9FFC84E04F}" type="presParOf" srcId="{0A91E4F6-AD54-49CF-9C53-9262E286DF5E}" destId="{B92978FC-A8E3-4BC5-983D-A951B513D496}" srcOrd="1" destOrd="0" presId="urn:microsoft.com/office/officeart/2009/3/layout/HorizontalOrganizationChart"/>
    <dgm:cxn modelId="{AAFE19FC-A7D2-45AE-AC56-DD5FBB83E39A}" type="presParOf" srcId="{B92978FC-A8E3-4BC5-983D-A951B513D496}" destId="{BCE6459C-EE48-41D9-B74E-BEC9785A15BD}" srcOrd="0" destOrd="0" presId="urn:microsoft.com/office/officeart/2009/3/layout/HorizontalOrganizationChart"/>
    <dgm:cxn modelId="{9F5890F7-0D57-45A2-BAD9-9FBB3B2476BC}" type="presParOf" srcId="{BCE6459C-EE48-41D9-B74E-BEC9785A15BD}" destId="{B633B50C-55B7-4080-8A5D-DD9EE7F65740}" srcOrd="0" destOrd="0" presId="urn:microsoft.com/office/officeart/2009/3/layout/HorizontalOrganizationChart"/>
    <dgm:cxn modelId="{A7F795A8-0DD5-42E3-A9ED-1325D6DC1215}" type="presParOf" srcId="{BCE6459C-EE48-41D9-B74E-BEC9785A15BD}" destId="{BCAEF62C-2B92-4445-AEF0-05B432CBDEDE}" srcOrd="1" destOrd="0" presId="urn:microsoft.com/office/officeart/2009/3/layout/HorizontalOrganizationChart"/>
    <dgm:cxn modelId="{7A5AAA12-D2CE-43F1-B8EF-98656DE7EBDE}" type="presParOf" srcId="{B92978FC-A8E3-4BC5-983D-A951B513D496}" destId="{85D17B27-E6A5-4A40-B9C1-320A246A7E32}" srcOrd="1" destOrd="0" presId="urn:microsoft.com/office/officeart/2009/3/layout/HorizontalOrganizationChart"/>
    <dgm:cxn modelId="{F1E9E4F9-78A6-42E8-B570-4DAB2549CA24}" type="presParOf" srcId="{B92978FC-A8E3-4BC5-983D-A951B513D496}" destId="{009D29F9-C5F4-4601-953B-F2A1F0EC73B1}" srcOrd="2" destOrd="0" presId="urn:microsoft.com/office/officeart/2009/3/layout/HorizontalOrganizationChart"/>
    <dgm:cxn modelId="{379614FD-7BAD-4FF5-B45A-0F91817B4635}" type="presParOf" srcId="{0A91E4F6-AD54-49CF-9C53-9262E286DF5E}" destId="{4E1287EB-C0CC-4C9B-8503-F8372D7BE22A}" srcOrd="2" destOrd="0" presId="urn:microsoft.com/office/officeart/2009/3/layout/HorizontalOrganizationChart"/>
    <dgm:cxn modelId="{28902B3C-7AC7-44C7-A2C0-1652103DDF83}" type="presParOf" srcId="{0A91E4F6-AD54-49CF-9C53-9262E286DF5E}" destId="{30BCAA1C-BC25-46FB-975C-8FC930EF37D0}" srcOrd="3" destOrd="0" presId="urn:microsoft.com/office/officeart/2009/3/layout/HorizontalOrganizationChart"/>
    <dgm:cxn modelId="{787DEEA4-6EF7-45C0-906E-6EC1AFC6D7DA}" type="presParOf" srcId="{30BCAA1C-BC25-46FB-975C-8FC930EF37D0}" destId="{6641C33A-4F6C-4E1C-8D18-646008060B9F}" srcOrd="0" destOrd="0" presId="urn:microsoft.com/office/officeart/2009/3/layout/HorizontalOrganizationChart"/>
    <dgm:cxn modelId="{80D4E7DA-FC11-481E-B016-E8D455910CCA}" type="presParOf" srcId="{6641C33A-4F6C-4E1C-8D18-646008060B9F}" destId="{F8970BD3-839A-4C82-84BD-B0A41A6A9807}" srcOrd="0" destOrd="0" presId="urn:microsoft.com/office/officeart/2009/3/layout/HorizontalOrganizationChart"/>
    <dgm:cxn modelId="{4A84F124-55EE-4507-8A93-4FE308F64D1B}" type="presParOf" srcId="{6641C33A-4F6C-4E1C-8D18-646008060B9F}" destId="{240D1101-2E34-40E6-BD15-AE5CAEF83A68}" srcOrd="1" destOrd="0" presId="urn:microsoft.com/office/officeart/2009/3/layout/HorizontalOrganizationChart"/>
    <dgm:cxn modelId="{8F60F114-CE00-4D39-A890-478F832DCF52}" type="presParOf" srcId="{30BCAA1C-BC25-46FB-975C-8FC930EF37D0}" destId="{E0095A6F-32CE-4B3E-BA2B-7B435D2E0C1B}" srcOrd="1" destOrd="0" presId="urn:microsoft.com/office/officeart/2009/3/layout/HorizontalOrganizationChart"/>
    <dgm:cxn modelId="{F604783F-B22D-41DA-BC46-EA5CA0910368}" type="presParOf" srcId="{30BCAA1C-BC25-46FB-975C-8FC930EF37D0}" destId="{0B7ED1C2-376D-49B3-9285-F308DEBA2294}" srcOrd="2" destOrd="0" presId="urn:microsoft.com/office/officeart/2009/3/layout/HorizontalOrganizationChart"/>
    <dgm:cxn modelId="{D9E50B7F-37E9-A541-AC10-FC33CA870B40}" type="presParOf" srcId="{0A91E4F6-AD54-49CF-9C53-9262E286DF5E}" destId="{97D80550-4753-414D-9E2C-29E87CC202F1}" srcOrd="4" destOrd="0" presId="urn:microsoft.com/office/officeart/2009/3/layout/HorizontalOrganizationChart"/>
    <dgm:cxn modelId="{0A8C5D3A-4A2C-0C46-844A-4253898FDBBD}" type="presParOf" srcId="{0A91E4F6-AD54-49CF-9C53-9262E286DF5E}" destId="{AFBDD29A-F995-7942-816C-A971466B6455}" srcOrd="5" destOrd="0" presId="urn:microsoft.com/office/officeart/2009/3/layout/HorizontalOrganizationChart"/>
    <dgm:cxn modelId="{535CBBB2-91A8-5448-A113-EB481EB96411}" type="presParOf" srcId="{AFBDD29A-F995-7942-816C-A971466B6455}" destId="{B7B45292-BDF8-124E-BDB4-0352C7C47D67}" srcOrd="0" destOrd="0" presId="urn:microsoft.com/office/officeart/2009/3/layout/HorizontalOrganizationChart"/>
    <dgm:cxn modelId="{42F43251-624B-4445-B2D3-689B8C5860D7}" type="presParOf" srcId="{B7B45292-BDF8-124E-BDB4-0352C7C47D67}" destId="{C517AAD2-5580-C644-8C97-234B421E295B}" srcOrd="0" destOrd="0" presId="urn:microsoft.com/office/officeart/2009/3/layout/HorizontalOrganizationChart"/>
    <dgm:cxn modelId="{8E7F28CB-87AA-9440-AA2D-E46873466702}" type="presParOf" srcId="{B7B45292-BDF8-124E-BDB4-0352C7C47D67}" destId="{AE3B0388-2463-EF47-AFC2-5437291EF998}" srcOrd="1" destOrd="0" presId="urn:microsoft.com/office/officeart/2009/3/layout/HorizontalOrganizationChart"/>
    <dgm:cxn modelId="{D12C27B0-C126-DE46-B3E2-7A48DE61374A}" type="presParOf" srcId="{AFBDD29A-F995-7942-816C-A971466B6455}" destId="{1D002B0A-C78F-3E48-8C25-35AA92CAD96F}" srcOrd="1" destOrd="0" presId="urn:microsoft.com/office/officeart/2009/3/layout/HorizontalOrganizationChart"/>
    <dgm:cxn modelId="{825F1641-1B08-3D48-BBC1-FFB0AC6B9E4F}" type="presParOf" srcId="{AFBDD29A-F995-7942-816C-A971466B6455}" destId="{B0C7CB86-8280-C041-9FE8-BF2844EBC949}" srcOrd="2" destOrd="0" presId="urn:microsoft.com/office/officeart/2009/3/layout/HorizontalOrganizationChart"/>
    <dgm:cxn modelId="{3777CB0E-6951-496D-ABF3-8AE7E90A2F0F}" type="presParOf" srcId="{E18B88DC-BC5B-4269-8303-2816E8A33297}" destId="{3AA06DB7-3CF2-4B80-A567-B41E54DCF106}" srcOrd="2" destOrd="0" presId="urn:microsoft.com/office/officeart/2009/3/layout/HorizontalOrganizationChart"/>
    <dgm:cxn modelId="{66BEB029-6BBE-894F-AC08-16E06128AED3}" type="presParOf" srcId="{6DAD5AF5-2F6C-40CF-B4A4-4535DCB1DE5D}" destId="{23C114B1-B44D-274C-ACD6-335C344B8881}" srcOrd="2" destOrd="0" presId="urn:microsoft.com/office/officeart/2009/3/layout/HorizontalOrganizationChart"/>
    <dgm:cxn modelId="{FEEF7B8D-1EDD-2540-9416-6EAC069FE475}" type="presParOf" srcId="{23C114B1-B44D-274C-ACD6-335C344B8881}" destId="{3A5DF050-98B2-A44B-9D94-394A589761C7}" srcOrd="0" destOrd="0" presId="urn:microsoft.com/office/officeart/2009/3/layout/HorizontalOrganizationChart"/>
    <dgm:cxn modelId="{D1553FB0-C4DC-4D4F-A5A8-F7D246B928FD}" type="presParOf" srcId="{3A5DF050-98B2-A44B-9D94-394A589761C7}" destId="{3EA02441-E62E-C24E-A4DF-460F53CDBD20}" srcOrd="0" destOrd="0" presId="urn:microsoft.com/office/officeart/2009/3/layout/HorizontalOrganizationChart"/>
    <dgm:cxn modelId="{418FA2CA-E58B-314D-99DC-264F1B850378}" type="presParOf" srcId="{3A5DF050-98B2-A44B-9D94-394A589761C7}" destId="{03B6B337-FD0F-8F46-B2A3-A49AE23D70A9}" srcOrd="1" destOrd="0" presId="urn:microsoft.com/office/officeart/2009/3/layout/HorizontalOrganizationChart"/>
    <dgm:cxn modelId="{50D0E0B7-0FE0-7047-8E7A-8DB9DCFE92A3}" type="presParOf" srcId="{23C114B1-B44D-274C-ACD6-335C344B8881}" destId="{DE1717D0-2F56-2147-8E6D-2E4A6D170743}" srcOrd="1" destOrd="0" presId="urn:microsoft.com/office/officeart/2009/3/layout/HorizontalOrganizationChart"/>
    <dgm:cxn modelId="{F6024C63-812F-8C45-B1FD-0597965B651A}" type="presParOf" srcId="{23C114B1-B44D-274C-ACD6-335C344B8881}" destId="{369D3ECE-AB07-3143-A203-76E48C3520DF}" srcOrd="2" destOrd="0" presId="urn:microsoft.com/office/officeart/2009/3/layout/HorizontalOrganizationChart"/>
    <dgm:cxn modelId="{1A4C4011-44B0-4F45-86C6-BD6AFA0178CF}" type="presParOf" srcId="{6DAD5AF5-2F6C-40CF-B4A4-4535DCB1DE5D}" destId="{130F00FC-FAB4-FC48-8F3A-C00C60F773F6}" srcOrd="3" destOrd="0" presId="urn:microsoft.com/office/officeart/2009/3/layout/HorizontalOrganizationChart"/>
    <dgm:cxn modelId="{3070607D-DD41-1242-A6D3-37C1DD87B860}" type="presParOf" srcId="{130F00FC-FAB4-FC48-8F3A-C00C60F773F6}" destId="{CAC83379-269E-5741-8414-E5ED31DF00E5}" srcOrd="0" destOrd="0" presId="urn:microsoft.com/office/officeart/2009/3/layout/HorizontalOrganizationChart"/>
    <dgm:cxn modelId="{FD1C7F6C-38D4-2D4D-91C5-90F969F6BB64}" type="presParOf" srcId="{CAC83379-269E-5741-8414-E5ED31DF00E5}" destId="{A0471F14-CFB3-8449-8997-79C53AE48F72}" srcOrd="0" destOrd="0" presId="urn:microsoft.com/office/officeart/2009/3/layout/HorizontalOrganizationChart"/>
    <dgm:cxn modelId="{28398A17-AE25-9B4E-B8FA-453F275235A3}" type="presParOf" srcId="{CAC83379-269E-5741-8414-E5ED31DF00E5}" destId="{20E2811A-1241-1C43-8D08-396FBA25036F}" srcOrd="1" destOrd="0" presId="urn:microsoft.com/office/officeart/2009/3/layout/HorizontalOrganizationChart"/>
    <dgm:cxn modelId="{8BC4B408-F08D-1A4E-A4EE-E1EFB9E9E9F4}" type="presParOf" srcId="{130F00FC-FAB4-FC48-8F3A-C00C60F773F6}" destId="{EDCA2F9E-F17A-3E45-80B8-679DF2787438}" srcOrd="1" destOrd="0" presId="urn:microsoft.com/office/officeart/2009/3/layout/HorizontalOrganizationChart"/>
    <dgm:cxn modelId="{57E05CD6-E599-C645-8689-3E5CA0544D86}" type="presParOf" srcId="{130F00FC-FAB4-FC48-8F3A-C00C60F773F6}" destId="{81A7C4EA-C53A-3A4F-B2EC-E0CE77B8741F}" srcOrd="2" destOrd="0" presId="urn:microsoft.com/office/officeart/2009/3/layout/HorizontalOrganizationChart"/>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C14FF3FB-789E-4041-BAA4-8A5D3EF74394}" type="doc">
      <dgm:prSet loTypeId="urn:microsoft.com/office/officeart/2009/3/layout/HorizontalOrganizationChart" loCatId="hierarchy" qsTypeId="urn:microsoft.com/office/officeart/2005/8/quickstyle/simple1" qsCatId="simple" csTypeId="urn:microsoft.com/office/officeart/2005/8/colors/accent1_2" csCatId="accent1" phldr="1"/>
      <dgm:spPr/>
      <dgm:t>
        <a:bodyPr/>
        <a:lstStyle/>
        <a:p>
          <a:endParaRPr lang="en-US"/>
        </a:p>
      </dgm:t>
    </dgm:pt>
    <dgm:pt modelId="{8A0FDD62-5ACB-4363-8100-7921DB27FED9}">
      <dgm:prSet phldrT="[Text]" custT="1"/>
      <dgm:spPr/>
      <dgm:t>
        <a:bodyPr/>
        <a:lstStyle/>
        <a:p>
          <a:r>
            <a:rPr lang="en-US" sz="1800" dirty="0"/>
            <a:t>Landfills</a:t>
          </a:r>
        </a:p>
      </dgm:t>
    </dgm:pt>
    <dgm:pt modelId="{2E0A18BD-4B57-45A2-B599-17A5236A0DBA}" type="parTrans" cxnId="{FFCB8E0E-83EF-4599-BF13-C986EE976DEB}">
      <dgm:prSet/>
      <dgm:spPr/>
      <dgm:t>
        <a:bodyPr/>
        <a:lstStyle/>
        <a:p>
          <a:endParaRPr lang="en-US" sz="2400"/>
        </a:p>
      </dgm:t>
    </dgm:pt>
    <dgm:pt modelId="{95404541-6FCE-499D-B544-6283CA283D12}" type="sibTrans" cxnId="{FFCB8E0E-83EF-4599-BF13-C986EE976DEB}">
      <dgm:prSet/>
      <dgm:spPr/>
      <dgm:t>
        <a:bodyPr/>
        <a:lstStyle/>
        <a:p>
          <a:endParaRPr lang="en-US" sz="2400"/>
        </a:p>
      </dgm:t>
    </dgm:pt>
    <dgm:pt modelId="{9C224AA8-5D6D-439F-A5FF-D80F3FA166E4}">
      <dgm:prSet phldrT="[Text]" custT="1"/>
      <dgm:spPr/>
      <dgm:t>
        <a:bodyPr/>
        <a:lstStyle/>
        <a:p>
          <a:r>
            <a:rPr lang="en-US" sz="1800"/>
            <a:t>Ash Monofill</a:t>
          </a:r>
        </a:p>
      </dgm:t>
    </dgm:pt>
    <dgm:pt modelId="{FE1183B8-299D-4DAE-9761-D4155ED0D626}" type="parTrans" cxnId="{E02BB2F0-87BB-483B-91A1-E7038189B78B}">
      <dgm:prSet/>
      <dgm:spPr/>
      <dgm:t>
        <a:bodyPr/>
        <a:lstStyle/>
        <a:p>
          <a:endParaRPr lang="en-US" sz="2400"/>
        </a:p>
      </dgm:t>
    </dgm:pt>
    <dgm:pt modelId="{46ECC135-E1CD-4BA3-940E-260EB4B089CC}" type="sibTrans" cxnId="{E02BB2F0-87BB-483B-91A1-E7038189B78B}">
      <dgm:prSet/>
      <dgm:spPr/>
      <dgm:t>
        <a:bodyPr/>
        <a:lstStyle/>
        <a:p>
          <a:endParaRPr lang="en-US" sz="2400"/>
        </a:p>
      </dgm:t>
    </dgm:pt>
    <dgm:pt modelId="{B487FD67-7267-482B-A536-C6D808E96D9C}">
      <dgm:prSet phldrT="[Text]" custT="1"/>
      <dgm:spPr>
        <a:solidFill>
          <a:schemeClr val="accent1"/>
        </a:solidFill>
      </dgm:spPr>
      <dgm:t>
        <a:bodyPr/>
        <a:lstStyle/>
        <a:p>
          <a:r>
            <a:rPr lang="en-US" sz="1800">
              <a:solidFill>
                <a:schemeClr val="bg1"/>
              </a:solidFill>
            </a:rPr>
            <a:t>Class I</a:t>
          </a:r>
        </a:p>
      </dgm:t>
    </dgm:pt>
    <dgm:pt modelId="{445E6ECC-BB0F-4772-A31E-5A2DA500E851}" type="parTrans" cxnId="{ED4D9E10-416E-403E-ADBA-09BE16C63D8D}">
      <dgm:prSet/>
      <dgm:spPr/>
      <dgm:t>
        <a:bodyPr/>
        <a:lstStyle/>
        <a:p>
          <a:endParaRPr lang="en-US" sz="2400"/>
        </a:p>
      </dgm:t>
    </dgm:pt>
    <dgm:pt modelId="{4EA9E5A2-9B4B-4D3F-A6ED-250E73837D57}" type="sibTrans" cxnId="{ED4D9E10-416E-403E-ADBA-09BE16C63D8D}">
      <dgm:prSet/>
      <dgm:spPr/>
      <dgm:t>
        <a:bodyPr/>
        <a:lstStyle/>
        <a:p>
          <a:endParaRPr lang="en-US" sz="2400"/>
        </a:p>
      </dgm:t>
    </dgm:pt>
    <dgm:pt modelId="{500687D9-0065-48BF-95F4-F2E85DEA36C5}">
      <dgm:prSet phldrT="[Text]" custT="1"/>
      <dgm:spPr/>
      <dgm:t>
        <a:bodyPr/>
        <a:lstStyle/>
        <a:p>
          <a:r>
            <a:rPr lang="en-US" sz="1800"/>
            <a:t>Class III</a:t>
          </a:r>
        </a:p>
      </dgm:t>
    </dgm:pt>
    <dgm:pt modelId="{D412B182-939A-4C07-BDA5-CE5C07BC0B2D}" type="parTrans" cxnId="{0BF568F5-7425-40FA-80D4-6CBF2F552140}">
      <dgm:prSet/>
      <dgm:spPr/>
      <dgm:t>
        <a:bodyPr/>
        <a:lstStyle/>
        <a:p>
          <a:endParaRPr lang="en-US" sz="2400"/>
        </a:p>
      </dgm:t>
    </dgm:pt>
    <dgm:pt modelId="{39DE803B-29D9-4A2A-A870-BF905220132E}" type="sibTrans" cxnId="{0BF568F5-7425-40FA-80D4-6CBF2F552140}">
      <dgm:prSet/>
      <dgm:spPr/>
      <dgm:t>
        <a:bodyPr/>
        <a:lstStyle/>
        <a:p>
          <a:endParaRPr lang="en-US" sz="2400"/>
        </a:p>
      </dgm:t>
    </dgm:pt>
    <dgm:pt modelId="{11C854FB-4807-4191-A106-FCE0853A2737}">
      <dgm:prSet phldrT="[Text]" custT="1"/>
      <dgm:spPr/>
      <dgm:t>
        <a:bodyPr/>
        <a:lstStyle/>
        <a:p>
          <a:r>
            <a:rPr lang="en-US" sz="1800"/>
            <a:t>CDD</a:t>
          </a:r>
        </a:p>
      </dgm:t>
    </dgm:pt>
    <dgm:pt modelId="{3594EC1A-C28A-40E2-9BA9-E7D01DC610A7}" type="parTrans" cxnId="{17A8E6CF-3A06-437C-8D91-FCA2757CAFE6}">
      <dgm:prSet/>
      <dgm:spPr/>
      <dgm:t>
        <a:bodyPr/>
        <a:lstStyle/>
        <a:p>
          <a:endParaRPr lang="en-US" sz="2400"/>
        </a:p>
      </dgm:t>
    </dgm:pt>
    <dgm:pt modelId="{0B6FC9C1-497E-44B2-BA05-986DBD9831AA}" type="sibTrans" cxnId="{17A8E6CF-3A06-437C-8D91-FCA2757CAFE6}">
      <dgm:prSet/>
      <dgm:spPr/>
      <dgm:t>
        <a:bodyPr/>
        <a:lstStyle/>
        <a:p>
          <a:endParaRPr lang="en-US" sz="2400"/>
        </a:p>
      </dgm:t>
    </dgm:pt>
    <dgm:pt modelId="{D09E3D4F-1D7D-42D1-986A-2D072940B2CA}">
      <dgm:prSet phldrT="[Text]" custT="1"/>
      <dgm:spPr>
        <a:solidFill>
          <a:schemeClr val="accent1"/>
        </a:solidFill>
      </dgm:spPr>
      <dgm:t>
        <a:bodyPr/>
        <a:lstStyle/>
        <a:p>
          <a:r>
            <a:rPr lang="en-US" sz="1800">
              <a:solidFill>
                <a:schemeClr val="bg1"/>
              </a:solidFill>
            </a:rPr>
            <a:t>Waste-to-Energy</a:t>
          </a:r>
        </a:p>
      </dgm:t>
    </dgm:pt>
    <dgm:pt modelId="{68ACF64D-A3E1-46BE-A0F8-EACFA27593B4}" type="parTrans" cxnId="{498BAEE2-7893-4D7B-95CC-F1C754C0CACB}">
      <dgm:prSet/>
      <dgm:spPr/>
      <dgm:t>
        <a:bodyPr/>
        <a:lstStyle/>
        <a:p>
          <a:endParaRPr lang="en-US" sz="2400"/>
        </a:p>
      </dgm:t>
    </dgm:pt>
    <dgm:pt modelId="{086D19BD-9679-4E1D-AB18-9C674F65C6F7}" type="sibTrans" cxnId="{498BAEE2-7893-4D7B-95CC-F1C754C0CACB}">
      <dgm:prSet/>
      <dgm:spPr/>
      <dgm:t>
        <a:bodyPr/>
        <a:lstStyle/>
        <a:p>
          <a:endParaRPr lang="en-US" sz="2400"/>
        </a:p>
      </dgm:t>
    </dgm:pt>
    <dgm:pt modelId="{6DAD5AF5-2F6C-40CF-B4A4-4535DCB1DE5D}" type="pres">
      <dgm:prSet presAssocID="{C14FF3FB-789E-4041-BAA4-8A5D3EF74394}" presName="hierChild1" presStyleCnt="0">
        <dgm:presLayoutVars>
          <dgm:orgChart val="1"/>
          <dgm:chPref val="1"/>
          <dgm:dir/>
          <dgm:animOne val="branch"/>
          <dgm:animLvl val="lvl"/>
          <dgm:resizeHandles/>
        </dgm:presLayoutVars>
      </dgm:prSet>
      <dgm:spPr/>
    </dgm:pt>
    <dgm:pt modelId="{9E669CAF-C666-4968-9C8A-A75CD735112E}" type="pres">
      <dgm:prSet presAssocID="{8A0FDD62-5ACB-4363-8100-7921DB27FED9}" presName="hierRoot1" presStyleCnt="0">
        <dgm:presLayoutVars>
          <dgm:hierBranch val="init"/>
        </dgm:presLayoutVars>
      </dgm:prSet>
      <dgm:spPr/>
    </dgm:pt>
    <dgm:pt modelId="{C9310B4B-0140-4156-88BB-BB8B405BA2F6}" type="pres">
      <dgm:prSet presAssocID="{8A0FDD62-5ACB-4363-8100-7921DB27FED9}" presName="rootComposite1" presStyleCnt="0"/>
      <dgm:spPr/>
    </dgm:pt>
    <dgm:pt modelId="{9243952B-3833-4F9A-A71B-0A59EE8FED19}" type="pres">
      <dgm:prSet presAssocID="{8A0FDD62-5ACB-4363-8100-7921DB27FED9}" presName="rootText1" presStyleLbl="node0" presStyleIdx="0" presStyleCnt="2">
        <dgm:presLayoutVars>
          <dgm:chPref val="3"/>
        </dgm:presLayoutVars>
      </dgm:prSet>
      <dgm:spPr/>
    </dgm:pt>
    <dgm:pt modelId="{4C951630-26BE-4FC2-B02A-6EABC31BCC02}" type="pres">
      <dgm:prSet presAssocID="{8A0FDD62-5ACB-4363-8100-7921DB27FED9}" presName="rootConnector1" presStyleLbl="node1" presStyleIdx="0" presStyleCnt="0"/>
      <dgm:spPr/>
    </dgm:pt>
    <dgm:pt modelId="{A9CBB20B-D2FF-462D-8365-7D562044133A}" type="pres">
      <dgm:prSet presAssocID="{8A0FDD62-5ACB-4363-8100-7921DB27FED9}" presName="hierChild2" presStyleCnt="0"/>
      <dgm:spPr/>
    </dgm:pt>
    <dgm:pt modelId="{C5E9805B-8734-43E5-87A9-3E4EDE6400A1}" type="pres">
      <dgm:prSet presAssocID="{FE1183B8-299D-4DAE-9761-D4155ED0D626}" presName="Name64" presStyleLbl="parChTrans1D2" presStyleIdx="0" presStyleCnt="4"/>
      <dgm:spPr/>
    </dgm:pt>
    <dgm:pt modelId="{59D565F5-CF79-4EC0-B001-75692E0C55A5}" type="pres">
      <dgm:prSet presAssocID="{9C224AA8-5D6D-439F-A5FF-D80F3FA166E4}" presName="hierRoot2" presStyleCnt="0">
        <dgm:presLayoutVars>
          <dgm:hierBranch val="init"/>
        </dgm:presLayoutVars>
      </dgm:prSet>
      <dgm:spPr/>
    </dgm:pt>
    <dgm:pt modelId="{FD1AFDEF-415B-41D7-A2B3-18097AE78CD0}" type="pres">
      <dgm:prSet presAssocID="{9C224AA8-5D6D-439F-A5FF-D80F3FA166E4}" presName="rootComposite" presStyleCnt="0"/>
      <dgm:spPr/>
    </dgm:pt>
    <dgm:pt modelId="{F6C5896B-E465-4949-89C8-FE4B715A7AA6}" type="pres">
      <dgm:prSet presAssocID="{9C224AA8-5D6D-439F-A5FF-D80F3FA166E4}" presName="rootText" presStyleLbl="node2" presStyleIdx="0" presStyleCnt="4">
        <dgm:presLayoutVars>
          <dgm:chPref val="3"/>
        </dgm:presLayoutVars>
      </dgm:prSet>
      <dgm:spPr/>
    </dgm:pt>
    <dgm:pt modelId="{E545B4FB-CAAE-4F67-8274-077F8989871C}" type="pres">
      <dgm:prSet presAssocID="{9C224AA8-5D6D-439F-A5FF-D80F3FA166E4}" presName="rootConnector" presStyleLbl="node2" presStyleIdx="0" presStyleCnt="4"/>
      <dgm:spPr/>
    </dgm:pt>
    <dgm:pt modelId="{12A0EF90-D8EB-4D76-A8C2-74FEB5F363FC}" type="pres">
      <dgm:prSet presAssocID="{9C224AA8-5D6D-439F-A5FF-D80F3FA166E4}" presName="hierChild4" presStyleCnt="0"/>
      <dgm:spPr/>
    </dgm:pt>
    <dgm:pt modelId="{945B86D7-60E4-41FF-9E22-41E01EACAF57}" type="pres">
      <dgm:prSet presAssocID="{9C224AA8-5D6D-439F-A5FF-D80F3FA166E4}" presName="hierChild5" presStyleCnt="0"/>
      <dgm:spPr/>
    </dgm:pt>
    <dgm:pt modelId="{072208BE-F468-4D92-91D9-C7A5020A5858}" type="pres">
      <dgm:prSet presAssocID="{445E6ECC-BB0F-4772-A31E-5A2DA500E851}" presName="Name64" presStyleLbl="parChTrans1D2" presStyleIdx="1" presStyleCnt="4"/>
      <dgm:spPr/>
    </dgm:pt>
    <dgm:pt modelId="{FE4E211E-805E-4926-9B50-E069108CDC74}" type="pres">
      <dgm:prSet presAssocID="{B487FD67-7267-482B-A536-C6D808E96D9C}" presName="hierRoot2" presStyleCnt="0">
        <dgm:presLayoutVars>
          <dgm:hierBranch val="init"/>
        </dgm:presLayoutVars>
      </dgm:prSet>
      <dgm:spPr/>
    </dgm:pt>
    <dgm:pt modelId="{05677B27-E7DD-4A6A-ACAA-B9350D6719BF}" type="pres">
      <dgm:prSet presAssocID="{B487FD67-7267-482B-A536-C6D808E96D9C}" presName="rootComposite" presStyleCnt="0"/>
      <dgm:spPr/>
    </dgm:pt>
    <dgm:pt modelId="{5F10370A-A9DD-44D6-A47F-F058C24F9C2F}" type="pres">
      <dgm:prSet presAssocID="{B487FD67-7267-482B-A536-C6D808E96D9C}" presName="rootText" presStyleLbl="node2" presStyleIdx="1" presStyleCnt="4">
        <dgm:presLayoutVars>
          <dgm:chPref val="3"/>
        </dgm:presLayoutVars>
      </dgm:prSet>
      <dgm:spPr/>
    </dgm:pt>
    <dgm:pt modelId="{A4C68761-9E3E-4D68-B6DB-BA502EBD0C16}" type="pres">
      <dgm:prSet presAssocID="{B487FD67-7267-482B-A536-C6D808E96D9C}" presName="rootConnector" presStyleLbl="node2" presStyleIdx="1" presStyleCnt="4"/>
      <dgm:spPr/>
    </dgm:pt>
    <dgm:pt modelId="{0C5EFA30-BCFC-439E-B1F2-B68DB79AC200}" type="pres">
      <dgm:prSet presAssocID="{B487FD67-7267-482B-A536-C6D808E96D9C}" presName="hierChild4" presStyleCnt="0"/>
      <dgm:spPr/>
    </dgm:pt>
    <dgm:pt modelId="{FE114DFA-BA97-40C0-9265-F7C1E69247D0}" type="pres">
      <dgm:prSet presAssocID="{B487FD67-7267-482B-A536-C6D808E96D9C}" presName="hierChild5" presStyleCnt="0"/>
      <dgm:spPr/>
    </dgm:pt>
    <dgm:pt modelId="{77BD919E-47EC-450F-A587-C259C150CD11}" type="pres">
      <dgm:prSet presAssocID="{D412B182-939A-4C07-BDA5-CE5C07BC0B2D}" presName="Name64" presStyleLbl="parChTrans1D2" presStyleIdx="2" presStyleCnt="4"/>
      <dgm:spPr/>
    </dgm:pt>
    <dgm:pt modelId="{A461B146-54EF-4F15-AA9B-3B2A6B85524B}" type="pres">
      <dgm:prSet presAssocID="{500687D9-0065-48BF-95F4-F2E85DEA36C5}" presName="hierRoot2" presStyleCnt="0">
        <dgm:presLayoutVars>
          <dgm:hierBranch val="init"/>
        </dgm:presLayoutVars>
      </dgm:prSet>
      <dgm:spPr/>
    </dgm:pt>
    <dgm:pt modelId="{48659850-4E23-4CE8-B3E4-25DB10213B00}" type="pres">
      <dgm:prSet presAssocID="{500687D9-0065-48BF-95F4-F2E85DEA36C5}" presName="rootComposite" presStyleCnt="0"/>
      <dgm:spPr/>
    </dgm:pt>
    <dgm:pt modelId="{69E3A919-74FB-480D-BB89-D9BE39E399E7}" type="pres">
      <dgm:prSet presAssocID="{500687D9-0065-48BF-95F4-F2E85DEA36C5}" presName="rootText" presStyleLbl="node2" presStyleIdx="2" presStyleCnt="4">
        <dgm:presLayoutVars>
          <dgm:chPref val="3"/>
        </dgm:presLayoutVars>
      </dgm:prSet>
      <dgm:spPr/>
    </dgm:pt>
    <dgm:pt modelId="{0240BFF0-FF4F-4C09-943F-D38D8171ED95}" type="pres">
      <dgm:prSet presAssocID="{500687D9-0065-48BF-95F4-F2E85DEA36C5}" presName="rootConnector" presStyleLbl="node2" presStyleIdx="2" presStyleCnt="4"/>
      <dgm:spPr/>
    </dgm:pt>
    <dgm:pt modelId="{0B9A7443-4860-4A0A-A343-BC94640D77DB}" type="pres">
      <dgm:prSet presAssocID="{500687D9-0065-48BF-95F4-F2E85DEA36C5}" presName="hierChild4" presStyleCnt="0"/>
      <dgm:spPr/>
    </dgm:pt>
    <dgm:pt modelId="{EE55C356-ECC5-49DC-82E3-FBD0AC214CCA}" type="pres">
      <dgm:prSet presAssocID="{500687D9-0065-48BF-95F4-F2E85DEA36C5}" presName="hierChild5" presStyleCnt="0"/>
      <dgm:spPr/>
    </dgm:pt>
    <dgm:pt modelId="{6B0F7A21-8A71-4319-AC2E-D81074B65CBC}" type="pres">
      <dgm:prSet presAssocID="{3594EC1A-C28A-40E2-9BA9-E7D01DC610A7}" presName="Name64" presStyleLbl="parChTrans1D2" presStyleIdx="3" presStyleCnt="4"/>
      <dgm:spPr/>
    </dgm:pt>
    <dgm:pt modelId="{9A318E4F-E2D8-4796-BA44-A1238E956757}" type="pres">
      <dgm:prSet presAssocID="{11C854FB-4807-4191-A106-FCE0853A2737}" presName="hierRoot2" presStyleCnt="0">
        <dgm:presLayoutVars>
          <dgm:hierBranch val="init"/>
        </dgm:presLayoutVars>
      </dgm:prSet>
      <dgm:spPr/>
    </dgm:pt>
    <dgm:pt modelId="{80AC5910-FBB1-45A9-ACC3-F8050A7CCCD1}" type="pres">
      <dgm:prSet presAssocID="{11C854FB-4807-4191-A106-FCE0853A2737}" presName="rootComposite" presStyleCnt="0"/>
      <dgm:spPr/>
    </dgm:pt>
    <dgm:pt modelId="{B3171B48-87B5-412F-8372-E3F8BFD01636}" type="pres">
      <dgm:prSet presAssocID="{11C854FB-4807-4191-A106-FCE0853A2737}" presName="rootText" presStyleLbl="node2" presStyleIdx="3" presStyleCnt="4">
        <dgm:presLayoutVars>
          <dgm:chPref val="3"/>
        </dgm:presLayoutVars>
      </dgm:prSet>
      <dgm:spPr/>
    </dgm:pt>
    <dgm:pt modelId="{0B06F98C-C427-494C-A0A1-C26D1053C203}" type="pres">
      <dgm:prSet presAssocID="{11C854FB-4807-4191-A106-FCE0853A2737}" presName="rootConnector" presStyleLbl="node2" presStyleIdx="3" presStyleCnt="4"/>
      <dgm:spPr/>
    </dgm:pt>
    <dgm:pt modelId="{6325D762-2604-42FB-A526-0F0EE7A46B07}" type="pres">
      <dgm:prSet presAssocID="{11C854FB-4807-4191-A106-FCE0853A2737}" presName="hierChild4" presStyleCnt="0"/>
      <dgm:spPr/>
    </dgm:pt>
    <dgm:pt modelId="{335F8B26-6C68-450B-9CDE-CF305CB6D2F4}" type="pres">
      <dgm:prSet presAssocID="{11C854FB-4807-4191-A106-FCE0853A2737}" presName="hierChild5" presStyleCnt="0"/>
      <dgm:spPr/>
    </dgm:pt>
    <dgm:pt modelId="{BB1C3144-AF76-4C1A-AC16-5745FE3D6FF4}" type="pres">
      <dgm:prSet presAssocID="{8A0FDD62-5ACB-4363-8100-7921DB27FED9}" presName="hierChild3" presStyleCnt="0"/>
      <dgm:spPr/>
    </dgm:pt>
    <dgm:pt modelId="{E18B88DC-BC5B-4269-8303-2816E8A33297}" type="pres">
      <dgm:prSet presAssocID="{D09E3D4F-1D7D-42D1-986A-2D072940B2CA}" presName="hierRoot1" presStyleCnt="0">
        <dgm:presLayoutVars>
          <dgm:hierBranch val="init"/>
        </dgm:presLayoutVars>
      </dgm:prSet>
      <dgm:spPr/>
    </dgm:pt>
    <dgm:pt modelId="{7E1EFAEC-C6C5-4489-9136-BD7B0956B289}" type="pres">
      <dgm:prSet presAssocID="{D09E3D4F-1D7D-42D1-986A-2D072940B2CA}" presName="rootComposite1" presStyleCnt="0"/>
      <dgm:spPr/>
    </dgm:pt>
    <dgm:pt modelId="{8F43BE6E-166A-4736-B495-0F0C5F9C5A94}" type="pres">
      <dgm:prSet presAssocID="{D09E3D4F-1D7D-42D1-986A-2D072940B2CA}" presName="rootText1" presStyleLbl="node0" presStyleIdx="1" presStyleCnt="2" custScaleX="220215">
        <dgm:presLayoutVars>
          <dgm:chPref val="3"/>
        </dgm:presLayoutVars>
      </dgm:prSet>
      <dgm:spPr/>
    </dgm:pt>
    <dgm:pt modelId="{65E7425D-55D2-4A95-85AE-4170C0981629}" type="pres">
      <dgm:prSet presAssocID="{D09E3D4F-1D7D-42D1-986A-2D072940B2CA}" presName="rootConnector1" presStyleLbl="node1" presStyleIdx="0" presStyleCnt="0"/>
      <dgm:spPr/>
    </dgm:pt>
    <dgm:pt modelId="{0A91E4F6-AD54-49CF-9C53-9262E286DF5E}" type="pres">
      <dgm:prSet presAssocID="{D09E3D4F-1D7D-42D1-986A-2D072940B2CA}" presName="hierChild2" presStyleCnt="0"/>
      <dgm:spPr/>
    </dgm:pt>
    <dgm:pt modelId="{3AA06DB7-3CF2-4B80-A567-B41E54DCF106}" type="pres">
      <dgm:prSet presAssocID="{D09E3D4F-1D7D-42D1-986A-2D072940B2CA}" presName="hierChild3" presStyleCnt="0"/>
      <dgm:spPr/>
    </dgm:pt>
  </dgm:ptLst>
  <dgm:cxnLst>
    <dgm:cxn modelId="{64557A04-F32A-4FDF-8F5A-BE8516AA6E01}" type="presOf" srcId="{3594EC1A-C28A-40E2-9BA9-E7D01DC610A7}" destId="{6B0F7A21-8A71-4319-AC2E-D81074B65CBC}" srcOrd="0" destOrd="0" presId="urn:microsoft.com/office/officeart/2009/3/layout/HorizontalOrganizationChart"/>
    <dgm:cxn modelId="{FFCB8E0E-83EF-4599-BF13-C986EE976DEB}" srcId="{C14FF3FB-789E-4041-BAA4-8A5D3EF74394}" destId="{8A0FDD62-5ACB-4363-8100-7921DB27FED9}" srcOrd="0" destOrd="0" parTransId="{2E0A18BD-4B57-45A2-B599-17A5236A0DBA}" sibTransId="{95404541-6FCE-499D-B544-6283CA283D12}"/>
    <dgm:cxn modelId="{ED4D9E10-416E-403E-ADBA-09BE16C63D8D}" srcId="{8A0FDD62-5ACB-4363-8100-7921DB27FED9}" destId="{B487FD67-7267-482B-A536-C6D808E96D9C}" srcOrd="1" destOrd="0" parTransId="{445E6ECC-BB0F-4772-A31E-5A2DA500E851}" sibTransId="{4EA9E5A2-9B4B-4D3F-A6ED-250E73837D57}"/>
    <dgm:cxn modelId="{634DAF19-D7E1-4A13-AAE1-0DE3F1B14538}" type="presOf" srcId="{11C854FB-4807-4191-A106-FCE0853A2737}" destId="{B3171B48-87B5-412F-8372-E3F8BFD01636}" srcOrd="0" destOrd="0" presId="urn:microsoft.com/office/officeart/2009/3/layout/HorizontalOrganizationChart"/>
    <dgm:cxn modelId="{E8A0B528-C4D8-4C91-A789-0A0697D95969}" type="presOf" srcId="{11C854FB-4807-4191-A106-FCE0853A2737}" destId="{0B06F98C-C427-494C-A0A1-C26D1053C203}" srcOrd="1" destOrd="0" presId="urn:microsoft.com/office/officeart/2009/3/layout/HorizontalOrganizationChart"/>
    <dgm:cxn modelId="{F4ABB83C-24C7-4711-A232-B64194FD2448}" type="presOf" srcId="{FE1183B8-299D-4DAE-9761-D4155ED0D626}" destId="{C5E9805B-8734-43E5-87A9-3E4EDE6400A1}" srcOrd="0" destOrd="0" presId="urn:microsoft.com/office/officeart/2009/3/layout/HorizontalOrganizationChart"/>
    <dgm:cxn modelId="{27204B5F-1CC0-471D-A850-D419F147704F}" type="presOf" srcId="{D412B182-939A-4C07-BDA5-CE5C07BC0B2D}" destId="{77BD919E-47EC-450F-A587-C259C150CD11}" srcOrd="0" destOrd="0" presId="urn:microsoft.com/office/officeart/2009/3/layout/HorizontalOrganizationChart"/>
    <dgm:cxn modelId="{500DA64C-B97D-468B-8458-53084E7E3F40}" type="presOf" srcId="{500687D9-0065-48BF-95F4-F2E85DEA36C5}" destId="{0240BFF0-FF4F-4C09-943F-D38D8171ED95}" srcOrd="1" destOrd="0" presId="urn:microsoft.com/office/officeart/2009/3/layout/HorizontalOrganizationChart"/>
    <dgm:cxn modelId="{418DDD72-5F93-4278-B9A7-B366FC5F831B}" type="presOf" srcId="{D09E3D4F-1D7D-42D1-986A-2D072940B2CA}" destId="{65E7425D-55D2-4A95-85AE-4170C0981629}" srcOrd="1" destOrd="0" presId="urn:microsoft.com/office/officeart/2009/3/layout/HorizontalOrganizationChart"/>
    <dgm:cxn modelId="{37169C73-803B-4B53-8056-7D86DF425149}" type="presOf" srcId="{D09E3D4F-1D7D-42D1-986A-2D072940B2CA}" destId="{8F43BE6E-166A-4736-B495-0F0C5F9C5A94}" srcOrd="0" destOrd="0" presId="urn:microsoft.com/office/officeart/2009/3/layout/HorizontalOrganizationChart"/>
    <dgm:cxn modelId="{80630C54-088D-44D6-B58F-EEFCC41260FB}" type="presOf" srcId="{B487FD67-7267-482B-A536-C6D808E96D9C}" destId="{A4C68761-9E3E-4D68-B6DB-BA502EBD0C16}" srcOrd="1" destOrd="0" presId="urn:microsoft.com/office/officeart/2009/3/layout/HorizontalOrganizationChart"/>
    <dgm:cxn modelId="{DAB9C179-CF84-4B9B-A240-A23B5E2EABF7}" type="presOf" srcId="{9C224AA8-5D6D-439F-A5FF-D80F3FA166E4}" destId="{E545B4FB-CAAE-4F67-8274-077F8989871C}" srcOrd="1" destOrd="0" presId="urn:microsoft.com/office/officeart/2009/3/layout/HorizontalOrganizationChart"/>
    <dgm:cxn modelId="{3A4A7F7C-3773-44AD-831D-2EEC340A03E6}" type="presOf" srcId="{C14FF3FB-789E-4041-BAA4-8A5D3EF74394}" destId="{6DAD5AF5-2F6C-40CF-B4A4-4535DCB1DE5D}" srcOrd="0" destOrd="0" presId="urn:microsoft.com/office/officeart/2009/3/layout/HorizontalOrganizationChart"/>
    <dgm:cxn modelId="{B5728EA7-77BF-4A44-8D43-F6E7F6B898D8}" type="presOf" srcId="{500687D9-0065-48BF-95F4-F2E85DEA36C5}" destId="{69E3A919-74FB-480D-BB89-D9BE39E399E7}" srcOrd="0" destOrd="0" presId="urn:microsoft.com/office/officeart/2009/3/layout/HorizontalOrganizationChart"/>
    <dgm:cxn modelId="{2AB946AA-81B9-471D-9447-2C92C3DA6716}" type="presOf" srcId="{8A0FDD62-5ACB-4363-8100-7921DB27FED9}" destId="{4C951630-26BE-4FC2-B02A-6EABC31BCC02}" srcOrd="1" destOrd="0" presId="urn:microsoft.com/office/officeart/2009/3/layout/HorizontalOrganizationChart"/>
    <dgm:cxn modelId="{9CB71FB1-4091-4499-A694-E01ECE5458BA}" type="presOf" srcId="{8A0FDD62-5ACB-4363-8100-7921DB27FED9}" destId="{9243952B-3833-4F9A-A71B-0A59EE8FED19}" srcOrd="0" destOrd="0" presId="urn:microsoft.com/office/officeart/2009/3/layout/HorizontalOrganizationChart"/>
    <dgm:cxn modelId="{CD1619B7-958E-47B2-80DA-28F385F85BF6}" type="presOf" srcId="{B487FD67-7267-482B-A536-C6D808E96D9C}" destId="{5F10370A-A9DD-44D6-A47F-F058C24F9C2F}" srcOrd="0" destOrd="0" presId="urn:microsoft.com/office/officeart/2009/3/layout/HorizontalOrganizationChart"/>
    <dgm:cxn modelId="{17A8E6CF-3A06-437C-8D91-FCA2757CAFE6}" srcId="{8A0FDD62-5ACB-4363-8100-7921DB27FED9}" destId="{11C854FB-4807-4191-A106-FCE0853A2737}" srcOrd="3" destOrd="0" parTransId="{3594EC1A-C28A-40E2-9BA9-E7D01DC610A7}" sibTransId="{0B6FC9C1-497E-44B2-BA05-986DBD9831AA}"/>
    <dgm:cxn modelId="{471993E1-B340-4A72-921B-81101BD0227A}" type="presOf" srcId="{9C224AA8-5D6D-439F-A5FF-D80F3FA166E4}" destId="{F6C5896B-E465-4949-89C8-FE4B715A7AA6}" srcOrd="0" destOrd="0" presId="urn:microsoft.com/office/officeart/2009/3/layout/HorizontalOrganizationChart"/>
    <dgm:cxn modelId="{498BAEE2-7893-4D7B-95CC-F1C754C0CACB}" srcId="{C14FF3FB-789E-4041-BAA4-8A5D3EF74394}" destId="{D09E3D4F-1D7D-42D1-986A-2D072940B2CA}" srcOrd="1" destOrd="0" parTransId="{68ACF64D-A3E1-46BE-A0F8-EACFA27593B4}" sibTransId="{086D19BD-9679-4E1D-AB18-9C674F65C6F7}"/>
    <dgm:cxn modelId="{D1621CEF-9F93-4C79-B39F-CBA1E394B3B0}" type="presOf" srcId="{445E6ECC-BB0F-4772-A31E-5A2DA500E851}" destId="{072208BE-F468-4D92-91D9-C7A5020A5858}" srcOrd="0" destOrd="0" presId="urn:microsoft.com/office/officeart/2009/3/layout/HorizontalOrganizationChart"/>
    <dgm:cxn modelId="{E02BB2F0-87BB-483B-91A1-E7038189B78B}" srcId="{8A0FDD62-5ACB-4363-8100-7921DB27FED9}" destId="{9C224AA8-5D6D-439F-A5FF-D80F3FA166E4}" srcOrd="0" destOrd="0" parTransId="{FE1183B8-299D-4DAE-9761-D4155ED0D626}" sibTransId="{46ECC135-E1CD-4BA3-940E-260EB4B089CC}"/>
    <dgm:cxn modelId="{0BF568F5-7425-40FA-80D4-6CBF2F552140}" srcId="{8A0FDD62-5ACB-4363-8100-7921DB27FED9}" destId="{500687D9-0065-48BF-95F4-F2E85DEA36C5}" srcOrd="2" destOrd="0" parTransId="{D412B182-939A-4C07-BDA5-CE5C07BC0B2D}" sibTransId="{39DE803B-29D9-4A2A-A870-BF905220132E}"/>
    <dgm:cxn modelId="{1BBA2148-F184-41BE-A4AA-FF4AE6E11402}" type="presParOf" srcId="{6DAD5AF5-2F6C-40CF-B4A4-4535DCB1DE5D}" destId="{9E669CAF-C666-4968-9C8A-A75CD735112E}" srcOrd="0" destOrd="0" presId="urn:microsoft.com/office/officeart/2009/3/layout/HorizontalOrganizationChart"/>
    <dgm:cxn modelId="{CD4A52A8-BB30-46B1-A09C-FA3E5962EAC3}" type="presParOf" srcId="{9E669CAF-C666-4968-9C8A-A75CD735112E}" destId="{C9310B4B-0140-4156-88BB-BB8B405BA2F6}" srcOrd="0" destOrd="0" presId="urn:microsoft.com/office/officeart/2009/3/layout/HorizontalOrganizationChart"/>
    <dgm:cxn modelId="{00FEEC05-1D06-4F50-9D37-E227647C0275}" type="presParOf" srcId="{C9310B4B-0140-4156-88BB-BB8B405BA2F6}" destId="{9243952B-3833-4F9A-A71B-0A59EE8FED19}" srcOrd="0" destOrd="0" presId="urn:microsoft.com/office/officeart/2009/3/layout/HorizontalOrganizationChart"/>
    <dgm:cxn modelId="{61330E62-BE84-4CF8-B87D-76F69F8989F7}" type="presParOf" srcId="{C9310B4B-0140-4156-88BB-BB8B405BA2F6}" destId="{4C951630-26BE-4FC2-B02A-6EABC31BCC02}" srcOrd="1" destOrd="0" presId="urn:microsoft.com/office/officeart/2009/3/layout/HorizontalOrganizationChart"/>
    <dgm:cxn modelId="{2CE91F4A-E069-4DC6-AEE5-7A68566C91BE}" type="presParOf" srcId="{9E669CAF-C666-4968-9C8A-A75CD735112E}" destId="{A9CBB20B-D2FF-462D-8365-7D562044133A}" srcOrd="1" destOrd="0" presId="urn:microsoft.com/office/officeart/2009/3/layout/HorizontalOrganizationChart"/>
    <dgm:cxn modelId="{38FD33C2-E9ED-421A-AB97-66306F9C9EA4}" type="presParOf" srcId="{A9CBB20B-D2FF-462D-8365-7D562044133A}" destId="{C5E9805B-8734-43E5-87A9-3E4EDE6400A1}" srcOrd="0" destOrd="0" presId="urn:microsoft.com/office/officeart/2009/3/layout/HorizontalOrganizationChart"/>
    <dgm:cxn modelId="{AB331918-CE8E-4BD5-8F39-5A78E4F37DF3}" type="presParOf" srcId="{A9CBB20B-D2FF-462D-8365-7D562044133A}" destId="{59D565F5-CF79-4EC0-B001-75692E0C55A5}" srcOrd="1" destOrd="0" presId="urn:microsoft.com/office/officeart/2009/3/layout/HorizontalOrganizationChart"/>
    <dgm:cxn modelId="{C0A68D2F-44EF-4A10-AB34-46A774F23A22}" type="presParOf" srcId="{59D565F5-CF79-4EC0-B001-75692E0C55A5}" destId="{FD1AFDEF-415B-41D7-A2B3-18097AE78CD0}" srcOrd="0" destOrd="0" presId="urn:microsoft.com/office/officeart/2009/3/layout/HorizontalOrganizationChart"/>
    <dgm:cxn modelId="{C91D4CE7-12AC-4F90-9AFD-D0BE248578DB}" type="presParOf" srcId="{FD1AFDEF-415B-41D7-A2B3-18097AE78CD0}" destId="{F6C5896B-E465-4949-89C8-FE4B715A7AA6}" srcOrd="0" destOrd="0" presId="urn:microsoft.com/office/officeart/2009/3/layout/HorizontalOrganizationChart"/>
    <dgm:cxn modelId="{7D5BFA1F-51B3-46A7-B782-3C218484186E}" type="presParOf" srcId="{FD1AFDEF-415B-41D7-A2B3-18097AE78CD0}" destId="{E545B4FB-CAAE-4F67-8274-077F8989871C}" srcOrd="1" destOrd="0" presId="urn:microsoft.com/office/officeart/2009/3/layout/HorizontalOrganizationChart"/>
    <dgm:cxn modelId="{2DDC45EE-5C4F-471D-B9E6-165EED17ADD7}" type="presParOf" srcId="{59D565F5-CF79-4EC0-B001-75692E0C55A5}" destId="{12A0EF90-D8EB-4D76-A8C2-74FEB5F363FC}" srcOrd="1" destOrd="0" presId="urn:microsoft.com/office/officeart/2009/3/layout/HorizontalOrganizationChart"/>
    <dgm:cxn modelId="{DF3D3A8F-F7E9-4699-A141-CF0E8EA8347E}" type="presParOf" srcId="{59D565F5-CF79-4EC0-B001-75692E0C55A5}" destId="{945B86D7-60E4-41FF-9E22-41E01EACAF57}" srcOrd="2" destOrd="0" presId="urn:microsoft.com/office/officeart/2009/3/layout/HorizontalOrganizationChart"/>
    <dgm:cxn modelId="{41B646CF-43D0-49A0-90B8-A4F42031BB89}" type="presParOf" srcId="{A9CBB20B-D2FF-462D-8365-7D562044133A}" destId="{072208BE-F468-4D92-91D9-C7A5020A5858}" srcOrd="2" destOrd="0" presId="urn:microsoft.com/office/officeart/2009/3/layout/HorizontalOrganizationChart"/>
    <dgm:cxn modelId="{A525406A-0F7B-4113-BEE8-B56386FF1682}" type="presParOf" srcId="{A9CBB20B-D2FF-462D-8365-7D562044133A}" destId="{FE4E211E-805E-4926-9B50-E069108CDC74}" srcOrd="3" destOrd="0" presId="urn:microsoft.com/office/officeart/2009/3/layout/HorizontalOrganizationChart"/>
    <dgm:cxn modelId="{5637D8A9-C7D1-432E-98EE-DF47A1B8E581}" type="presParOf" srcId="{FE4E211E-805E-4926-9B50-E069108CDC74}" destId="{05677B27-E7DD-4A6A-ACAA-B9350D6719BF}" srcOrd="0" destOrd="0" presId="urn:microsoft.com/office/officeart/2009/3/layout/HorizontalOrganizationChart"/>
    <dgm:cxn modelId="{4A5E9A7E-9FD9-4D5B-AB44-6F1DD2825AA4}" type="presParOf" srcId="{05677B27-E7DD-4A6A-ACAA-B9350D6719BF}" destId="{5F10370A-A9DD-44D6-A47F-F058C24F9C2F}" srcOrd="0" destOrd="0" presId="urn:microsoft.com/office/officeart/2009/3/layout/HorizontalOrganizationChart"/>
    <dgm:cxn modelId="{F57B5992-1D67-429B-BF9B-6D8B841EF545}" type="presParOf" srcId="{05677B27-E7DD-4A6A-ACAA-B9350D6719BF}" destId="{A4C68761-9E3E-4D68-B6DB-BA502EBD0C16}" srcOrd="1" destOrd="0" presId="urn:microsoft.com/office/officeart/2009/3/layout/HorizontalOrganizationChart"/>
    <dgm:cxn modelId="{66B15C5B-023A-43A1-8EB0-F8A6B75F74D8}" type="presParOf" srcId="{FE4E211E-805E-4926-9B50-E069108CDC74}" destId="{0C5EFA30-BCFC-439E-B1F2-B68DB79AC200}" srcOrd="1" destOrd="0" presId="urn:microsoft.com/office/officeart/2009/3/layout/HorizontalOrganizationChart"/>
    <dgm:cxn modelId="{B947C541-9009-4D98-9547-EE14F5D16A10}" type="presParOf" srcId="{FE4E211E-805E-4926-9B50-E069108CDC74}" destId="{FE114DFA-BA97-40C0-9265-F7C1E69247D0}" srcOrd="2" destOrd="0" presId="urn:microsoft.com/office/officeart/2009/3/layout/HorizontalOrganizationChart"/>
    <dgm:cxn modelId="{883BE747-5EEB-4CB5-BE31-553541FA473A}" type="presParOf" srcId="{A9CBB20B-D2FF-462D-8365-7D562044133A}" destId="{77BD919E-47EC-450F-A587-C259C150CD11}" srcOrd="4" destOrd="0" presId="urn:microsoft.com/office/officeart/2009/3/layout/HorizontalOrganizationChart"/>
    <dgm:cxn modelId="{2D9EC5A3-2D8B-4BE9-9EF4-930B6B75C677}" type="presParOf" srcId="{A9CBB20B-D2FF-462D-8365-7D562044133A}" destId="{A461B146-54EF-4F15-AA9B-3B2A6B85524B}" srcOrd="5" destOrd="0" presId="urn:microsoft.com/office/officeart/2009/3/layout/HorizontalOrganizationChart"/>
    <dgm:cxn modelId="{99CF503B-EF2E-4958-B5CF-5B8059B0AFF9}" type="presParOf" srcId="{A461B146-54EF-4F15-AA9B-3B2A6B85524B}" destId="{48659850-4E23-4CE8-B3E4-25DB10213B00}" srcOrd="0" destOrd="0" presId="urn:microsoft.com/office/officeart/2009/3/layout/HorizontalOrganizationChart"/>
    <dgm:cxn modelId="{09A0D2CE-E99C-4000-A62A-939A19CB1956}" type="presParOf" srcId="{48659850-4E23-4CE8-B3E4-25DB10213B00}" destId="{69E3A919-74FB-480D-BB89-D9BE39E399E7}" srcOrd="0" destOrd="0" presId="urn:microsoft.com/office/officeart/2009/3/layout/HorizontalOrganizationChart"/>
    <dgm:cxn modelId="{983D0D3C-0BB9-4D1F-AF50-69B826F86D59}" type="presParOf" srcId="{48659850-4E23-4CE8-B3E4-25DB10213B00}" destId="{0240BFF0-FF4F-4C09-943F-D38D8171ED95}" srcOrd="1" destOrd="0" presId="urn:microsoft.com/office/officeart/2009/3/layout/HorizontalOrganizationChart"/>
    <dgm:cxn modelId="{EAA1FA69-59EA-452A-9A14-543F218D4AAD}" type="presParOf" srcId="{A461B146-54EF-4F15-AA9B-3B2A6B85524B}" destId="{0B9A7443-4860-4A0A-A343-BC94640D77DB}" srcOrd="1" destOrd="0" presId="urn:microsoft.com/office/officeart/2009/3/layout/HorizontalOrganizationChart"/>
    <dgm:cxn modelId="{61D964A9-B53E-4B0B-A159-747F1F3508E5}" type="presParOf" srcId="{A461B146-54EF-4F15-AA9B-3B2A6B85524B}" destId="{EE55C356-ECC5-49DC-82E3-FBD0AC214CCA}" srcOrd="2" destOrd="0" presId="urn:microsoft.com/office/officeart/2009/3/layout/HorizontalOrganizationChart"/>
    <dgm:cxn modelId="{5608B8D6-A8F3-4E76-B41E-395586BFE99F}" type="presParOf" srcId="{A9CBB20B-D2FF-462D-8365-7D562044133A}" destId="{6B0F7A21-8A71-4319-AC2E-D81074B65CBC}" srcOrd="6" destOrd="0" presId="urn:microsoft.com/office/officeart/2009/3/layout/HorizontalOrganizationChart"/>
    <dgm:cxn modelId="{C84EB760-A297-40B1-855F-17038CB88F54}" type="presParOf" srcId="{A9CBB20B-D2FF-462D-8365-7D562044133A}" destId="{9A318E4F-E2D8-4796-BA44-A1238E956757}" srcOrd="7" destOrd="0" presId="urn:microsoft.com/office/officeart/2009/3/layout/HorizontalOrganizationChart"/>
    <dgm:cxn modelId="{108DC13D-B7B4-4DB8-9A37-304BD9FD15FE}" type="presParOf" srcId="{9A318E4F-E2D8-4796-BA44-A1238E956757}" destId="{80AC5910-FBB1-45A9-ACC3-F8050A7CCCD1}" srcOrd="0" destOrd="0" presId="urn:microsoft.com/office/officeart/2009/3/layout/HorizontalOrganizationChart"/>
    <dgm:cxn modelId="{9379DFA1-2ACB-4931-A5A3-0041775C2394}" type="presParOf" srcId="{80AC5910-FBB1-45A9-ACC3-F8050A7CCCD1}" destId="{B3171B48-87B5-412F-8372-E3F8BFD01636}" srcOrd="0" destOrd="0" presId="urn:microsoft.com/office/officeart/2009/3/layout/HorizontalOrganizationChart"/>
    <dgm:cxn modelId="{B8D12E00-A2B2-47FC-819B-72511051FC14}" type="presParOf" srcId="{80AC5910-FBB1-45A9-ACC3-F8050A7CCCD1}" destId="{0B06F98C-C427-494C-A0A1-C26D1053C203}" srcOrd="1" destOrd="0" presId="urn:microsoft.com/office/officeart/2009/3/layout/HorizontalOrganizationChart"/>
    <dgm:cxn modelId="{CBD3CA40-F1B2-48B9-B1F2-D73874ED0A11}" type="presParOf" srcId="{9A318E4F-E2D8-4796-BA44-A1238E956757}" destId="{6325D762-2604-42FB-A526-0F0EE7A46B07}" srcOrd="1" destOrd="0" presId="urn:microsoft.com/office/officeart/2009/3/layout/HorizontalOrganizationChart"/>
    <dgm:cxn modelId="{9138CD50-545A-4C75-8CEE-81298912B487}" type="presParOf" srcId="{9A318E4F-E2D8-4796-BA44-A1238E956757}" destId="{335F8B26-6C68-450B-9CDE-CF305CB6D2F4}" srcOrd="2" destOrd="0" presId="urn:microsoft.com/office/officeart/2009/3/layout/HorizontalOrganizationChart"/>
    <dgm:cxn modelId="{2EEB8B91-47BD-4CBB-BF41-68D9D0249310}" type="presParOf" srcId="{9E669CAF-C666-4968-9C8A-A75CD735112E}" destId="{BB1C3144-AF76-4C1A-AC16-5745FE3D6FF4}" srcOrd="2" destOrd="0" presId="urn:microsoft.com/office/officeart/2009/3/layout/HorizontalOrganizationChart"/>
    <dgm:cxn modelId="{955AEF40-4F3F-4537-AF01-8943C55F9F46}" type="presParOf" srcId="{6DAD5AF5-2F6C-40CF-B4A4-4535DCB1DE5D}" destId="{E18B88DC-BC5B-4269-8303-2816E8A33297}" srcOrd="1" destOrd="0" presId="urn:microsoft.com/office/officeart/2009/3/layout/HorizontalOrganizationChart"/>
    <dgm:cxn modelId="{E2C7FD41-5A95-4129-949B-E52C827BCFEE}" type="presParOf" srcId="{E18B88DC-BC5B-4269-8303-2816E8A33297}" destId="{7E1EFAEC-C6C5-4489-9136-BD7B0956B289}" srcOrd="0" destOrd="0" presId="urn:microsoft.com/office/officeart/2009/3/layout/HorizontalOrganizationChart"/>
    <dgm:cxn modelId="{BEDF551C-3DAF-4BD3-8D74-32D5C90B7E44}" type="presParOf" srcId="{7E1EFAEC-C6C5-4489-9136-BD7B0956B289}" destId="{8F43BE6E-166A-4736-B495-0F0C5F9C5A94}" srcOrd="0" destOrd="0" presId="urn:microsoft.com/office/officeart/2009/3/layout/HorizontalOrganizationChart"/>
    <dgm:cxn modelId="{3AF3451C-B360-45D9-87AD-F22BD0B2F8A0}" type="presParOf" srcId="{7E1EFAEC-C6C5-4489-9136-BD7B0956B289}" destId="{65E7425D-55D2-4A95-85AE-4170C0981629}" srcOrd="1" destOrd="0" presId="urn:microsoft.com/office/officeart/2009/3/layout/HorizontalOrganizationChart"/>
    <dgm:cxn modelId="{84F8506D-BB3A-45DD-A804-FF6EF4A34DF4}" type="presParOf" srcId="{E18B88DC-BC5B-4269-8303-2816E8A33297}" destId="{0A91E4F6-AD54-49CF-9C53-9262E286DF5E}" srcOrd="1" destOrd="0" presId="urn:microsoft.com/office/officeart/2009/3/layout/HorizontalOrganizationChart"/>
    <dgm:cxn modelId="{3777CB0E-6951-496D-ABF3-8AE7E90A2F0F}" type="presParOf" srcId="{E18B88DC-BC5B-4269-8303-2816E8A33297}" destId="{3AA06DB7-3CF2-4B80-A567-B41E54DCF106}" srcOrd="2" destOrd="0" presId="urn:microsoft.com/office/officeart/2009/3/layout/HorizontalOrganizationChart"/>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C14FF3FB-789E-4041-BAA4-8A5D3EF74394}" type="doc">
      <dgm:prSet loTypeId="urn:microsoft.com/office/officeart/2009/3/layout/HorizontalOrganizationChart" loCatId="hierarchy" qsTypeId="urn:microsoft.com/office/officeart/2005/8/quickstyle/simple1" qsCatId="simple" csTypeId="urn:microsoft.com/office/officeart/2005/8/colors/accent1_2" csCatId="accent1" phldr="1"/>
      <dgm:spPr/>
      <dgm:t>
        <a:bodyPr/>
        <a:lstStyle/>
        <a:p>
          <a:endParaRPr lang="en-US"/>
        </a:p>
      </dgm:t>
    </dgm:pt>
    <dgm:pt modelId="{8A0FDD62-5ACB-4363-8100-7921DB27FED9}">
      <dgm:prSet phldrT="[Text]" custT="1"/>
      <dgm:spPr>
        <a:solidFill>
          <a:srgbClr val="FDF69C"/>
        </a:solidFill>
      </dgm:spPr>
      <dgm:t>
        <a:bodyPr/>
        <a:lstStyle/>
        <a:p>
          <a:r>
            <a:rPr lang="en-US" sz="1800" dirty="0">
              <a:solidFill>
                <a:schemeClr val="tx1"/>
              </a:solidFill>
            </a:rPr>
            <a:t>Recycling</a:t>
          </a:r>
        </a:p>
      </dgm:t>
    </dgm:pt>
    <dgm:pt modelId="{2E0A18BD-4B57-45A2-B599-17A5236A0DBA}" type="parTrans" cxnId="{FFCB8E0E-83EF-4599-BF13-C986EE976DEB}">
      <dgm:prSet/>
      <dgm:spPr/>
      <dgm:t>
        <a:bodyPr/>
        <a:lstStyle/>
        <a:p>
          <a:endParaRPr lang="en-US" sz="1800"/>
        </a:p>
      </dgm:t>
    </dgm:pt>
    <dgm:pt modelId="{95404541-6FCE-499D-B544-6283CA283D12}" type="sibTrans" cxnId="{FFCB8E0E-83EF-4599-BF13-C986EE976DEB}">
      <dgm:prSet/>
      <dgm:spPr/>
      <dgm:t>
        <a:bodyPr/>
        <a:lstStyle/>
        <a:p>
          <a:endParaRPr lang="en-US" sz="1800"/>
        </a:p>
      </dgm:t>
    </dgm:pt>
    <dgm:pt modelId="{9C224AA8-5D6D-439F-A5FF-D80F3FA166E4}">
      <dgm:prSet phldrT="[Text]" custT="1"/>
      <dgm:spPr>
        <a:solidFill>
          <a:srgbClr val="FDF69C"/>
        </a:solidFill>
      </dgm:spPr>
      <dgm:t>
        <a:bodyPr/>
        <a:lstStyle/>
        <a:p>
          <a:r>
            <a:rPr lang="en-US" sz="1800" dirty="0">
              <a:solidFill>
                <a:schemeClr val="tx1"/>
              </a:solidFill>
            </a:rPr>
            <a:t>Class I</a:t>
          </a:r>
        </a:p>
      </dgm:t>
    </dgm:pt>
    <dgm:pt modelId="{FE1183B8-299D-4DAE-9761-D4155ED0D626}" type="parTrans" cxnId="{E02BB2F0-87BB-483B-91A1-E7038189B78B}">
      <dgm:prSet/>
      <dgm:spPr/>
      <dgm:t>
        <a:bodyPr/>
        <a:lstStyle/>
        <a:p>
          <a:endParaRPr lang="en-US" sz="1800"/>
        </a:p>
      </dgm:t>
    </dgm:pt>
    <dgm:pt modelId="{46ECC135-E1CD-4BA3-940E-260EB4B089CC}" type="sibTrans" cxnId="{E02BB2F0-87BB-483B-91A1-E7038189B78B}">
      <dgm:prSet/>
      <dgm:spPr/>
      <dgm:t>
        <a:bodyPr/>
        <a:lstStyle/>
        <a:p>
          <a:endParaRPr lang="en-US" sz="1800"/>
        </a:p>
      </dgm:t>
    </dgm:pt>
    <dgm:pt modelId="{D09E3D4F-1D7D-42D1-986A-2D072940B2CA}">
      <dgm:prSet phldrT="[Text]" custT="1"/>
      <dgm:spPr>
        <a:solidFill>
          <a:schemeClr val="accent6"/>
        </a:solidFill>
      </dgm:spPr>
      <dgm:t>
        <a:bodyPr/>
        <a:lstStyle/>
        <a:p>
          <a:r>
            <a:rPr lang="en-US" sz="1800" dirty="0"/>
            <a:t>Organics Processing</a:t>
          </a:r>
        </a:p>
      </dgm:t>
    </dgm:pt>
    <dgm:pt modelId="{68ACF64D-A3E1-46BE-A0F8-EACFA27593B4}" type="parTrans" cxnId="{498BAEE2-7893-4D7B-95CC-F1C754C0CACB}">
      <dgm:prSet/>
      <dgm:spPr/>
      <dgm:t>
        <a:bodyPr/>
        <a:lstStyle/>
        <a:p>
          <a:endParaRPr lang="en-US" sz="1800"/>
        </a:p>
      </dgm:t>
    </dgm:pt>
    <dgm:pt modelId="{086D19BD-9679-4E1D-AB18-9C674F65C6F7}" type="sibTrans" cxnId="{498BAEE2-7893-4D7B-95CC-F1C754C0CACB}">
      <dgm:prSet/>
      <dgm:spPr/>
      <dgm:t>
        <a:bodyPr/>
        <a:lstStyle/>
        <a:p>
          <a:endParaRPr lang="en-US" sz="1800"/>
        </a:p>
      </dgm:t>
    </dgm:pt>
    <dgm:pt modelId="{A63D69D2-ED31-4993-930F-751C45C13CD4}">
      <dgm:prSet phldrT="[Text]" custT="1"/>
      <dgm:spPr>
        <a:solidFill>
          <a:schemeClr val="accent6"/>
        </a:solidFill>
      </dgm:spPr>
      <dgm:t>
        <a:bodyPr/>
        <a:lstStyle/>
        <a:p>
          <a:r>
            <a:rPr lang="en-US" sz="1800" dirty="0"/>
            <a:t>Food Waste &amp; Manure</a:t>
          </a:r>
        </a:p>
      </dgm:t>
    </dgm:pt>
    <dgm:pt modelId="{56CFB6F2-8ADE-4838-A1ED-04DC59B84DF2}" type="parTrans" cxnId="{2DF84CA8-05F6-44B5-B32C-C070F0034577}">
      <dgm:prSet/>
      <dgm:spPr/>
      <dgm:t>
        <a:bodyPr/>
        <a:lstStyle/>
        <a:p>
          <a:endParaRPr lang="en-US" sz="1800"/>
        </a:p>
      </dgm:t>
    </dgm:pt>
    <dgm:pt modelId="{C3A94619-7880-4FE5-9FE3-8CDA03266D62}" type="sibTrans" cxnId="{2DF84CA8-05F6-44B5-B32C-C070F0034577}">
      <dgm:prSet/>
      <dgm:spPr/>
      <dgm:t>
        <a:bodyPr/>
        <a:lstStyle/>
        <a:p>
          <a:endParaRPr lang="en-US" sz="1800"/>
        </a:p>
      </dgm:t>
    </dgm:pt>
    <dgm:pt modelId="{91762AC4-5843-45DA-BD82-07AA1A1B93DC}">
      <dgm:prSet phldrT="[Text]" custT="1"/>
      <dgm:spPr>
        <a:solidFill>
          <a:schemeClr val="accent6"/>
        </a:solidFill>
      </dgm:spPr>
      <dgm:t>
        <a:bodyPr/>
        <a:lstStyle/>
        <a:p>
          <a:r>
            <a:rPr lang="en-US" sz="1800" dirty="0"/>
            <a:t>Yard Trash</a:t>
          </a:r>
        </a:p>
      </dgm:t>
    </dgm:pt>
    <dgm:pt modelId="{44316C2B-8810-4B50-9686-5B8AC20A9943}" type="parTrans" cxnId="{1AAC81B3-3511-4BEE-B020-161368D405A0}">
      <dgm:prSet/>
      <dgm:spPr/>
      <dgm:t>
        <a:bodyPr/>
        <a:lstStyle/>
        <a:p>
          <a:endParaRPr lang="en-US" sz="1800"/>
        </a:p>
      </dgm:t>
    </dgm:pt>
    <dgm:pt modelId="{69F84360-F8FB-4DC2-8AA4-DA39E260F788}" type="sibTrans" cxnId="{1AAC81B3-3511-4BEE-B020-161368D405A0}">
      <dgm:prSet/>
      <dgm:spPr/>
      <dgm:t>
        <a:bodyPr/>
        <a:lstStyle/>
        <a:p>
          <a:endParaRPr lang="en-US" sz="1800"/>
        </a:p>
      </dgm:t>
    </dgm:pt>
    <dgm:pt modelId="{008E733D-A691-43BC-BA5B-9A1FC1EAE70B}">
      <dgm:prSet phldrT="[Text]" custT="1"/>
      <dgm:spPr>
        <a:solidFill>
          <a:schemeClr val="accent6"/>
        </a:solidFill>
      </dgm:spPr>
      <dgm:t>
        <a:bodyPr/>
        <a:lstStyle/>
        <a:p>
          <a:r>
            <a:rPr lang="en-US" sz="1800" dirty="0"/>
            <a:t>Class III/CDD</a:t>
          </a:r>
        </a:p>
      </dgm:t>
    </dgm:pt>
    <dgm:pt modelId="{9B6CE281-A07D-4914-93D2-9572AC8D5A6F}" type="parTrans" cxnId="{AD5298DF-9589-4A56-B320-737BAAF026D5}">
      <dgm:prSet/>
      <dgm:spPr/>
      <dgm:t>
        <a:bodyPr/>
        <a:lstStyle/>
        <a:p>
          <a:endParaRPr lang="en-US" sz="1800"/>
        </a:p>
      </dgm:t>
    </dgm:pt>
    <dgm:pt modelId="{C1D44F35-2DE3-41EF-8668-22EC13345377}" type="sibTrans" cxnId="{AD5298DF-9589-4A56-B320-737BAAF026D5}">
      <dgm:prSet/>
      <dgm:spPr/>
      <dgm:t>
        <a:bodyPr/>
        <a:lstStyle/>
        <a:p>
          <a:endParaRPr lang="en-US" sz="1800"/>
        </a:p>
      </dgm:t>
    </dgm:pt>
    <dgm:pt modelId="{4AF9AEFF-42D1-B740-82E9-C1B79BBA1D1D}">
      <dgm:prSet custT="1"/>
      <dgm:spPr>
        <a:solidFill>
          <a:schemeClr val="accent6"/>
        </a:solidFill>
      </dgm:spPr>
      <dgm:t>
        <a:bodyPr/>
        <a:lstStyle/>
        <a:p>
          <a:r>
            <a:rPr lang="en-US" sz="1800" dirty="0"/>
            <a:t>Used Oil Processing</a:t>
          </a:r>
        </a:p>
      </dgm:t>
    </dgm:pt>
    <dgm:pt modelId="{136DFE82-DD95-9440-99FE-AD1D30173A71}" type="parTrans" cxnId="{DF4C2B5F-7246-F94A-8255-732907A6C824}">
      <dgm:prSet/>
      <dgm:spPr/>
      <dgm:t>
        <a:bodyPr/>
        <a:lstStyle/>
        <a:p>
          <a:endParaRPr lang="en-US" sz="1800"/>
        </a:p>
      </dgm:t>
    </dgm:pt>
    <dgm:pt modelId="{7CA9E5FE-025A-A543-85F9-9D75B8464C49}" type="sibTrans" cxnId="{DF4C2B5F-7246-F94A-8255-732907A6C824}">
      <dgm:prSet/>
      <dgm:spPr/>
      <dgm:t>
        <a:bodyPr/>
        <a:lstStyle/>
        <a:p>
          <a:endParaRPr lang="en-US" sz="1800"/>
        </a:p>
      </dgm:t>
    </dgm:pt>
    <dgm:pt modelId="{99A6F7B8-F459-C049-8C11-CCDD7B940BE5}">
      <dgm:prSet custT="1"/>
      <dgm:spPr>
        <a:solidFill>
          <a:schemeClr val="accent6"/>
        </a:solidFill>
      </dgm:spPr>
      <dgm:t>
        <a:bodyPr/>
        <a:lstStyle/>
        <a:p>
          <a:r>
            <a:rPr lang="en-US" sz="1800" dirty="0"/>
            <a:t>Anaerobic Digestion</a:t>
          </a:r>
        </a:p>
      </dgm:t>
    </dgm:pt>
    <dgm:pt modelId="{4CE8A549-566D-4C42-A09F-87E406049175}" type="parTrans" cxnId="{F63E21A2-8CCE-FA46-BC05-575C278D6DE2}">
      <dgm:prSet/>
      <dgm:spPr/>
      <dgm:t>
        <a:bodyPr/>
        <a:lstStyle/>
        <a:p>
          <a:endParaRPr lang="en-US" sz="1800"/>
        </a:p>
      </dgm:t>
    </dgm:pt>
    <dgm:pt modelId="{880CDBBF-3EE3-1049-BA69-72D0330DC069}" type="sibTrans" cxnId="{F63E21A2-8CCE-FA46-BC05-575C278D6DE2}">
      <dgm:prSet/>
      <dgm:spPr/>
      <dgm:t>
        <a:bodyPr/>
        <a:lstStyle/>
        <a:p>
          <a:endParaRPr lang="en-US" sz="1800"/>
        </a:p>
      </dgm:t>
    </dgm:pt>
    <dgm:pt modelId="{4CC743BE-89B2-7B43-BF58-D59F86D8E5AF}">
      <dgm:prSet custT="1"/>
      <dgm:spPr>
        <a:solidFill>
          <a:schemeClr val="accent6"/>
        </a:solidFill>
      </dgm:spPr>
      <dgm:t>
        <a:bodyPr/>
        <a:lstStyle/>
        <a:p>
          <a:r>
            <a:rPr lang="en-US" sz="1800" dirty="0"/>
            <a:t>HHW</a:t>
          </a:r>
        </a:p>
      </dgm:t>
    </dgm:pt>
    <dgm:pt modelId="{6FCB5090-C78A-4A40-B1E1-D95882A618A4}" type="parTrans" cxnId="{005F93D0-0F40-B244-93EB-B7486C7FF021}">
      <dgm:prSet/>
      <dgm:spPr/>
      <dgm:t>
        <a:bodyPr/>
        <a:lstStyle/>
        <a:p>
          <a:endParaRPr lang="en-US" sz="1800"/>
        </a:p>
      </dgm:t>
    </dgm:pt>
    <dgm:pt modelId="{DDD58D91-D3F1-CF45-A967-235059630097}" type="sibTrans" cxnId="{005F93D0-0F40-B244-93EB-B7486C7FF021}">
      <dgm:prSet/>
      <dgm:spPr/>
      <dgm:t>
        <a:bodyPr/>
        <a:lstStyle/>
        <a:p>
          <a:endParaRPr lang="en-US" sz="1800"/>
        </a:p>
      </dgm:t>
    </dgm:pt>
    <dgm:pt modelId="{6DAD5AF5-2F6C-40CF-B4A4-4535DCB1DE5D}" type="pres">
      <dgm:prSet presAssocID="{C14FF3FB-789E-4041-BAA4-8A5D3EF74394}" presName="hierChild1" presStyleCnt="0">
        <dgm:presLayoutVars>
          <dgm:orgChart val="1"/>
          <dgm:chPref val="1"/>
          <dgm:dir/>
          <dgm:animOne val="branch"/>
          <dgm:animLvl val="lvl"/>
          <dgm:resizeHandles/>
        </dgm:presLayoutVars>
      </dgm:prSet>
      <dgm:spPr/>
    </dgm:pt>
    <dgm:pt modelId="{9E669CAF-C666-4968-9C8A-A75CD735112E}" type="pres">
      <dgm:prSet presAssocID="{8A0FDD62-5ACB-4363-8100-7921DB27FED9}" presName="hierRoot1" presStyleCnt="0">
        <dgm:presLayoutVars>
          <dgm:hierBranch val="init"/>
        </dgm:presLayoutVars>
      </dgm:prSet>
      <dgm:spPr/>
    </dgm:pt>
    <dgm:pt modelId="{C9310B4B-0140-4156-88BB-BB8B405BA2F6}" type="pres">
      <dgm:prSet presAssocID="{8A0FDD62-5ACB-4363-8100-7921DB27FED9}" presName="rootComposite1" presStyleCnt="0"/>
      <dgm:spPr/>
    </dgm:pt>
    <dgm:pt modelId="{9243952B-3833-4F9A-A71B-0A59EE8FED19}" type="pres">
      <dgm:prSet presAssocID="{8A0FDD62-5ACB-4363-8100-7921DB27FED9}" presName="rootText1" presStyleLbl="node0" presStyleIdx="0" presStyleCnt="4" custLinFactNeighborX="-108" custLinFactNeighborY="9627">
        <dgm:presLayoutVars>
          <dgm:chPref val="3"/>
        </dgm:presLayoutVars>
      </dgm:prSet>
      <dgm:spPr/>
    </dgm:pt>
    <dgm:pt modelId="{4C951630-26BE-4FC2-B02A-6EABC31BCC02}" type="pres">
      <dgm:prSet presAssocID="{8A0FDD62-5ACB-4363-8100-7921DB27FED9}" presName="rootConnector1" presStyleLbl="node1" presStyleIdx="0" presStyleCnt="0"/>
      <dgm:spPr/>
    </dgm:pt>
    <dgm:pt modelId="{A9CBB20B-D2FF-462D-8365-7D562044133A}" type="pres">
      <dgm:prSet presAssocID="{8A0FDD62-5ACB-4363-8100-7921DB27FED9}" presName="hierChild2" presStyleCnt="0"/>
      <dgm:spPr/>
    </dgm:pt>
    <dgm:pt modelId="{C5E9805B-8734-43E5-87A9-3E4EDE6400A1}" type="pres">
      <dgm:prSet presAssocID="{FE1183B8-299D-4DAE-9761-D4155ED0D626}" presName="Name64" presStyleLbl="parChTrans1D2" presStyleIdx="0" presStyleCnt="5"/>
      <dgm:spPr/>
    </dgm:pt>
    <dgm:pt modelId="{59D565F5-CF79-4EC0-B001-75692E0C55A5}" type="pres">
      <dgm:prSet presAssocID="{9C224AA8-5D6D-439F-A5FF-D80F3FA166E4}" presName="hierRoot2" presStyleCnt="0">
        <dgm:presLayoutVars>
          <dgm:hierBranch val="init"/>
        </dgm:presLayoutVars>
      </dgm:prSet>
      <dgm:spPr/>
    </dgm:pt>
    <dgm:pt modelId="{FD1AFDEF-415B-41D7-A2B3-18097AE78CD0}" type="pres">
      <dgm:prSet presAssocID="{9C224AA8-5D6D-439F-A5FF-D80F3FA166E4}" presName="rootComposite" presStyleCnt="0"/>
      <dgm:spPr/>
    </dgm:pt>
    <dgm:pt modelId="{F6C5896B-E465-4949-89C8-FE4B715A7AA6}" type="pres">
      <dgm:prSet presAssocID="{9C224AA8-5D6D-439F-A5FF-D80F3FA166E4}" presName="rootText" presStyleLbl="node2" presStyleIdx="0" presStyleCnt="5" custLinFactNeighborY="9627">
        <dgm:presLayoutVars>
          <dgm:chPref val="3"/>
        </dgm:presLayoutVars>
      </dgm:prSet>
      <dgm:spPr/>
    </dgm:pt>
    <dgm:pt modelId="{E545B4FB-CAAE-4F67-8274-077F8989871C}" type="pres">
      <dgm:prSet presAssocID="{9C224AA8-5D6D-439F-A5FF-D80F3FA166E4}" presName="rootConnector" presStyleLbl="node2" presStyleIdx="0" presStyleCnt="5"/>
      <dgm:spPr/>
    </dgm:pt>
    <dgm:pt modelId="{12A0EF90-D8EB-4D76-A8C2-74FEB5F363FC}" type="pres">
      <dgm:prSet presAssocID="{9C224AA8-5D6D-439F-A5FF-D80F3FA166E4}" presName="hierChild4" presStyleCnt="0"/>
      <dgm:spPr/>
    </dgm:pt>
    <dgm:pt modelId="{945B86D7-60E4-41FF-9E22-41E01EACAF57}" type="pres">
      <dgm:prSet presAssocID="{9C224AA8-5D6D-439F-A5FF-D80F3FA166E4}" presName="hierChild5" presStyleCnt="0"/>
      <dgm:spPr/>
    </dgm:pt>
    <dgm:pt modelId="{128DFF0E-9219-4A5D-9DC2-F45043BFED9C}" type="pres">
      <dgm:prSet presAssocID="{9B6CE281-A07D-4914-93D2-9572AC8D5A6F}" presName="Name64" presStyleLbl="parChTrans1D2" presStyleIdx="1" presStyleCnt="5"/>
      <dgm:spPr/>
    </dgm:pt>
    <dgm:pt modelId="{FAA8B00E-FFCD-4593-8064-8429CF84817D}" type="pres">
      <dgm:prSet presAssocID="{008E733D-A691-43BC-BA5B-9A1FC1EAE70B}" presName="hierRoot2" presStyleCnt="0">
        <dgm:presLayoutVars>
          <dgm:hierBranch val="init"/>
        </dgm:presLayoutVars>
      </dgm:prSet>
      <dgm:spPr/>
    </dgm:pt>
    <dgm:pt modelId="{4791B7BC-7EE6-4C28-B1A7-F15C8A55C61B}" type="pres">
      <dgm:prSet presAssocID="{008E733D-A691-43BC-BA5B-9A1FC1EAE70B}" presName="rootComposite" presStyleCnt="0"/>
      <dgm:spPr/>
    </dgm:pt>
    <dgm:pt modelId="{7912A520-6302-4FA0-B726-5F1C79158053}" type="pres">
      <dgm:prSet presAssocID="{008E733D-A691-43BC-BA5B-9A1FC1EAE70B}" presName="rootText" presStyleLbl="node2" presStyleIdx="1" presStyleCnt="5" custLinFactNeighborY="9627">
        <dgm:presLayoutVars>
          <dgm:chPref val="3"/>
        </dgm:presLayoutVars>
      </dgm:prSet>
      <dgm:spPr/>
    </dgm:pt>
    <dgm:pt modelId="{B94DF8A1-A875-4807-9162-20A5A5F20602}" type="pres">
      <dgm:prSet presAssocID="{008E733D-A691-43BC-BA5B-9A1FC1EAE70B}" presName="rootConnector" presStyleLbl="node2" presStyleIdx="1" presStyleCnt="5"/>
      <dgm:spPr/>
    </dgm:pt>
    <dgm:pt modelId="{6D2B7FA0-C8F7-4BB1-A24B-5867C359A830}" type="pres">
      <dgm:prSet presAssocID="{008E733D-A691-43BC-BA5B-9A1FC1EAE70B}" presName="hierChild4" presStyleCnt="0"/>
      <dgm:spPr/>
    </dgm:pt>
    <dgm:pt modelId="{9E8D2733-07A7-4B55-AECD-D0F401EC67DB}" type="pres">
      <dgm:prSet presAssocID="{008E733D-A691-43BC-BA5B-9A1FC1EAE70B}" presName="hierChild5" presStyleCnt="0"/>
      <dgm:spPr/>
    </dgm:pt>
    <dgm:pt modelId="{BB1C3144-AF76-4C1A-AC16-5745FE3D6FF4}" type="pres">
      <dgm:prSet presAssocID="{8A0FDD62-5ACB-4363-8100-7921DB27FED9}" presName="hierChild3" presStyleCnt="0"/>
      <dgm:spPr/>
    </dgm:pt>
    <dgm:pt modelId="{E18B88DC-BC5B-4269-8303-2816E8A33297}" type="pres">
      <dgm:prSet presAssocID="{D09E3D4F-1D7D-42D1-986A-2D072940B2CA}" presName="hierRoot1" presStyleCnt="0">
        <dgm:presLayoutVars>
          <dgm:hierBranch val="init"/>
        </dgm:presLayoutVars>
      </dgm:prSet>
      <dgm:spPr/>
    </dgm:pt>
    <dgm:pt modelId="{7E1EFAEC-C6C5-4489-9136-BD7B0956B289}" type="pres">
      <dgm:prSet presAssocID="{D09E3D4F-1D7D-42D1-986A-2D072940B2CA}" presName="rootComposite1" presStyleCnt="0"/>
      <dgm:spPr/>
    </dgm:pt>
    <dgm:pt modelId="{8F43BE6E-166A-4736-B495-0F0C5F9C5A94}" type="pres">
      <dgm:prSet presAssocID="{D09E3D4F-1D7D-42D1-986A-2D072940B2CA}" presName="rootText1" presStyleLbl="node0" presStyleIdx="1" presStyleCnt="4" custScaleY="193739">
        <dgm:presLayoutVars>
          <dgm:chPref val="3"/>
        </dgm:presLayoutVars>
      </dgm:prSet>
      <dgm:spPr/>
    </dgm:pt>
    <dgm:pt modelId="{65E7425D-55D2-4A95-85AE-4170C0981629}" type="pres">
      <dgm:prSet presAssocID="{D09E3D4F-1D7D-42D1-986A-2D072940B2CA}" presName="rootConnector1" presStyleLbl="node1" presStyleIdx="0" presStyleCnt="0"/>
      <dgm:spPr/>
    </dgm:pt>
    <dgm:pt modelId="{0A91E4F6-AD54-49CF-9C53-9262E286DF5E}" type="pres">
      <dgm:prSet presAssocID="{D09E3D4F-1D7D-42D1-986A-2D072940B2CA}" presName="hierChild2" presStyleCnt="0"/>
      <dgm:spPr/>
    </dgm:pt>
    <dgm:pt modelId="{3C8331C7-B13D-4AF7-A323-1B1603B58B0E}" type="pres">
      <dgm:prSet presAssocID="{56CFB6F2-8ADE-4838-A1ED-04DC59B84DF2}" presName="Name64" presStyleLbl="parChTrans1D2" presStyleIdx="2" presStyleCnt="5"/>
      <dgm:spPr/>
    </dgm:pt>
    <dgm:pt modelId="{B92978FC-A8E3-4BC5-983D-A951B513D496}" type="pres">
      <dgm:prSet presAssocID="{A63D69D2-ED31-4993-930F-751C45C13CD4}" presName="hierRoot2" presStyleCnt="0">
        <dgm:presLayoutVars>
          <dgm:hierBranch val="init"/>
        </dgm:presLayoutVars>
      </dgm:prSet>
      <dgm:spPr/>
    </dgm:pt>
    <dgm:pt modelId="{BCE6459C-EE48-41D9-B74E-BEC9785A15BD}" type="pres">
      <dgm:prSet presAssocID="{A63D69D2-ED31-4993-930F-751C45C13CD4}" presName="rootComposite" presStyleCnt="0"/>
      <dgm:spPr/>
    </dgm:pt>
    <dgm:pt modelId="{B633B50C-55B7-4080-8A5D-DD9EE7F65740}" type="pres">
      <dgm:prSet presAssocID="{A63D69D2-ED31-4993-930F-751C45C13CD4}" presName="rootText" presStyleLbl="node2" presStyleIdx="2" presStyleCnt="5" custScaleY="183604" custLinFactNeighborY="9627">
        <dgm:presLayoutVars>
          <dgm:chPref val="3"/>
        </dgm:presLayoutVars>
      </dgm:prSet>
      <dgm:spPr/>
    </dgm:pt>
    <dgm:pt modelId="{BCAEF62C-2B92-4445-AEF0-05B432CBDEDE}" type="pres">
      <dgm:prSet presAssocID="{A63D69D2-ED31-4993-930F-751C45C13CD4}" presName="rootConnector" presStyleLbl="node2" presStyleIdx="2" presStyleCnt="5"/>
      <dgm:spPr/>
    </dgm:pt>
    <dgm:pt modelId="{85D17B27-E6A5-4A40-B9C1-320A246A7E32}" type="pres">
      <dgm:prSet presAssocID="{A63D69D2-ED31-4993-930F-751C45C13CD4}" presName="hierChild4" presStyleCnt="0"/>
      <dgm:spPr/>
    </dgm:pt>
    <dgm:pt modelId="{009D29F9-C5F4-4601-953B-F2A1F0EC73B1}" type="pres">
      <dgm:prSet presAssocID="{A63D69D2-ED31-4993-930F-751C45C13CD4}" presName="hierChild5" presStyleCnt="0"/>
      <dgm:spPr/>
    </dgm:pt>
    <dgm:pt modelId="{4E1287EB-C0CC-4C9B-8503-F8372D7BE22A}" type="pres">
      <dgm:prSet presAssocID="{44316C2B-8810-4B50-9686-5B8AC20A9943}" presName="Name64" presStyleLbl="parChTrans1D2" presStyleIdx="3" presStyleCnt="5"/>
      <dgm:spPr/>
    </dgm:pt>
    <dgm:pt modelId="{30BCAA1C-BC25-46FB-975C-8FC930EF37D0}" type="pres">
      <dgm:prSet presAssocID="{91762AC4-5843-45DA-BD82-07AA1A1B93DC}" presName="hierRoot2" presStyleCnt="0">
        <dgm:presLayoutVars>
          <dgm:hierBranch val="init"/>
        </dgm:presLayoutVars>
      </dgm:prSet>
      <dgm:spPr/>
    </dgm:pt>
    <dgm:pt modelId="{6641C33A-4F6C-4E1C-8D18-646008060B9F}" type="pres">
      <dgm:prSet presAssocID="{91762AC4-5843-45DA-BD82-07AA1A1B93DC}" presName="rootComposite" presStyleCnt="0"/>
      <dgm:spPr/>
    </dgm:pt>
    <dgm:pt modelId="{F8970BD3-839A-4C82-84BD-B0A41A6A9807}" type="pres">
      <dgm:prSet presAssocID="{91762AC4-5843-45DA-BD82-07AA1A1B93DC}" presName="rootText" presStyleLbl="node2" presStyleIdx="3" presStyleCnt="5" custLinFactNeighborY="9627">
        <dgm:presLayoutVars>
          <dgm:chPref val="3"/>
        </dgm:presLayoutVars>
      </dgm:prSet>
      <dgm:spPr/>
    </dgm:pt>
    <dgm:pt modelId="{240D1101-2E34-40E6-BD15-AE5CAEF83A68}" type="pres">
      <dgm:prSet presAssocID="{91762AC4-5843-45DA-BD82-07AA1A1B93DC}" presName="rootConnector" presStyleLbl="node2" presStyleIdx="3" presStyleCnt="5"/>
      <dgm:spPr/>
    </dgm:pt>
    <dgm:pt modelId="{E0095A6F-32CE-4B3E-BA2B-7B435D2E0C1B}" type="pres">
      <dgm:prSet presAssocID="{91762AC4-5843-45DA-BD82-07AA1A1B93DC}" presName="hierChild4" presStyleCnt="0"/>
      <dgm:spPr/>
    </dgm:pt>
    <dgm:pt modelId="{0B7ED1C2-376D-49B3-9285-F308DEBA2294}" type="pres">
      <dgm:prSet presAssocID="{91762AC4-5843-45DA-BD82-07AA1A1B93DC}" presName="hierChild5" presStyleCnt="0"/>
      <dgm:spPr/>
    </dgm:pt>
    <dgm:pt modelId="{97D80550-4753-414D-9E2C-29E87CC202F1}" type="pres">
      <dgm:prSet presAssocID="{4CE8A549-566D-4C42-A09F-87E406049175}" presName="Name64" presStyleLbl="parChTrans1D2" presStyleIdx="4" presStyleCnt="5"/>
      <dgm:spPr/>
    </dgm:pt>
    <dgm:pt modelId="{AFBDD29A-F995-7942-816C-A971466B6455}" type="pres">
      <dgm:prSet presAssocID="{99A6F7B8-F459-C049-8C11-CCDD7B940BE5}" presName="hierRoot2" presStyleCnt="0">
        <dgm:presLayoutVars>
          <dgm:hierBranch val="init"/>
        </dgm:presLayoutVars>
      </dgm:prSet>
      <dgm:spPr/>
    </dgm:pt>
    <dgm:pt modelId="{B7B45292-BDF8-124E-BDB4-0352C7C47D67}" type="pres">
      <dgm:prSet presAssocID="{99A6F7B8-F459-C049-8C11-CCDD7B940BE5}" presName="rootComposite" presStyleCnt="0"/>
      <dgm:spPr/>
    </dgm:pt>
    <dgm:pt modelId="{C517AAD2-5580-C644-8C97-234B421E295B}" type="pres">
      <dgm:prSet presAssocID="{99A6F7B8-F459-C049-8C11-CCDD7B940BE5}" presName="rootText" presStyleLbl="node2" presStyleIdx="4" presStyleCnt="5" custScaleY="172050">
        <dgm:presLayoutVars>
          <dgm:chPref val="3"/>
        </dgm:presLayoutVars>
      </dgm:prSet>
      <dgm:spPr/>
    </dgm:pt>
    <dgm:pt modelId="{AE3B0388-2463-EF47-AFC2-5437291EF998}" type="pres">
      <dgm:prSet presAssocID="{99A6F7B8-F459-C049-8C11-CCDD7B940BE5}" presName="rootConnector" presStyleLbl="node2" presStyleIdx="4" presStyleCnt="5"/>
      <dgm:spPr/>
    </dgm:pt>
    <dgm:pt modelId="{1D002B0A-C78F-3E48-8C25-35AA92CAD96F}" type="pres">
      <dgm:prSet presAssocID="{99A6F7B8-F459-C049-8C11-CCDD7B940BE5}" presName="hierChild4" presStyleCnt="0"/>
      <dgm:spPr/>
    </dgm:pt>
    <dgm:pt modelId="{B0C7CB86-8280-C041-9FE8-BF2844EBC949}" type="pres">
      <dgm:prSet presAssocID="{99A6F7B8-F459-C049-8C11-CCDD7B940BE5}" presName="hierChild5" presStyleCnt="0"/>
      <dgm:spPr/>
    </dgm:pt>
    <dgm:pt modelId="{3AA06DB7-3CF2-4B80-A567-B41E54DCF106}" type="pres">
      <dgm:prSet presAssocID="{D09E3D4F-1D7D-42D1-986A-2D072940B2CA}" presName="hierChild3" presStyleCnt="0"/>
      <dgm:spPr/>
    </dgm:pt>
    <dgm:pt modelId="{23C114B1-B44D-274C-ACD6-335C344B8881}" type="pres">
      <dgm:prSet presAssocID="{4AF9AEFF-42D1-B740-82E9-C1B79BBA1D1D}" presName="hierRoot1" presStyleCnt="0">
        <dgm:presLayoutVars>
          <dgm:hierBranch val="init"/>
        </dgm:presLayoutVars>
      </dgm:prSet>
      <dgm:spPr/>
    </dgm:pt>
    <dgm:pt modelId="{3A5DF050-98B2-A44B-9D94-394A589761C7}" type="pres">
      <dgm:prSet presAssocID="{4AF9AEFF-42D1-B740-82E9-C1B79BBA1D1D}" presName="rootComposite1" presStyleCnt="0"/>
      <dgm:spPr/>
    </dgm:pt>
    <dgm:pt modelId="{3EA02441-E62E-C24E-A4DF-460F53CDBD20}" type="pres">
      <dgm:prSet presAssocID="{4AF9AEFF-42D1-B740-82E9-C1B79BBA1D1D}" presName="rootText1" presStyleLbl="node0" presStyleIdx="2" presStyleCnt="4" custScaleX="220215">
        <dgm:presLayoutVars>
          <dgm:chPref val="3"/>
        </dgm:presLayoutVars>
      </dgm:prSet>
      <dgm:spPr/>
    </dgm:pt>
    <dgm:pt modelId="{03B6B337-FD0F-8F46-B2A3-A49AE23D70A9}" type="pres">
      <dgm:prSet presAssocID="{4AF9AEFF-42D1-B740-82E9-C1B79BBA1D1D}" presName="rootConnector1" presStyleLbl="node1" presStyleIdx="0" presStyleCnt="0"/>
      <dgm:spPr/>
    </dgm:pt>
    <dgm:pt modelId="{DE1717D0-2F56-2147-8E6D-2E4A6D170743}" type="pres">
      <dgm:prSet presAssocID="{4AF9AEFF-42D1-B740-82E9-C1B79BBA1D1D}" presName="hierChild2" presStyleCnt="0"/>
      <dgm:spPr/>
    </dgm:pt>
    <dgm:pt modelId="{369D3ECE-AB07-3143-A203-76E48C3520DF}" type="pres">
      <dgm:prSet presAssocID="{4AF9AEFF-42D1-B740-82E9-C1B79BBA1D1D}" presName="hierChild3" presStyleCnt="0"/>
      <dgm:spPr/>
    </dgm:pt>
    <dgm:pt modelId="{130F00FC-FAB4-FC48-8F3A-C00C60F773F6}" type="pres">
      <dgm:prSet presAssocID="{4CC743BE-89B2-7B43-BF58-D59F86D8E5AF}" presName="hierRoot1" presStyleCnt="0">
        <dgm:presLayoutVars>
          <dgm:hierBranch val="init"/>
        </dgm:presLayoutVars>
      </dgm:prSet>
      <dgm:spPr/>
    </dgm:pt>
    <dgm:pt modelId="{CAC83379-269E-5741-8414-E5ED31DF00E5}" type="pres">
      <dgm:prSet presAssocID="{4CC743BE-89B2-7B43-BF58-D59F86D8E5AF}" presName="rootComposite1" presStyleCnt="0"/>
      <dgm:spPr/>
    </dgm:pt>
    <dgm:pt modelId="{A0471F14-CFB3-8449-8997-79C53AE48F72}" type="pres">
      <dgm:prSet presAssocID="{4CC743BE-89B2-7B43-BF58-D59F86D8E5AF}" presName="rootText1" presStyleLbl="node0" presStyleIdx="3" presStyleCnt="4" custScaleX="220215">
        <dgm:presLayoutVars>
          <dgm:chPref val="3"/>
        </dgm:presLayoutVars>
      </dgm:prSet>
      <dgm:spPr/>
    </dgm:pt>
    <dgm:pt modelId="{20E2811A-1241-1C43-8D08-396FBA25036F}" type="pres">
      <dgm:prSet presAssocID="{4CC743BE-89B2-7B43-BF58-D59F86D8E5AF}" presName="rootConnector1" presStyleLbl="node1" presStyleIdx="0" presStyleCnt="0"/>
      <dgm:spPr/>
    </dgm:pt>
    <dgm:pt modelId="{EDCA2F9E-F17A-3E45-80B8-679DF2787438}" type="pres">
      <dgm:prSet presAssocID="{4CC743BE-89B2-7B43-BF58-D59F86D8E5AF}" presName="hierChild2" presStyleCnt="0"/>
      <dgm:spPr/>
    </dgm:pt>
    <dgm:pt modelId="{81A7C4EA-C53A-3A4F-B2EC-E0CE77B8741F}" type="pres">
      <dgm:prSet presAssocID="{4CC743BE-89B2-7B43-BF58-D59F86D8E5AF}" presName="hierChild3" presStyleCnt="0"/>
      <dgm:spPr/>
    </dgm:pt>
  </dgm:ptLst>
  <dgm:cxnLst>
    <dgm:cxn modelId="{FFCB8E0E-83EF-4599-BF13-C986EE976DEB}" srcId="{C14FF3FB-789E-4041-BAA4-8A5D3EF74394}" destId="{8A0FDD62-5ACB-4363-8100-7921DB27FED9}" srcOrd="0" destOrd="0" parTransId="{2E0A18BD-4B57-45A2-B599-17A5236A0DBA}" sibTransId="{95404541-6FCE-499D-B544-6283CA283D12}"/>
    <dgm:cxn modelId="{BEC3980F-6EFA-3B4C-B0F5-406E4A0F5D23}" type="presOf" srcId="{99A6F7B8-F459-C049-8C11-CCDD7B940BE5}" destId="{C517AAD2-5580-C644-8C97-234B421E295B}" srcOrd="0" destOrd="0" presId="urn:microsoft.com/office/officeart/2009/3/layout/HorizontalOrganizationChart"/>
    <dgm:cxn modelId="{1BFC2014-0346-4085-A372-634EDC4246C7}" type="presOf" srcId="{008E733D-A691-43BC-BA5B-9A1FC1EAE70B}" destId="{7912A520-6302-4FA0-B726-5F1C79158053}" srcOrd="0" destOrd="0" presId="urn:microsoft.com/office/officeart/2009/3/layout/HorizontalOrganizationChart"/>
    <dgm:cxn modelId="{4EC2F718-0E10-4255-80DA-B31FD988F7FE}" type="presOf" srcId="{A63D69D2-ED31-4993-930F-751C45C13CD4}" destId="{BCAEF62C-2B92-4445-AEF0-05B432CBDEDE}" srcOrd="1" destOrd="0" presId="urn:microsoft.com/office/officeart/2009/3/layout/HorizontalOrganizationChart"/>
    <dgm:cxn modelId="{E457742C-253D-5D41-B628-8E3215250C26}" type="presOf" srcId="{4CC743BE-89B2-7B43-BF58-D59F86D8E5AF}" destId="{20E2811A-1241-1C43-8D08-396FBA25036F}" srcOrd="1" destOrd="0" presId="urn:microsoft.com/office/officeart/2009/3/layout/HorizontalOrganizationChart"/>
    <dgm:cxn modelId="{F4ABB83C-24C7-4711-A232-B64194FD2448}" type="presOf" srcId="{FE1183B8-299D-4DAE-9761-D4155ED0D626}" destId="{C5E9805B-8734-43E5-87A9-3E4EDE6400A1}" srcOrd="0" destOrd="0" presId="urn:microsoft.com/office/officeart/2009/3/layout/HorizontalOrganizationChart"/>
    <dgm:cxn modelId="{F85C7F5B-9BC1-4931-B469-45AFB800FF9A}" type="presOf" srcId="{A63D69D2-ED31-4993-930F-751C45C13CD4}" destId="{B633B50C-55B7-4080-8A5D-DD9EE7F65740}" srcOrd="0" destOrd="0" presId="urn:microsoft.com/office/officeart/2009/3/layout/HorizontalOrganizationChart"/>
    <dgm:cxn modelId="{DF4C2B5F-7246-F94A-8255-732907A6C824}" srcId="{C14FF3FB-789E-4041-BAA4-8A5D3EF74394}" destId="{4AF9AEFF-42D1-B740-82E9-C1B79BBA1D1D}" srcOrd="2" destOrd="0" parTransId="{136DFE82-DD95-9440-99FE-AD1D30173A71}" sibTransId="{7CA9E5FE-025A-A543-85F9-9D75B8464C49}"/>
    <dgm:cxn modelId="{D00B0B62-966B-4BC1-812E-4461A799A4F6}" type="presOf" srcId="{9B6CE281-A07D-4914-93D2-9572AC8D5A6F}" destId="{128DFF0E-9219-4A5D-9DC2-F45043BFED9C}" srcOrd="0" destOrd="0" presId="urn:microsoft.com/office/officeart/2009/3/layout/HorizontalOrganizationChart"/>
    <dgm:cxn modelId="{B57D786E-BC9E-C849-8C6F-B2E7F76C7E06}" type="presOf" srcId="{4CC743BE-89B2-7B43-BF58-D59F86D8E5AF}" destId="{A0471F14-CFB3-8449-8997-79C53AE48F72}" srcOrd="0" destOrd="0" presId="urn:microsoft.com/office/officeart/2009/3/layout/HorizontalOrganizationChart"/>
    <dgm:cxn modelId="{2BEC1470-7626-6643-BE17-A1EC90A007AE}" type="presOf" srcId="{4AF9AEFF-42D1-B740-82E9-C1B79BBA1D1D}" destId="{03B6B337-FD0F-8F46-B2A3-A49AE23D70A9}" srcOrd="1" destOrd="0" presId="urn:microsoft.com/office/officeart/2009/3/layout/HorizontalOrganizationChart"/>
    <dgm:cxn modelId="{418DDD72-5F93-4278-B9A7-B366FC5F831B}" type="presOf" srcId="{D09E3D4F-1D7D-42D1-986A-2D072940B2CA}" destId="{65E7425D-55D2-4A95-85AE-4170C0981629}" srcOrd="1" destOrd="0" presId="urn:microsoft.com/office/officeart/2009/3/layout/HorizontalOrganizationChart"/>
    <dgm:cxn modelId="{37169C73-803B-4B53-8056-7D86DF425149}" type="presOf" srcId="{D09E3D4F-1D7D-42D1-986A-2D072940B2CA}" destId="{8F43BE6E-166A-4736-B495-0F0C5F9C5A94}" srcOrd="0" destOrd="0" presId="urn:microsoft.com/office/officeart/2009/3/layout/HorizontalOrganizationChart"/>
    <dgm:cxn modelId="{EBE61E78-7C4C-8941-9AB5-46E2FCEC82E1}" type="presOf" srcId="{4AF9AEFF-42D1-B740-82E9-C1B79BBA1D1D}" destId="{3EA02441-E62E-C24E-A4DF-460F53CDBD20}" srcOrd="0" destOrd="0" presId="urn:microsoft.com/office/officeart/2009/3/layout/HorizontalOrganizationChart"/>
    <dgm:cxn modelId="{DAB9C179-CF84-4B9B-A240-A23B5E2EABF7}" type="presOf" srcId="{9C224AA8-5D6D-439F-A5FF-D80F3FA166E4}" destId="{E545B4FB-CAAE-4F67-8274-077F8989871C}" srcOrd="1" destOrd="0" presId="urn:microsoft.com/office/officeart/2009/3/layout/HorizontalOrganizationChart"/>
    <dgm:cxn modelId="{3A4A7F7C-3773-44AD-831D-2EEC340A03E6}" type="presOf" srcId="{C14FF3FB-789E-4041-BAA4-8A5D3EF74394}" destId="{6DAD5AF5-2F6C-40CF-B4A4-4535DCB1DE5D}" srcOrd="0" destOrd="0" presId="urn:microsoft.com/office/officeart/2009/3/layout/HorizontalOrganizationChart"/>
    <dgm:cxn modelId="{82C1FF81-201C-4ADF-A1A9-A5FC6A205E06}" type="presOf" srcId="{008E733D-A691-43BC-BA5B-9A1FC1EAE70B}" destId="{B94DF8A1-A875-4807-9162-20A5A5F20602}" srcOrd="1" destOrd="0" presId="urn:microsoft.com/office/officeart/2009/3/layout/HorizontalOrganizationChart"/>
    <dgm:cxn modelId="{3E6FF197-5C51-BA42-84F2-283924AFBBEC}" type="presOf" srcId="{99A6F7B8-F459-C049-8C11-CCDD7B940BE5}" destId="{AE3B0388-2463-EF47-AFC2-5437291EF998}" srcOrd="1" destOrd="0" presId="urn:microsoft.com/office/officeart/2009/3/layout/HorizontalOrganizationChart"/>
    <dgm:cxn modelId="{F63E21A2-8CCE-FA46-BC05-575C278D6DE2}" srcId="{D09E3D4F-1D7D-42D1-986A-2D072940B2CA}" destId="{99A6F7B8-F459-C049-8C11-CCDD7B940BE5}" srcOrd="2" destOrd="0" parTransId="{4CE8A549-566D-4C42-A09F-87E406049175}" sibTransId="{880CDBBF-3EE3-1049-BA69-72D0330DC069}"/>
    <dgm:cxn modelId="{75F13DA4-FA2F-45CE-98D6-21A7FC633828}" type="presOf" srcId="{91762AC4-5843-45DA-BD82-07AA1A1B93DC}" destId="{F8970BD3-839A-4C82-84BD-B0A41A6A9807}" srcOrd="0" destOrd="0" presId="urn:microsoft.com/office/officeart/2009/3/layout/HorizontalOrganizationChart"/>
    <dgm:cxn modelId="{0BBCF1A4-D106-5F47-AE99-00FCA6F17C0C}" type="presOf" srcId="{4CE8A549-566D-4C42-A09F-87E406049175}" destId="{97D80550-4753-414D-9E2C-29E87CC202F1}" srcOrd="0" destOrd="0" presId="urn:microsoft.com/office/officeart/2009/3/layout/HorizontalOrganizationChart"/>
    <dgm:cxn modelId="{2DF84CA8-05F6-44B5-B32C-C070F0034577}" srcId="{D09E3D4F-1D7D-42D1-986A-2D072940B2CA}" destId="{A63D69D2-ED31-4993-930F-751C45C13CD4}" srcOrd="0" destOrd="0" parTransId="{56CFB6F2-8ADE-4838-A1ED-04DC59B84DF2}" sibTransId="{C3A94619-7880-4FE5-9FE3-8CDA03266D62}"/>
    <dgm:cxn modelId="{2AB946AA-81B9-471D-9447-2C92C3DA6716}" type="presOf" srcId="{8A0FDD62-5ACB-4363-8100-7921DB27FED9}" destId="{4C951630-26BE-4FC2-B02A-6EABC31BCC02}" srcOrd="1" destOrd="0" presId="urn:microsoft.com/office/officeart/2009/3/layout/HorizontalOrganizationChart"/>
    <dgm:cxn modelId="{9CB71FB1-4091-4499-A694-E01ECE5458BA}" type="presOf" srcId="{8A0FDD62-5ACB-4363-8100-7921DB27FED9}" destId="{9243952B-3833-4F9A-A71B-0A59EE8FED19}" srcOrd="0" destOrd="0" presId="urn:microsoft.com/office/officeart/2009/3/layout/HorizontalOrganizationChart"/>
    <dgm:cxn modelId="{1AAC81B3-3511-4BEE-B020-161368D405A0}" srcId="{D09E3D4F-1D7D-42D1-986A-2D072940B2CA}" destId="{91762AC4-5843-45DA-BD82-07AA1A1B93DC}" srcOrd="1" destOrd="0" parTransId="{44316C2B-8810-4B50-9686-5B8AC20A9943}" sibTransId="{69F84360-F8FB-4DC2-8AA4-DA39E260F788}"/>
    <dgm:cxn modelId="{3906FFB6-8A5C-4D36-979B-0E1D1A1CD3FD}" type="presOf" srcId="{56CFB6F2-8ADE-4838-A1ED-04DC59B84DF2}" destId="{3C8331C7-B13D-4AF7-A323-1B1603B58B0E}" srcOrd="0" destOrd="0" presId="urn:microsoft.com/office/officeart/2009/3/layout/HorizontalOrganizationChart"/>
    <dgm:cxn modelId="{014BABC1-0E51-4069-80CD-AE6B55BB3A4A}" type="presOf" srcId="{91762AC4-5843-45DA-BD82-07AA1A1B93DC}" destId="{240D1101-2E34-40E6-BD15-AE5CAEF83A68}" srcOrd="1" destOrd="0" presId="urn:microsoft.com/office/officeart/2009/3/layout/HorizontalOrganizationChart"/>
    <dgm:cxn modelId="{005F93D0-0F40-B244-93EB-B7486C7FF021}" srcId="{C14FF3FB-789E-4041-BAA4-8A5D3EF74394}" destId="{4CC743BE-89B2-7B43-BF58-D59F86D8E5AF}" srcOrd="3" destOrd="0" parTransId="{6FCB5090-C78A-4A40-B1E1-D95882A618A4}" sibTransId="{DDD58D91-D3F1-CF45-A967-235059630097}"/>
    <dgm:cxn modelId="{49920FD5-87B7-4F99-ACE4-0498AF7B821F}" type="presOf" srcId="{44316C2B-8810-4B50-9686-5B8AC20A9943}" destId="{4E1287EB-C0CC-4C9B-8503-F8372D7BE22A}" srcOrd="0" destOrd="0" presId="urn:microsoft.com/office/officeart/2009/3/layout/HorizontalOrganizationChart"/>
    <dgm:cxn modelId="{AD5298DF-9589-4A56-B320-737BAAF026D5}" srcId="{8A0FDD62-5ACB-4363-8100-7921DB27FED9}" destId="{008E733D-A691-43BC-BA5B-9A1FC1EAE70B}" srcOrd="1" destOrd="0" parTransId="{9B6CE281-A07D-4914-93D2-9572AC8D5A6F}" sibTransId="{C1D44F35-2DE3-41EF-8668-22EC13345377}"/>
    <dgm:cxn modelId="{471993E1-B340-4A72-921B-81101BD0227A}" type="presOf" srcId="{9C224AA8-5D6D-439F-A5FF-D80F3FA166E4}" destId="{F6C5896B-E465-4949-89C8-FE4B715A7AA6}" srcOrd="0" destOrd="0" presId="urn:microsoft.com/office/officeart/2009/3/layout/HorizontalOrganizationChart"/>
    <dgm:cxn modelId="{498BAEE2-7893-4D7B-95CC-F1C754C0CACB}" srcId="{C14FF3FB-789E-4041-BAA4-8A5D3EF74394}" destId="{D09E3D4F-1D7D-42D1-986A-2D072940B2CA}" srcOrd="1" destOrd="0" parTransId="{68ACF64D-A3E1-46BE-A0F8-EACFA27593B4}" sibTransId="{086D19BD-9679-4E1D-AB18-9C674F65C6F7}"/>
    <dgm:cxn modelId="{E02BB2F0-87BB-483B-91A1-E7038189B78B}" srcId="{8A0FDD62-5ACB-4363-8100-7921DB27FED9}" destId="{9C224AA8-5D6D-439F-A5FF-D80F3FA166E4}" srcOrd="0" destOrd="0" parTransId="{FE1183B8-299D-4DAE-9761-D4155ED0D626}" sibTransId="{46ECC135-E1CD-4BA3-940E-260EB4B089CC}"/>
    <dgm:cxn modelId="{1BBA2148-F184-41BE-A4AA-FF4AE6E11402}" type="presParOf" srcId="{6DAD5AF5-2F6C-40CF-B4A4-4535DCB1DE5D}" destId="{9E669CAF-C666-4968-9C8A-A75CD735112E}" srcOrd="0" destOrd="0" presId="urn:microsoft.com/office/officeart/2009/3/layout/HorizontalOrganizationChart"/>
    <dgm:cxn modelId="{CD4A52A8-BB30-46B1-A09C-FA3E5962EAC3}" type="presParOf" srcId="{9E669CAF-C666-4968-9C8A-A75CD735112E}" destId="{C9310B4B-0140-4156-88BB-BB8B405BA2F6}" srcOrd="0" destOrd="0" presId="urn:microsoft.com/office/officeart/2009/3/layout/HorizontalOrganizationChart"/>
    <dgm:cxn modelId="{00FEEC05-1D06-4F50-9D37-E227647C0275}" type="presParOf" srcId="{C9310B4B-0140-4156-88BB-BB8B405BA2F6}" destId="{9243952B-3833-4F9A-A71B-0A59EE8FED19}" srcOrd="0" destOrd="0" presId="urn:microsoft.com/office/officeart/2009/3/layout/HorizontalOrganizationChart"/>
    <dgm:cxn modelId="{61330E62-BE84-4CF8-B87D-76F69F8989F7}" type="presParOf" srcId="{C9310B4B-0140-4156-88BB-BB8B405BA2F6}" destId="{4C951630-26BE-4FC2-B02A-6EABC31BCC02}" srcOrd="1" destOrd="0" presId="urn:microsoft.com/office/officeart/2009/3/layout/HorizontalOrganizationChart"/>
    <dgm:cxn modelId="{2CE91F4A-E069-4DC6-AEE5-7A68566C91BE}" type="presParOf" srcId="{9E669CAF-C666-4968-9C8A-A75CD735112E}" destId="{A9CBB20B-D2FF-462D-8365-7D562044133A}" srcOrd="1" destOrd="0" presId="urn:microsoft.com/office/officeart/2009/3/layout/HorizontalOrganizationChart"/>
    <dgm:cxn modelId="{38FD33C2-E9ED-421A-AB97-66306F9C9EA4}" type="presParOf" srcId="{A9CBB20B-D2FF-462D-8365-7D562044133A}" destId="{C5E9805B-8734-43E5-87A9-3E4EDE6400A1}" srcOrd="0" destOrd="0" presId="urn:microsoft.com/office/officeart/2009/3/layout/HorizontalOrganizationChart"/>
    <dgm:cxn modelId="{AB331918-CE8E-4BD5-8F39-5A78E4F37DF3}" type="presParOf" srcId="{A9CBB20B-D2FF-462D-8365-7D562044133A}" destId="{59D565F5-CF79-4EC0-B001-75692E0C55A5}" srcOrd="1" destOrd="0" presId="urn:microsoft.com/office/officeart/2009/3/layout/HorizontalOrganizationChart"/>
    <dgm:cxn modelId="{C0A68D2F-44EF-4A10-AB34-46A774F23A22}" type="presParOf" srcId="{59D565F5-CF79-4EC0-B001-75692E0C55A5}" destId="{FD1AFDEF-415B-41D7-A2B3-18097AE78CD0}" srcOrd="0" destOrd="0" presId="urn:microsoft.com/office/officeart/2009/3/layout/HorizontalOrganizationChart"/>
    <dgm:cxn modelId="{C91D4CE7-12AC-4F90-9AFD-D0BE248578DB}" type="presParOf" srcId="{FD1AFDEF-415B-41D7-A2B3-18097AE78CD0}" destId="{F6C5896B-E465-4949-89C8-FE4B715A7AA6}" srcOrd="0" destOrd="0" presId="urn:microsoft.com/office/officeart/2009/3/layout/HorizontalOrganizationChart"/>
    <dgm:cxn modelId="{7D5BFA1F-51B3-46A7-B782-3C218484186E}" type="presParOf" srcId="{FD1AFDEF-415B-41D7-A2B3-18097AE78CD0}" destId="{E545B4FB-CAAE-4F67-8274-077F8989871C}" srcOrd="1" destOrd="0" presId="urn:microsoft.com/office/officeart/2009/3/layout/HorizontalOrganizationChart"/>
    <dgm:cxn modelId="{2DDC45EE-5C4F-471D-B9E6-165EED17ADD7}" type="presParOf" srcId="{59D565F5-CF79-4EC0-B001-75692E0C55A5}" destId="{12A0EF90-D8EB-4D76-A8C2-74FEB5F363FC}" srcOrd="1" destOrd="0" presId="urn:microsoft.com/office/officeart/2009/3/layout/HorizontalOrganizationChart"/>
    <dgm:cxn modelId="{DF3D3A8F-F7E9-4699-A141-CF0E8EA8347E}" type="presParOf" srcId="{59D565F5-CF79-4EC0-B001-75692E0C55A5}" destId="{945B86D7-60E4-41FF-9E22-41E01EACAF57}" srcOrd="2" destOrd="0" presId="urn:microsoft.com/office/officeart/2009/3/layout/HorizontalOrganizationChart"/>
    <dgm:cxn modelId="{570AB87B-F212-470D-AAFE-0007CE7D9C98}" type="presParOf" srcId="{A9CBB20B-D2FF-462D-8365-7D562044133A}" destId="{128DFF0E-9219-4A5D-9DC2-F45043BFED9C}" srcOrd="2" destOrd="0" presId="urn:microsoft.com/office/officeart/2009/3/layout/HorizontalOrganizationChart"/>
    <dgm:cxn modelId="{AB377DF9-02DB-4A1B-9A6F-8D5CBF15E237}" type="presParOf" srcId="{A9CBB20B-D2FF-462D-8365-7D562044133A}" destId="{FAA8B00E-FFCD-4593-8064-8429CF84817D}" srcOrd="3" destOrd="0" presId="urn:microsoft.com/office/officeart/2009/3/layout/HorizontalOrganizationChart"/>
    <dgm:cxn modelId="{F0E35F52-E630-46F5-8602-6A637DC64B33}" type="presParOf" srcId="{FAA8B00E-FFCD-4593-8064-8429CF84817D}" destId="{4791B7BC-7EE6-4C28-B1A7-F15C8A55C61B}" srcOrd="0" destOrd="0" presId="urn:microsoft.com/office/officeart/2009/3/layout/HorizontalOrganizationChart"/>
    <dgm:cxn modelId="{8B4D615B-562E-48AF-84CF-0BAE577EBD31}" type="presParOf" srcId="{4791B7BC-7EE6-4C28-B1A7-F15C8A55C61B}" destId="{7912A520-6302-4FA0-B726-5F1C79158053}" srcOrd="0" destOrd="0" presId="urn:microsoft.com/office/officeart/2009/3/layout/HorizontalOrganizationChart"/>
    <dgm:cxn modelId="{3CE242D1-49EE-49F4-BE6F-B7ACD5DF6847}" type="presParOf" srcId="{4791B7BC-7EE6-4C28-B1A7-F15C8A55C61B}" destId="{B94DF8A1-A875-4807-9162-20A5A5F20602}" srcOrd="1" destOrd="0" presId="urn:microsoft.com/office/officeart/2009/3/layout/HorizontalOrganizationChart"/>
    <dgm:cxn modelId="{027A58EE-77C3-445F-97ED-EDBA31F8036C}" type="presParOf" srcId="{FAA8B00E-FFCD-4593-8064-8429CF84817D}" destId="{6D2B7FA0-C8F7-4BB1-A24B-5867C359A830}" srcOrd="1" destOrd="0" presId="urn:microsoft.com/office/officeart/2009/3/layout/HorizontalOrganizationChart"/>
    <dgm:cxn modelId="{35187DFD-FEA4-47C8-B1B8-F9E10844464F}" type="presParOf" srcId="{FAA8B00E-FFCD-4593-8064-8429CF84817D}" destId="{9E8D2733-07A7-4B55-AECD-D0F401EC67DB}" srcOrd="2" destOrd="0" presId="urn:microsoft.com/office/officeart/2009/3/layout/HorizontalOrganizationChart"/>
    <dgm:cxn modelId="{2EEB8B91-47BD-4CBB-BF41-68D9D0249310}" type="presParOf" srcId="{9E669CAF-C666-4968-9C8A-A75CD735112E}" destId="{BB1C3144-AF76-4C1A-AC16-5745FE3D6FF4}" srcOrd="2" destOrd="0" presId="urn:microsoft.com/office/officeart/2009/3/layout/HorizontalOrganizationChart"/>
    <dgm:cxn modelId="{955AEF40-4F3F-4537-AF01-8943C55F9F46}" type="presParOf" srcId="{6DAD5AF5-2F6C-40CF-B4A4-4535DCB1DE5D}" destId="{E18B88DC-BC5B-4269-8303-2816E8A33297}" srcOrd="1" destOrd="0" presId="urn:microsoft.com/office/officeart/2009/3/layout/HorizontalOrganizationChart"/>
    <dgm:cxn modelId="{E2C7FD41-5A95-4129-949B-E52C827BCFEE}" type="presParOf" srcId="{E18B88DC-BC5B-4269-8303-2816E8A33297}" destId="{7E1EFAEC-C6C5-4489-9136-BD7B0956B289}" srcOrd="0" destOrd="0" presId="urn:microsoft.com/office/officeart/2009/3/layout/HorizontalOrganizationChart"/>
    <dgm:cxn modelId="{BEDF551C-3DAF-4BD3-8D74-32D5C90B7E44}" type="presParOf" srcId="{7E1EFAEC-C6C5-4489-9136-BD7B0956B289}" destId="{8F43BE6E-166A-4736-B495-0F0C5F9C5A94}" srcOrd="0" destOrd="0" presId="urn:microsoft.com/office/officeart/2009/3/layout/HorizontalOrganizationChart"/>
    <dgm:cxn modelId="{3AF3451C-B360-45D9-87AD-F22BD0B2F8A0}" type="presParOf" srcId="{7E1EFAEC-C6C5-4489-9136-BD7B0956B289}" destId="{65E7425D-55D2-4A95-85AE-4170C0981629}" srcOrd="1" destOrd="0" presId="urn:microsoft.com/office/officeart/2009/3/layout/HorizontalOrganizationChart"/>
    <dgm:cxn modelId="{84F8506D-BB3A-45DD-A804-FF6EF4A34DF4}" type="presParOf" srcId="{E18B88DC-BC5B-4269-8303-2816E8A33297}" destId="{0A91E4F6-AD54-49CF-9C53-9262E286DF5E}" srcOrd="1" destOrd="0" presId="urn:microsoft.com/office/officeart/2009/3/layout/HorizontalOrganizationChart"/>
    <dgm:cxn modelId="{6C56CFF5-6BE4-4FD0-917A-B1F908753DEA}" type="presParOf" srcId="{0A91E4F6-AD54-49CF-9C53-9262E286DF5E}" destId="{3C8331C7-B13D-4AF7-A323-1B1603B58B0E}" srcOrd="0" destOrd="0" presId="urn:microsoft.com/office/officeart/2009/3/layout/HorizontalOrganizationChart"/>
    <dgm:cxn modelId="{40B7F0CC-6AB5-4F6E-AF7C-EE9FFC84E04F}" type="presParOf" srcId="{0A91E4F6-AD54-49CF-9C53-9262E286DF5E}" destId="{B92978FC-A8E3-4BC5-983D-A951B513D496}" srcOrd="1" destOrd="0" presId="urn:microsoft.com/office/officeart/2009/3/layout/HorizontalOrganizationChart"/>
    <dgm:cxn modelId="{AAFE19FC-A7D2-45AE-AC56-DD5FBB83E39A}" type="presParOf" srcId="{B92978FC-A8E3-4BC5-983D-A951B513D496}" destId="{BCE6459C-EE48-41D9-B74E-BEC9785A15BD}" srcOrd="0" destOrd="0" presId="urn:microsoft.com/office/officeart/2009/3/layout/HorizontalOrganizationChart"/>
    <dgm:cxn modelId="{9F5890F7-0D57-45A2-BAD9-9FBB3B2476BC}" type="presParOf" srcId="{BCE6459C-EE48-41D9-B74E-BEC9785A15BD}" destId="{B633B50C-55B7-4080-8A5D-DD9EE7F65740}" srcOrd="0" destOrd="0" presId="urn:microsoft.com/office/officeart/2009/3/layout/HorizontalOrganizationChart"/>
    <dgm:cxn modelId="{A7F795A8-0DD5-42E3-A9ED-1325D6DC1215}" type="presParOf" srcId="{BCE6459C-EE48-41D9-B74E-BEC9785A15BD}" destId="{BCAEF62C-2B92-4445-AEF0-05B432CBDEDE}" srcOrd="1" destOrd="0" presId="urn:microsoft.com/office/officeart/2009/3/layout/HorizontalOrganizationChart"/>
    <dgm:cxn modelId="{7A5AAA12-D2CE-43F1-B8EF-98656DE7EBDE}" type="presParOf" srcId="{B92978FC-A8E3-4BC5-983D-A951B513D496}" destId="{85D17B27-E6A5-4A40-B9C1-320A246A7E32}" srcOrd="1" destOrd="0" presId="urn:microsoft.com/office/officeart/2009/3/layout/HorizontalOrganizationChart"/>
    <dgm:cxn modelId="{F1E9E4F9-78A6-42E8-B570-4DAB2549CA24}" type="presParOf" srcId="{B92978FC-A8E3-4BC5-983D-A951B513D496}" destId="{009D29F9-C5F4-4601-953B-F2A1F0EC73B1}" srcOrd="2" destOrd="0" presId="urn:microsoft.com/office/officeart/2009/3/layout/HorizontalOrganizationChart"/>
    <dgm:cxn modelId="{379614FD-7BAD-4FF5-B45A-0F91817B4635}" type="presParOf" srcId="{0A91E4F6-AD54-49CF-9C53-9262E286DF5E}" destId="{4E1287EB-C0CC-4C9B-8503-F8372D7BE22A}" srcOrd="2" destOrd="0" presId="urn:microsoft.com/office/officeart/2009/3/layout/HorizontalOrganizationChart"/>
    <dgm:cxn modelId="{28902B3C-7AC7-44C7-A2C0-1652103DDF83}" type="presParOf" srcId="{0A91E4F6-AD54-49CF-9C53-9262E286DF5E}" destId="{30BCAA1C-BC25-46FB-975C-8FC930EF37D0}" srcOrd="3" destOrd="0" presId="urn:microsoft.com/office/officeart/2009/3/layout/HorizontalOrganizationChart"/>
    <dgm:cxn modelId="{787DEEA4-6EF7-45C0-906E-6EC1AFC6D7DA}" type="presParOf" srcId="{30BCAA1C-BC25-46FB-975C-8FC930EF37D0}" destId="{6641C33A-4F6C-4E1C-8D18-646008060B9F}" srcOrd="0" destOrd="0" presId="urn:microsoft.com/office/officeart/2009/3/layout/HorizontalOrganizationChart"/>
    <dgm:cxn modelId="{80D4E7DA-FC11-481E-B016-E8D455910CCA}" type="presParOf" srcId="{6641C33A-4F6C-4E1C-8D18-646008060B9F}" destId="{F8970BD3-839A-4C82-84BD-B0A41A6A9807}" srcOrd="0" destOrd="0" presId="urn:microsoft.com/office/officeart/2009/3/layout/HorizontalOrganizationChart"/>
    <dgm:cxn modelId="{4A84F124-55EE-4507-8A93-4FE308F64D1B}" type="presParOf" srcId="{6641C33A-4F6C-4E1C-8D18-646008060B9F}" destId="{240D1101-2E34-40E6-BD15-AE5CAEF83A68}" srcOrd="1" destOrd="0" presId="urn:microsoft.com/office/officeart/2009/3/layout/HorizontalOrganizationChart"/>
    <dgm:cxn modelId="{8F60F114-CE00-4D39-A890-478F832DCF52}" type="presParOf" srcId="{30BCAA1C-BC25-46FB-975C-8FC930EF37D0}" destId="{E0095A6F-32CE-4B3E-BA2B-7B435D2E0C1B}" srcOrd="1" destOrd="0" presId="urn:microsoft.com/office/officeart/2009/3/layout/HorizontalOrganizationChart"/>
    <dgm:cxn modelId="{F604783F-B22D-41DA-BC46-EA5CA0910368}" type="presParOf" srcId="{30BCAA1C-BC25-46FB-975C-8FC930EF37D0}" destId="{0B7ED1C2-376D-49B3-9285-F308DEBA2294}" srcOrd="2" destOrd="0" presId="urn:microsoft.com/office/officeart/2009/3/layout/HorizontalOrganizationChart"/>
    <dgm:cxn modelId="{D9E50B7F-37E9-A541-AC10-FC33CA870B40}" type="presParOf" srcId="{0A91E4F6-AD54-49CF-9C53-9262E286DF5E}" destId="{97D80550-4753-414D-9E2C-29E87CC202F1}" srcOrd="4" destOrd="0" presId="urn:microsoft.com/office/officeart/2009/3/layout/HorizontalOrganizationChart"/>
    <dgm:cxn modelId="{0A8C5D3A-4A2C-0C46-844A-4253898FDBBD}" type="presParOf" srcId="{0A91E4F6-AD54-49CF-9C53-9262E286DF5E}" destId="{AFBDD29A-F995-7942-816C-A971466B6455}" srcOrd="5" destOrd="0" presId="urn:microsoft.com/office/officeart/2009/3/layout/HorizontalOrganizationChart"/>
    <dgm:cxn modelId="{535CBBB2-91A8-5448-A113-EB481EB96411}" type="presParOf" srcId="{AFBDD29A-F995-7942-816C-A971466B6455}" destId="{B7B45292-BDF8-124E-BDB4-0352C7C47D67}" srcOrd="0" destOrd="0" presId="urn:microsoft.com/office/officeart/2009/3/layout/HorizontalOrganizationChart"/>
    <dgm:cxn modelId="{42F43251-624B-4445-B2D3-689B8C5860D7}" type="presParOf" srcId="{B7B45292-BDF8-124E-BDB4-0352C7C47D67}" destId="{C517AAD2-5580-C644-8C97-234B421E295B}" srcOrd="0" destOrd="0" presId="urn:microsoft.com/office/officeart/2009/3/layout/HorizontalOrganizationChart"/>
    <dgm:cxn modelId="{8E7F28CB-87AA-9440-AA2D-E46873466702}" type="presParOf" srcId="{B7B45292-BDF8-124E-BDB4-0352C7C47D67}" destId="{AE3B0388-2463-EF47-AFC2-5437291EF998}" srcOrd="1" destOrd="0" presId="urn:microsoft.com/office/officeart/2009/3/layout/HorizontalOrganizationChart"/>
    <dgm:cxn modelId="{D12C27B0-C126-DE46-B3E2-7A48DE61374A}" type="presParOf" srcId="{AFBDD29A-F995-7942-816C-A971466B6455}" destId="{1D002B0A-C78F-3E48-8C25-35AA92CAD96F}" srcOrd="1" destOrd="0" presId="urn:microsoft.com/office/officeart/2009/3/layout/HorizontalOrganizationChart"/>
    <dgm:cxn modelId="{825F1641-1B08-3D48-BBC1-FFB0AC6B9E4F}" type="presParOf" srcId="{AFBDD29A-F995-7942-816C-A971466B6455}" destId="{B0C7CB86-8280-C041-9FE8-BF2844EBC949}" srcOrd="2" destOrd="0" presId="urn:microsoft.com/office/officeart/2009/3/layout/HorizontalOrganizationChart"/>
    <dgm:cxn modelId="{3777CB0E-6951-496D-ABF3-8AE7E90A2F0F}" type="presParOf" srcId="{E18B88DC-BC5B-4269-8303-2816E8A33297}" destId="{3AA06DB7-3CF2-4B80-A567-B41E54DCF106}" srcOrd="2" destOrd="0" presId="urn:microsoft.com/office/officeart/2009/3/layout/HorizontalOrganizationChart"/>
    <dgm:cxn modelId="{66BEB029-6BBE-894F-AC08-16E06128AED3}" type="presParOf" srcId="{6DAD5AF5-2F6C-40CF-B4A4-4535DCB1DE5D}" destId="{23C114B1-B44D-274C-ACD6-335C344B8881}" srcOrd="2" destOrd="0" presId="urn:microsoft.com/office/officeart/2009/3/layout/HorizontalOrganizationChart"/>
    <dgm:cxn modelId="{FEEF7B8D-1EDD-2540-9416-6EAC069FE475}" type="presParOf" srcId="{23C114B1-B44D-274C-ACD6-335C344B8881}" destId="{3A5DF050-98B2-A44B-9D94-394A589761C7}" srcOrd="0" destOrd="0" presId="urn:microsoft.com/office/officeart/2009/3/layout/HorizontalOrganizationChart"/>
    <dgm:cxn modelId="{D1553FB0-C4DC-4D4F-A5A8-F7D246B928FD}" type="presParOf" srcId="{3A5DF050-98B2-A44B-9D94-394A589761C7}" destId="{3EA02441-E62E-C24E-A4DF-460F53CDBD20}" srcOrd="0" destOrd="0" presId="urn:microsoft.com/office/officeart/2009/3/layout/HorizontalOrganizationChart"/>
    <dgm:cxn modelId="{418FA2CA-E58B-314D-99DC-264F1B850378}" type="presParOf" srcId="{3A5DF050-98B2-A44B-9D94-394A589761C7}" destId="{03B6B337-FD0F-8F46-B2A3-A49AE23D70A9}" srcOrd="1" destOrd="0" presId="urn:microsoft.com/office/officeart/2009/3/layout/HorizontalOrganizationChart"/>
    <dgm:cxn modelId="{50D0E0B7-0FE0-7047-8E7A-8DB9DCFE92A3}" type="presParOf" srcId="{23C114B1-B44D-274C-ACD6-335C344B8881}" destId="{DE1717D0-2F56-2147-8E6D-2E4A6D170743}" srcOrd="1" destOrd="0" presId="urn:microsoft.com/office/officeart/2009/3/layout/HorizontalOrganizationChart"/>
    <dgm:cxn modelId="{F6024C63-812F-8C45-B1FD-0597965B651A}" type="presParOf" srcId="{23C114B1-B44D-274C-ACD6-335C344B8881}" destId="{369D3ECE-AB07-3143-A203-76E48C3520DF}" srcOrd="2" destOrd="0" presId="urn:microsoft.com/office/officeart/2009/3/layout/HorizontalOrganizationChart"/>
    <dgm:cxn modelId="{1A4C4011-44B0-4F45-86C6-BD6AFA0178CF}" type="presParOf" srcId="{6DAD5AF5-2F6C-40CF-B4A4-4535DCB1DE5D}" destId="{130F00FC-FAB4-FC48-8F3A-C00C60F773F6}" srcOrd="3" destOrd="0" presId="urn:microsoft.com/office/officeart/2009/3/layout/HorizontalOrganizationChart"/>
    <dgm:cxn modelId="{3070607D-DD41-1242-A6D3-37C1DD87B860}" type="presParOf" srcId="{130F00FC-FAB4-FC48-8F3A-C00C60F773F6}" destId="{CAC83379-269E-5741-8414-E5ED31DF00E5}" srcOrd="0" destOrd="0" presId="urn:microsoft.com/office/officeart/2009/3/layout/HorizontalOrganizationChart"/>
    <dgm:cxn modelId="{FD1C7F6C-38D4-2D4D-91C5-90F969F6BB64}" type="presParOf" srcId="{CAC83379-269E-5741-8414-E5ED31DF00E5}" destId="{A0471F14-CFB3-8449-8997-79C53AE48F72}" srcOrd="0" destOrd="0" presId="urn:microsoft.com/office/officeart/2009/3/layout/HorizontalOrganizationChart"/>
    <dgm:cxn modelId="{28398A17-AE25-9B4E-B8FA-453F275235A3}" type="presParOf" srcId="{CAC83379-269E-5741-8414-E5ED31DF00E5}" destId="{20E2811A-1241-1C43-8D08-396FBA25036F}" srcOrd="1" destOrd="0" presId="urn:microsoft.com/office/officeart/2009/3/layout/HorizontalOrganizationChart"/>
    <dgm:cxn modelId="{8BC4B408-F08D-1A4E-A4EE-E1EFB9E9E9F4}" type="presParOf" srcId="{130F00FC-FAB4-FC48-8F3A-C00C60F773F6}" destId="{EDCA2F9E-F17A-3E45-80B8-679DF2787438}" srcOrd="1" destOrd="0" presId="urn:microsoft.com/office/officeart/2009/3/layout/HorizontalOrganizationChart"/>
    <dgm:cxn modelId="{57E05CD6-E599-C645-8689-3E5CA0544D86}" type="presParOf" srcId="{130F00FC-FAB4-FC48-8F3A-C00C60F773F6}" destId="{81A7C4EA-C53A-3A4F-B2EC-E0CE77B8741F}" srcOrd="2" destOrd="0" presId="urn:microsoft.com/office/officeart/2009/3/layout/HorizontalOrganizationChart"/>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14FF3FB-789E-4041-BAA4-8A5D3EF74394}" type="doc">
      <dgm:prSet loTypeId="urn:microsoft.com/office/officeart/2009/3/layout/HorizontalOrganizationChart" loCatId="hierarchy" qsTypeId="urn:microsoft.com/office/officeart/2005/8/quickstyle/simple1" qsCatId="simple" csTypeId="urn:microsoft.com/office/officeart/2005/8/colors/accent1_2" csCatId="accent1" phldr="1"/>
      <dgm:spPr/>
      <dgm:t>
        <a:bodyPr/>
        <a:lstStyle/>
        <a:p>
          <a:endParaRPr lang="en-US"/>
        </a:p>
      </dgm:t>
    </dgm:pt>
    <dgm:pt modelId="{8A0FDD62-5ACB-4363-8100-7921DB27FED9}">
      <dgm:prSet phldrT="[Text]" custT="1"/>
      <dgm:spPr>
        <a:solidFill>
          <a:schemeClr val="accent6"/>
        </a:solidFill>
      </dgm:spPr>
      <dgm:t>
        <a:bodyPr/>
        <a:lstStyle/>
        <a:p>
          <a:r>
            <a:rPr lang="en-US" sz="1800" dirty="0"/>
            <a:t>Recycling</a:t>
          </a:r>
        </a:p>
      </dgm:t>
    </dgm:pt>
    <dgm:pt modelId="{2E0A18BD-4B57-45A2-B599-17A5236A0DBA}" type="parTrans" cxnId="{FFCB8E0E-83EF-4599-BF13-C986EE976DEB}">
      <dgm:prSet/>
      <dgm:spPr/>
      <dgm:t>
        <a:bodyPr/>
        <a:lstStyle/>
        <a:p>
          <a:endParaRPr lang="en-US" sz="1800"/>
        </a:p>
      </dgm:t>
    </dgm:pt>
    <dgm:pt modelId="{95404541-6FCE-499D-B544-6283CA283D12}" type="sibTrans" cxnId="{FFCB8E0E-83EF-4599-BF13-C986EE976DEB}">
      <dgm:prSet/>
      <dgm:spPr/>
      <dgm:t>
        <a:bodyPr/>
        <a:lstStyle/>
        <a:p>
          <a:endParaRPr lang="en-US" sz="1800"/>
        </a:p>
      </dgm:t>
    </dgm:pt>
    <dgm:pt modelId="{9C224AA8-5D6D-439F-A5FF-D80F3FA166E4}">
      <dgm:prSet phldrT="[Text]" custT="1"/>
      <dgm:spPr>
        <a:solidFill>
          <a:schemeClr val="accent6"/>
        </a:solidFill>
      </dgm:spPr>
      <dgm:t>
        <a:bodyPr/>
        <a:lstStyle/>
        <a:p>
          <a:r>
            <a:rPr lang="en-US" sz="1800" dirty="0"/>
            <a:t>Class I</a:t>
          </a:r>
        </a:p>
      </dgm:t>
    </dgm:pt>
    <dgm:pt modelId="{FE1183B8-299D-4DAE-9761-D4155ED0D626}" type="parTrans" cxnId="{E02BB2F0-87BB-483B-91A1-E7038189B78B}">
      <dgm:prSet/>
      <dgm:spPr/>
      <dgm:t>
        <a:bodyPr/>
        <a:lstStyle/>
        <a:p>
          <a:endParaRPr lang="en-US" sz="1800"/>
        </a:p>
      </dgm:t>
    </dgm:pt>
    <dgm:pt modelId="{46ECC135-E1CD-4BA3-940E-260EB4B089CC}" type="sibTrans" cxnId="{E02BB2F0-87BB-483B-91A1-E7038189B78B}">
      <dgm:prSet/>
      <dgm:spPr/>
      <dgm:t>
        <a:bodyPr/>
        <a:lstStyle/>
        <a:p>
          <a:endParaRPr lang="en-US" sz="1800"/>
        </a:p>
      </dgm:t>
    </dgm:pt>
    <dgm:pt modelId="{D09E3D4F-1D7D-42D1-986A-2D072940B2CA}">
      <dgm:prSet phldrT="[Text]" custT="1"/>
      <dgm:spPr>
        <a:solidFill>
          <a:schemeClr val="accent6"/>
        </a:solidFill>
      </dgm:spPr>
      <dgm:t>
        <a:bodyPr/>
        <a:lstStyle/>
        <a:p>
          <a:r>
            <a:rPr lang="en-US" sz="1800" dirty="0"/>
            <a:t>Organics Processing</a:t>
          </a:r>
        </a:p>
      </dgm:t>
    </dgm:pt>
    <dgm:pt modelId="{68ACF64D-A3E1-46BE-A0F8-EACFA27593B4}" type="parTrans" cxnId="{498BAEE2-7893-4D7B-95CC-F1C754C0CACB}">
      <dgm:prSet/>
      <dgm:spPr/>
      <dgm:t>
        <a:bodyPr/>
        <a:lstStyle/>
        <a:p>
          <a:endParaRPr lang="en-US" sz="1800"/>
        </a:p>
      </dgm:t>
    </dgm:pt>
    <dgm:pt modelId="{086D19BD-9679-4E1D-AB18-9C674F65C6F7}" type="sibTrans" cxnId="{498BAEE2-7893-4D7B-95CC-F1C754C0CACB}">
      <dgm:prSet/>
      <dgm:spPr/>
      <dgm:t>
        <a:bodyPr/>
        <a:lstStyle/>
        <a:p>
          <a:endParaRPr lang="en-US" sz="1800"/>
        </a:p>
      </dgm:t>
    </dgm:pt>
    <dgm:pt modelId="{A63D69D2-ED31-4993-930F-751C45C13CD4}">
      <dgm:prSet phldrT="[Text]" custT="1"/>
      <dgm:spPr>
        <a:solidFill>
          <a:schemeClr val="accent6"/>
        </a:solidFill>
      </dgm:spPr>
      <dgm:t>
        <a:bodyPr/>
        <a:lstStyle/>
        <a:p>
          <a:r>
            <a:rPr lang="en-US" sz="1800" dirty="0"/>
            <a:t>Food Waste &amp; Manure</a:t>
          </a:r>
        </a:p>
      </dgm:t>
    </dgm:pt>
    <dgm:pt modelId="{56CFB6F2-8ADE-4838-A1ED-04DC59B84DF2}" type="parTrans" cxnId="{2DF84CA8-05F6-44B5-B32C-C070F0034577}">
      <dgm:prSet/>
      <dgm:spPr/>
      <dgm:t>
        <a:bodyPr/>
        <a:lstStyle/>
        <a:p>
          <a:endParaRPr lang="en-US" sz="1800"/>
        </a:p>
      </dgm:t>
    </dgm:pt>
    <dgm:pt modelId="{C3A94619-7880-4FE5-9FE3-8CDA03266D62}" type="sibTrans" cxnId="{2DF84CA8-05F6-44B5-B32C-C070F0034577}">
      <dgm:prSet/>
      <dgm:spPr/>
      <dgm:t>
        <a:bodyPr/>
        <a:lstStyle/>
        <a:p>
          <a:endParaRPr lang="en-US" sz="1800"/>
        </a:p>
      </dgm:t>
    </dgm:pt>
    <dgm:pt modelId="{91762AC4-5843-45DA-BD82-07AA1A1B93DC}">
      <dgm:prSet phldrT="[Text]" custT="1"/>
      <dgm:spPr>
        <a:solidFill>
          <a:schemeClr val="accent6"/>
        </a:solidFill>
      </dgm:spPr>
      <dgm:t>
        <a:bodyPr/>
        <a:lstStyle/>
        <a:p>
          <a:r>
            <a:rPr lang="en-US" sz="1800" dirty="0"/>
            <a:t>Yard Trash</a:t>
          </a:r>
        </a:p>
      </dgm:t>
    </dgm:pt>
    <dgm:pt modelId="{44316C2B-8810-4B50-9686-5B8AC20A9943}" type="parTrans" cxnId="{1AAC81B3-3511-4BEE-B020-161368D405A0}">
      <dgm:prSet/>
      <dgm:spPr/>
      <dgm:t>
        <a:bodyPr/>
        <a:lstStyle/>
        <a:p>
          <a:endParaRPr lang="en-US" sz="1800"/>
        </a:p>
      </dgm:t>
    </dgm:pt>
    <dgm:pt modelId="{69F84360-F8FB-4DC2-8AA4-DA39E260F788}" type="sibTrans" cxnId="{1AAC81B3-3511-4BEE-B020-161368D405A0}">
      <dgm:prSet/>
      <dgm:spPr/>
      <dgm:t>
        <a:bodyPr/>
        <a:lstStyle/>
        <a:p>
          <a:endParaRPr lang="en-US" sz="1800"/>
        </a:p>
      </dgm:t>
    </dgm:pt>
    <dgm:pt modelId="{008E733D-A691-43BC-BA5B-9A1FC1EAE70B}">
      <dgm:prSet phldrT="[Text]" custT="1"/>
      <dgm:spPr>
        <a:solidFill>
          <a:schemeClr val="accent6"/>
        </a:solidFill>
      </dgm:spPr>
      <dgm:t>
        <a:bodyPr/>
        <a:lstStyle/>
        <a:p>
          <a:r>
            <a:rPr lang="en-US" sz="1800" dirty="0"/>
            <a:t>Class III/CDD</a:t>
          </a:r>
        </a:p>
      </dgm:t>
    </dgm:pt>
    <dgm:pt modelId="{9B6CE281-A07D-4914-93D2-9572AC8D5A6F}" type="parTrans" cxnId="{AD5298DF-9589-4A56-B320-737BAAF026D5}">
      <dgm:prSet/>
      <dgm:spPr/>
      <dgm:t>
        <a:bodyPr/>
        <a:lstStyle/>
        <a:p>
          <a:endParaRPr lang="en-US" sz="1800"/>
        </a:p>
      </dgm:t>
    </dgm:pt>
    <dgm:pt modelId="{C1D44F35-2DE3-41EF-8668-22EC13345377}" type="sibTrans" cxnId="{AD5298DF-9589-4A56-B320-737BAAF026D5}">
      <dgm:prSet/>
      <dgm:spPr/>
      <dgm:t>
        <a:bodyPr/>
        <a:lstStyle/>
        <a:p>
          <a:endParaRPr lang="en-US" sz="1800"/>
        </a:p>
      </dgm:t>
    </dgm:pt>
    <dgm:pt modelId="{4AF9AEFF-42D1-B740-82E9-C1B79BBA1D1D}">
      <dgm:prSet custT="1"/>
      <dgm:spPr>
        <a:solidFill>
          <a:schemeClr val="accent6"/>
        </a:solidFill>
      </dgm:spPr>
      <dgm:t>
        <a:bodyPr/>
        <a:lstStyle/>
        <a:p>
          <a:r>
            <a:rPr lang="en-US" sz="1800" dirty="0"/>
            <a:t>Used Oil Processing</a:t>
          </a:r>
        </a:p>
      </dgm:t>
    </dgm:pt>
    <dgm:pt modelId="{136DFE82-DD95-9440-99FE-AD1D30173A71}" type="parTrans" cxnId="{DF4C2B5F-7246-F94A-8255-732907A6C824}">
      <dgm:prSet/>
      <dgm:spPr/>
      <dgm:t>
        <a:bodyPr/>
        <a:lstStyle/>
        <a:p>
          <a:endParaRPr lang="en-US" sz="1800"/>
        </a:p>
      </dgm:t>
    </dgm:pt>
    <dgm:pt modelId="{7CA9E5FE-025A-A543-85F9-9D75B8464C49}" type="sibTrans" cxnId="{DF4C2B5F-7246-F94A-8255-732907A6C824}">
      <dgm:prSet/>
      <dgm:spPr/>
      <dgm:t>
        <a:bodyPr/>
        <a:lstStyle/>
        <a:p>
          <a:endParaRPr lang="en-US" sz="1800"/>
        </a:p>
      </dgm:t>
    </dgm:pt>
    <dgm:pt modelId="{99A6F7B8-F459-C049-8C11-CCDD7B940BE5}">
      <dgm:prSet custT="1"/>
      <dgm:spPr>
        <a:solidFill>
          <a:schemeClr val="accent6"/>
        </a:solidFill>
      </dgm:spPr>
      <dgm:t>
        <a:bodyPr/>
        <a:lstStyle/>
        <a:p>
          <a:r>
            <a:rPr lang="en-US" sz="1800" dirty="0"/>
            <a:t>Anaerobic Digestion</a:t>
          </a:r>
        </a:p>
      </dgm:t>
    </dgm:pt>
    <dgm:pt modelId="{4CE8A549-566D-4C42-A09F-87E406049175}" type="parTrans" cxnId="{F63E21A2-8CCE-FA46-BC05-575C278D6DE2}">
      <dgm:prSet/>
      <dgm:spPr/>
      <dgm:t>
        <a:bodyPr/>
        <a:lstStyle/>
        <a:p>
          <a:endParaRPr lang="en-US" sz="1800"/>
        </a:p>
      </dgm:t>
    </dgm:pt>
    <dgm:pt modelId="{880CDBBF-3EE3-1049-BA69-72D0330DC069}" type="sibTrans" cxnId="{F63E21A2-8CCE-FA46-BC05-575C278D6DE2}">
      <dgm:prSet/>
      <dgm:spPr/>
      <dgm:t>
        <a:bodyPr/>
        <a:lstStyle/>
        <a:p>
          <a:endParaRPr lang="en-US" sz="1800"/>
        </a:p>
      </dgm:t>
    </dgm:pt>
    <dgm:pt modelId="{4CC743BE-89B2-7B43-BF58-D59F86D8E5AF}">
      <dgm:prSet custT="1"/>
      <dgm:spPr>
        <a:solidFill>
          <a:schemeClr val="accent6"/>
        </a:solidFill>
      </dgm:spPr>
      <dgm:t>
        <a:bodyPr/>
        <a:lstStyle/>
        <a:p>
          <a:r>
            <a:rPr lang="en-US" sz="1800" dirty="0"/>
            <a:t>HHW</a:t>
          </a:r>
        </a:p>
      </dgm:t>
    </dgm:pt>
    <dgm:pt modelId="{6FCB5090-C78A-4A40-B1E1-D95882A618A4}" type="parTrans" cxnId="{005F93D0-0F40-B244-93EB-B7486C7FF021}">
      <dgm:prSet/>
      <dgm:spPr/>
      <dgm:t>
        <a:bodyPr/>
        <a:lstStyle/>
        <a:p>
          <a:endParaRPr lang="en-US" sz="1800"/>
        </a:p>
      </dgm:t>
    </dgm:pt>
    <dgm:pt modelId="{DDD58D91-D3F1-CF45-A967-235059630097}" type="sibTrans" cxnId="{005F93D0-0F40-B244-93EB-B7486C7FF021}">
      <dgm:prSet/>
      <dgm:spPr/>
      <dgm:t>
        <a:bodyPr/>
        <a:lstStyle/>
        <a:p>
          <a:endParaRPr lang="en-US" sz="1800"/>
        </a:p>
      </dgm:t>
    </dgm:pt>
    <dgm:pt modelId="{6DAD5AF5-2F6C-40CF-B4A4-4535DCB1DE5D}" type="pres">
      <dgm:prSet presAssocID="{C14FF3FB-789E-4041-BAA4-8A5D3EF74394}" presName="hierChild1" presStyleCnt="0">
        <dgm:presLayoutVars>
          <dgm:orgChart val="1"/>
          <dgm:chPref val="1"/>
          <dgm:dir/>
          <dgm:animOne val="branch"/>
          <dgm:animLvl val="lvl"/>
          <dgm:resizeHandles/>
        </dgm:presLayoutVars>
      </dgm:prSet>
      <dgm:spPr/>
    </dgm:pt>
    <dgm:pt modelId="{9E669CAF-C666-4968-9C8A-A75CD735112E}" type="pres">
      <dgm:prSet presAssocID="{8A0FDD62-5ACB-4363-8100-7921DB27FED9}" presName="hierRoot1" presStyleCnt="0">
        <dgm:presLayoutVars>
          <dgm:hierBranch val="init"/>
        </dgm:presLayoutVars>
      </dgm:prSet>
      <dgm:spPr/>
    </dgm:pt>
    <dgm:pt modelId="{C9310B4B-0140-4156-88BB-BB8B405BA2F6}" type="pres">
      <dgm:prSet presAssocID="{8A0FDD62-5ACB-4363-8100-7921DB27FED9}" presName="rootComposite1" presStyleCnt="0"/>
      <dgm:spPr/>
    </dgm:pt>
    <dgm:pt modelId="{9243952B-3833-4F9A-A71B-0A59EE8FED19}" type="pres">
      <dgm:prSet presAssocID="{8A0FDD62-5ACB-4363-8100-7921DB27FED9}" presName="rootText1" presStyleLbl="node0" presStyleIdx="0" presStyleCnt="4" custLinFactNeighborX="-108" custLinFactNeighborY="9627">
        <dgm:presLayoutVars>
          <dgm:chPref val="3"/>
        </dgm:presLayoutVars>
      </dgm:prSet>
      <dgm:spPr/>
    </dgm:pt>
    <dgm:pt modelId="{4C951630-26BE-4FC2-B02A-6EABC31BCC02}" type="pres">
      <dgm:prSet presAssocID="{8A0FDD62-5ACB-4363-8100-7921DB27FED9}" presName="rootConnector1" presStyleLbl="node1" presStyleIdx="0" presStyleCnt="0"/>
      <dgm:spPr/>
    </dgm:pt>
    <dgm:pt modelId="{A9CBB20B-D2FF-462D-8365-7D562044133A}" type="pres">
      <dgm:prSet presAssocID="{8A0FDD62-5ACB-4363-8100-7921DB27FED9}" presName="hierChild2" presStyleCnt="0"/>
      <dgm:spPr/>
    </dgm:pt>
    <dgm:pt modelId="{C5E9805B-8734-43E5-87A9-3E4EDE6400A1}" type="pres">
      <dgm:prSet presAssocID="{FE1183B8-299D-4DAE-9761-D4155ED0D626}" presName="Name64" presStyleLbl="parChTrans1D2" presStyleIdx="0" presStyleCnt="5"/>
      <dgm:spPr/>
    </dgm:pt>
    <dgm:pt modelId="{59D565F5-CF79-4EC0-B001-75692E0C55A5}" type="pres">
      <dgm:prSet presAssocID="{9C224AA8-5D6D-439F-A5FF-D80F3FA166E4}" presName="hierRoot2" presStyleCnt="0">
        <dgm:presLayoutVars>
          <dgm:hierBranch val="init"/>
        </dgm:presLayoutVars>
      </dgm:prSet>
      <dgm:spPr/>
    </dgm:pt>
    <dgm:pt modelId="{FD1AFDEF-415B-41D7-A2B3-18097AE78CD0}" type="pres">
      <dgm:prSet presAssocID="{9C224AA8-5D6D-439F-A5FF-D80F3FA166E4}" presName="rootComposite" presStyleCnt="0"/>
      <dgm:spPr/>
    </dgm:pt>
    <dgm:pt modelId="{F6C5896B-E465-4949-89C8-FE4B715A7AA6}" type="pres">
      <dgm:prSet presAssocID="{9C224AA8-5D6D-439F-A5FF-D80F3FA166E4}" presName="rootText" presStyleLbl="node2" presStyleIdx="0" presStyleCnt="5" custLinFactNeighborY="9627">
        <dgm:presLayoutVars>
          <dgm:chPref val="3"/>
        </dgm:presLayoutVars>
      </dgm:prSet>
      <dgm:spPr/>
    </dgm:pt>
    <dgm:pt modelId="{E545B4FB-CAAE-4F67-8274-077F8989871C}" type="pres">
      <dgm:prSet presAssocID="{9C224AA8-5D6D-439F-A5FF-D80F3FA166E4}" presName="rootConnector" presStyleLbl="node2" presStyleIdx="0" presStyleCnt="5"/>
      <dgm:spPr/>
    </dgm:pt>
    <dgm:pt modelId="{12A0EF90-D8EB-4D76-A8C2-74FEB5F363FC}" type="pres">
      <dgm:prSet presAssocID="{9C224AA8-5D6D-439F-A5FF-D80F3FA166E4}" presName="hierChild4" presStyleCnt="0"/>
      <dgm:spPr/>
    </dgm:pt>
    <dgm:pt modelId="{945B86D7-60E4-41FF-9E22-41E01EACAF57}" type="pres">
      <dgm:prSet presAssocID="{9C224AA8-5D6D-439F-A5FF-D80F3FA166E4}" presName="hierChild5" presStyleCnt="0"/>
      <dgm:spPr/>
    </dgm:pt>
    <dgm:pt modelId="{128DFF0E-9219-4A5D-9DC2-F45043BFED9C}" type="pres">
      <dgm:prSet presAssocID="{9B6CE281-A07D-4914-93D2-9572AC8D5A6F}" presName="Name64" presStyleLbl="parChTrans1D2" presStyleIdx="1" presStyleCnt="5"/>
      <dgm:spPr/>
    </dgm:pt>
    <dgm:pt modelId="{FAA8B00E-FFCD-4593-8064-8429CF84817D}" type="pres">
      <dgm:prSet presAssocID="{008E733D-A691-43BC-BA5B-9A1FC1EAE70B}" presName="hierRoot2" presStyleCnt="0">
        <dgm:presLayoutVars>
          <dgm:hierBranch val="init"/>
        </dgm:presLayoutVars>
      </dgm:prSet>
      <dgm:spPr/>
    </dgm:pt>
    <dgm:pt modelId="{4791B7BC-7EE6-4C28-B1A7-F15C8A55C61B}" type="pres">
      <dgm:prSet presAssocID="{008E733D-A691-43BC-BA5B-9A1FC1EAE70B}" presName="rootComposite" presStyleCnt="0"/>
      <dgm:spPr/>
    </dgm:pt>
    <dgm:pt modelId="{7912A520-6302-4FA0-B726-5F1C79158053}" type="pres">
      <dgm:prSet presAssocID="{008E733D-A691-43BC-BA5B-9A1FC1EAE70B}" presName="rootText" presStyleLbl="node2" presStyleIdx="1" presStyleCnt="5" custLinFactNeighborY="9627">
        <dgm:presLayoutVars>
          <dgm:chPref val="3"/>
        </dgm:presLayoutVars>
      </dgm:prSet>
      <dgm:spPr/>
    </dgm:pt>
    <dgm:pt modelId="{B94DF8A1-A875-4807-9162-20A5A5F20602}" type="pres">
      <dgm:prSet presAssocID="{008E733D-A691-43BC-BA5B-9A1FC1EAE70B}" presName="rootConnector" presStyleLbl="node2" presStyleIdx="1" presStyleCnt="5"/>
      <dgm:spPr/>
    </dgm:pt>
    <dgm:pt modelId="{6D2B7FA0-C8F7-4BB1-A24B-5867C359A830}" type="pres">
      <dgm:prSet presAssocID="{008E733D-A691-43BC-BA5B-9A1FC1EAE70B}" presName="hierChild4" presStyleCnt="0"/>
      <dgm:spPr/>
    </dgm:pt>
    <dgm:pt modelId="{9E8D2733-07A7-4B55-AECD-D0F401EC67DB}" type="pres">
      <dgm:prSet presAssocID="{008E733D-A691-43BC-BA5B-9A1FC1EAE70B}" presName="hierChild5" presStyleCnt="0"/>
      <dgm:spPr/>
    </dgm:pt>
    <dgm:pt modelId="{BB1C3144-AF76-4C1A-AC16-5745FE3D6FF4}" type="pres">
      <dgm:prSet presAssocID="{8A0FDD62-5ACB-4363-8100-7921DB27FED9}" presName="hierChild3" presStyleCnt="0"/>
      <dgm:spPr/>
    </dgm:pt>
    <dgm:pt modelId="{E18B88DC-BC5B-4269-8303-2816E8A33297}" type="pres">
      <dgm:prSet presAssocID="{D09E3D4F-1D7D-42D1-986A-2D072940B2CA}" presName="hierRoot1" presStyleCnt="0">
        <dgm:presLayoutVars>
          <dgm:hierBranch val="init"/>
        </dgm:presLayoutVars>
      </dgm:prSet>
      <dgm:spPr/>
    </dgm:pt>
    <dgm:pt modelId="{7E1EFAEC-C6C5-4489-9136-BD7B0956B289}" type="pres">
      <dgm:prSet presAssocID="{D09E3D4F-1D7D-42D1-986A-2D072940B2CA}" presName="rootComposite1" presStyleCnt="0"/>
      <dgm:spPr/>
    </dgm:pt>
    <dgm:pt modelId="{8F43BE6E-166A-4736-B495-0F0C5F9C5A94}" type="pres">
      <dgm:prSet presAssocID="{D09E3D4F-1D7D-42D1-986A-2D072940B2CA}" presName="rootText1" presStyleLbl="node0" presStyleIdx="1" presStyleCnt="4" custScaleY="193739">
        <dgm:presLayoutVars>
          <dgm:chPref val="3"/>
        </dgm:presLayoutVars>
      </dgm:prSet>
      <dgm:spPr/>
    </dgm:pt>
    <dgm:pt modelId="{65E7425D-55D2-4A95-85AE-4170C0981629}" type="pres">
      <dgm:prSet presAssocID="{D09E3D4F-1D7D-42D1-986A-2D072940B2CA}" presName="rootConnector1" presStyleLbl="node1" presStyleIdx="0" presStyleCnt="0"/>
      <dgm:spPr/>
    </dgm:pt>
    <dgm:pt modelId="{0A91E4F6-AD54-49CF-9C53-9262E286DF5E}" type="pres">
      <dgm:prSet presAssocID="{D09E3D4F-1D7D-42D1-986A-2D072940B2CA}" presName="hierChild2" presStyleCnt="0"/>
      <dgm:spPr/>
    </dgm:pt>
    <dgm:pt modelId="{3C8331C7-B13D-4AF7-A323-1B1603B58B0E}" type="pres">
      <dgm:prSet presAssocID="{56CFB6F2-8ADE-4838-A1ED-04DC59B84DF2}" presName="Name64" presStyleLbl="parChTrans1D2" presStyleIdx="2" presStyleCnt="5"/>
      <dgm:spPr/>
    </dgm:pt>
    <dgm:pt modelId="{B92978FC-A8E3-4BC5-983D-A951B513D496}" type="pres">
      <dgm:prSet presAssocID="{A63D69D2-ED31-4993-930F-751C45C13CD4}" presName="hierRoot2" presStyleCnt="0">
        <dgm:presLayoutVars>
          <dgm:hierBranch val="init"/>
        </dgm:presLayoutVars>
      </dgm:prSet>
      <dgm:spPr/>
    </dgm:pt>
    <dgm:pt modelId="{BCE6459C-EE48-41D9-B74E-BEC9785A15BD}" type="pres">
      <dgm:prSet presAssocID="{A63D69D2-ED31-4993-930F-751C45C13CD4}" presName="rootComposite" presStyleCnt="0"/>
      <dgm:spPr/>
    </dgm:pt>
    <dgm:pt modelId="{B633B50C-55B7-4080-8A5D-DD9EE7F65740}" type="pres">
      <dgm:prSet presAssocID="{A63D69D2-ED31-4993-930F-751C45C13CD4}" presName="rootText" presStyleLbl="node2" presStyleIdx="2" presStyleCnt="5" custScaleY="183604" custLinFactNeighborY="9627">
        <dgm:presLayoutVars>
          <dgm:chPref val="3"/>
        </dgm:presLayoutVars>
      </dgm:prSet>
      <dgm:spPr/>
    </dgm:pt>
    <dgm:pt modelId="{BCAEF62C-2B92-4445-AEF0-05B432CBDEDE}" type="pres">
      <dgm:prSet presAssocID="{A63D69D2-ED31-4993-930F-751C45C13CD4}" presName="rootConnector" presStyleLbl="node2" presStyleIdx="2" presStyleCnt="5"/>
      <dgm:spPr/>
    </dgm:pt>
    <dgm:pt modelId="{85D17B27-E6A5-4A40-B9C1-320A246A7E32}" type="pres">
      <dgm:prSet presAssocID="{A63D69D2-ED31-4993-930F-751C45C13CD4}" presName="hierChild4" presStyleCnt="0"/>
      <dgm:spPr/>
    </dgm:pt>
    <dgm:pt modelId="{009D29F9-C5F4-4601-953B-F2A1F0EC73B1}" type="pres">
      <dgm:prSet presAssocID="{A63D69D2-ED31-4993-930F-751C45C13CD4}" presName="hierChild5" presStyleCnt="0"/>
      <dgm:spPr/>
    </dgm:pt>
    <dgm:pt modelId="{4E1287EB-C0CC-4C9B-8503-F8372D7BE22A}" type="pres">
      <dgm:prSet presAssocID="{44316C2B-8810-4B50-9686-5B8AC20A9943}" presName="Name64" presStyleLbl="parChTrans1D2" presStyleIdx="3" presStyleCnt="5"/>
      <dgm:spPr/>
    </dgm:pt>
    <dgm:pt modelId="{30BCAA1C-BC25-46FB-975C-8FC930EF37D0}" type="pres">
      <dgm:prSet presAssocID="{91762AC4-5843-45DA-BD82-07AA1A1B93DC}" presName="hierRoot2" presStyleCnt="0">
        <dgm:presLayoutVars>
          <dgm:hierBranch val="init"/>
        </dgm:presLayoutVars>
      </dgm:prSet>
      <dgm:spPr/>
    </dgm:pt>
    <dgm:pt modelId="{6641C33A-4F6C-4E1C-8D18-646008060B9F}" type="pres">
      <dgm:prSet presAssocID="{91762AC4-5843-45DA-BD82-07AA1A1B93DC}" presName="rootComposite" presStyleCnt="0"/>
      <dgm:spPr/>
    </dgm:pt>
    <dgm:pt modelId="{F8970BD3-839A-4C82-84BD-B0A41A6A9807}" type="pres">
      <dgm:prSet presAssocID="{91762AC4-5843-45DA-BD82-07AA1A1B93DC}" presName="rootText" presStyleLbl="node2" presStyleIdx="3" presStyleCnt="5" custLinFactNeighborY="9627">
        <dgm:presLayoutVars>
          <dgm:chPref val="3"/>
        </dgm:presLayoutVars>
      </dgm:prSet>
      <dgm:spPr/>
    </dgm:pt>
    <dgm:pt modelId="{240D1101-2E34-40E6-BD15-AE5CAEF83A68}" type="pres">
      <dgm:prSet presAssocID="{91762AC4-5843-45DA-BD82-07AA1A1B93DC}" presName="rootConnector" presStyleLbl="node2" presStyleIdx="3" presStyleCnt="5"/>
      <dgm:spPr/>
    </dgm:pt>
    <dgm:pt modelId="{E0095A6F-32CE-4B3E-BA2B-7B435D2E0C1B}" type="pres">
      <dgm:prSet presAssocID="{91762AC4-5843-45DA-BD82-07AA1A1B93DC}" presName="hierChild4" presStyleCnt="0"/>
      <dgm:spPr/>
    </dgm:pt>
    <dgm:pt modelId="{0B7ED1C2-376D-49B3-9285-F308DEBA2294}" type="pres">
      <dgm:prSet presAssocID="{91762AC4-5843-45DA-BD82-07AA1A1B93DC}" presName="hierChild5" presStyleCnt="0"/>
      <dgm:spPr/>
    </dgm:pt>
    <dgm:pt modelId="{97D80550-4753-414D-9E2C-29E87CC202F1}" type="pres">
      <dgm:prSet presAssocID="{4CE8A549-566D-4C42-A09F-87E406049175}" presName="Name64" presStyleLbl="parChTrans1D2" presStyleIdx="4" presStyleCnt="5"/>
      <dgm:spPr/>
    </dgm:pt>
    <dgm:pt modelId="{AFBDD29A-F995-7942-816C-A971466B6455}" type="pres">
      <dgm:prSet presAssocID="{99A6F7B8-F459-C049-8C11-CCDD7B940BE5}" presName="hierRoot2" presStyleCnt="0">
        <dgm:presLayoutVars>
          <dgm:hierBranch val="init"/>
        </dgm:presLayoutVars>
      </dgm:prSet>
      <dgm:spPr/>
    </dgm:pt>
    <dgm:pt modelId="{B7B45292-BDF8-124E-BDB4-0352C7C47D67}" type="pres">
      <dgm:prSet presAssocID="{99A6F7B8-F459-C049-8C11-CCDD7B940BE5}" presName="rootComposite" presStyleCnt="0"/>
      <dgm:spPr/>
    </dgm:pt>
    <dgm:pt modelId="{C517AAD2-5580-C644-8C97-234B421E295B}" type="pres">
      <dgm:prSet presAssocID="{99A6F7B8-F459-C049-8C11-CCDD7B940BE5}" presName="rootText" presStyleLbl="node2" presStyleIdx="4" presStyleCnt="5" custScaleY="172050">
        <dgm:presLayoutVars>
          <dgm:chPref val="3"/>
        </dgm:presLayoutVars>
      </dgm:prSet>
      <dgm:spPr/>
    </dgm:pt>
    <dgm:pt modelId="{AE3B0388-2463-EF47-AFC2-5437291EF998}" type="pres">
      <dgm:prSet presAssocID="{99A6F7B8-F459-C049-8C11-CCDD7B940BE5}" presName="rootConnector" presStyleLbl="node2" presStyleIdx="4" presStyleCnt="5"/>
      <dgm:spPr/>
    </dgm:pt>
    <dgm:pt modelId="{1D002B0A-C78F-3E48-8C25-35AA92CAD96F}" type="pres">
      <dgm:prSet presAssocID="{99A6F7B8-F459-C049-8C11-CCDD7B940BE5}" presName="hierChild4" presStyleCnt="0"/>
      <dgm:spPr/>
    </dgm:pt>
    <dgm:pt modelId="{B0C7CB86-8280-C041-9FE8-BF2844EBC949}" type="pres">
      <dgm:prSet presAssocID="{99A6F7B8-F459-C049-8C11-CCDD7B940BE5}" presName="hierChild5" presStyleCnt="0"/>
      <dgm:spPr/>
    </dgm:pt>
    <dgm:pt modelId="{3AA06DB7-3CF2-4B80-A567-B41E54DCF106}" type="pres">
      <dgm:prSet presAssocID="{D09E3D4F-1D7D-42D1-986A-2D072940B2CA}" presName="hierChild3" presStyleCnt="0"/>
      <dgm:spPr/>
    </dgm:pt>
    <dgm:pt modelId="{23C114B1-B44D-274C-ACD6-335C344B8881}" type="pres">
      <dgm:prSet presAssocID="{4AF9AEFF-42D1-B740-82E9-C1B79BBA1D1D}" presName="hierRoot1" presStyleCnt="0">
        <dgm:presLayoutVars>
          <dgm:hierBranch val="init"/>
        </dgm:presLayoutVars>
      </dgm:prSet>
      <dgm:spPr/>
    </dgm:pt>
    <dgm:pt modelId="{3A5DF050-98B2-A44B-9D94-394A589761C7}" type="pres">
      <dgm:prSet presAssocID="{4AF9AEFF-42D1-B740-82E9-C1B79BBA1D1D}" presName="rootComposite1" presStyleCnt="0"/>
      <dgm:spPr/>
    </dgm:pt>
    <dgm:pt modelId="{3EA02441-E62E-C24E-A4DF-460F53CDBD20}" type="pres">
      <dgm:prSet presAssocID="{4AF9AEFF-42D1-B740-82E9-C1B79BBA1D1D}" presName="rootText1" presStyleLbl="node0" presStyleIdx="2" presStyleCnt="4" custScaleX="220215">
        <dgm:presLayoutVars>
          <dgm:chPref val="3"/>
        </dgm:presLayoutVars>
      </dgm:prSet>
      <dgm:spPr/>
    </dgm:pt>
    <dgm:pt modelId="{03B6B337-FD0F-8F46-B2A3-A49AE23D70A9}" type="pres">
      <dgm:prSet presAssocID="{4AF9AEFF-42D1-B740-82E9-C1B79BBA1D1D}" presName="rootConnector1" presStyleLbl="node1" presStyleIdx="0" presStyleCnt="0"/>
      <dgm:spPr/>
    </dgm:pt>
    <dgm:pt modelId="{DE1717D0-2F56-2147-8E6D-2E4A6D170743}" type="pres">
      <dgm:prSet presAssocID="{4AF9AEFF-42D1-B740-82E9-C1B79BBA1D1D}" presName="hierChild2" presStyleCnt="0"/>
      <dgm:spPr/>
    </dgm:pt>
    <dgm:pt modelId="{369D3ECE-AB07-3143-A203-76E48C3520DF}" type="pres">
      <dgm:prSet presAssocID="{4AF9AEFF-42D1-B740-82E9-C1B79BBA1D1D}" presName="hierChild3" presStyleCnt="0"/>
      <dgm:spPr/>
    </dgm:pt>
    <dgm:pt modelId="{130F00FC-FAB4-FC48-8F3A-C00C60F773F6}" type="pres">
      <dgm:prSet presAssocID="{4CC743BE-89B2-7B43-BF58-D59F86D8E5AF}" presName="hierRoot1" presStyleCnt="0">
        <dgm:presLayoutVars>
          <dgm:hierBranch val="init"/>
        </dgm:presLayoutVars>
      </dgm:prSet>
      <dgm:spPr/>
    </dgm:pt>
    <dgm:pt modelId="{CAC83379-269E-5741-8414-E5ED31DF00E5}" type="pres">
      <dgm:prSet presAssocID="{4CC743BE-89B2-7B43-BF58-D59F86D8E5AF}" presName="rootComposite1" presStyleCnt="0"/>
      <dgm:spPr/>
    </dgm:pt>
    <dgm:pt modelId="{A0471F14-CFB3-8449-8997-79C53AE48F72}" type="pres">
      <dgm:prSet presAssocID="{4CC743BE-89B2-7B43-BF58-D59F86D8E5AF}" presName="rootText1" presStyleLbl="node0" presStyleIdx="3" presStyleCnt="4" custScaleX="220215">
        <dgm:presLayoutVars>
          <dgm:chPref val="3"/>
        </dgm:presLayoutVars>
      </dgm:prSet>
      <dgm:spPr/>
    </dgm:pt>
    <dgm:pt modelId="{20E2811A-1241-1C43-8D08-396FBA25036F}" type="pres">
      <dgm:prSet presAssocID="{4CC743BE-89B2-7B43-BF58-D59F86D8E5AF}" presName="rootConnector1" presStyleLbl="node1" presStyleIdx="0" presStyleCnt="0"/>
      <dgm:spPr/>
    </dgm:pt>
    <dgm:pt modelId="{EDCA2F9E-F17A-3E45-80B8-679DF2787438}" type="pres">
      <dgm:prSet presAssocID="{4CC743BE-89B2-7B43-BF58-D59F86D8E5AF}" presName="hierChild2" presStyleCnt="0"/>
      <dgm:spPr/>
    </dgm:pt>
    <dgm:pt modelId="{81A7C4EA-C53A-3A4F-B2EC-E0CE77B8741F}" type="pres">
      <dgm:prSet presAssocID="{4CC743BE-89B2-7B43-BF58-D59F86D8E5AF}" presName="hierChild3" presStyleCnt="0"/>
      <dgm:spPr/>
    </dgm:pt>
  </dgm:ptLst>
  <dgm:cxnLst>
    <dgm:cxn modelId="{FFCB8E0E-83EF-4599-BF13-C986EE976DEB}" srcId="{C14FF3FB-789E-4041-BAA4-8A5D3EF74394}" destId="{8A0FDD62-5ACB-4363-8100-7921DB27FED9}" srcOrd="0" destOrd="0" parTransId="{2E0A18BD-4B57-45A2-B599-17A5236A0DBA}" sibTransId="{95404541-6FCE-499D-B544-6283CA283D12}"/>
    <dgm:cxn modelId="{BEC3980F-6EFA-3B4C-B0F5-406E4A0F5D23}" type="presOf" srcId="{99A6F7B8-F459-C049-8C11-CCDD7B940BE5}" destId="{C517AAD2-5580-C644-8C97-234B421E295B}" srcOrd="0" destOrd="0" presId="urn:microsoft.com/office/officeart/2009/3/layout/HorizontalOrganizationChart"/>
    <dgm:cxn modelId="{1BFC2014-0346-4085-A372-634EDC4246C7}" type="presOf" srcId="{008E733D-A691-43BC-BA5B-9A1FC1EAE70B}" destId="{7912A520-6302-4FA0-B726-5F1C79158053}" srcOrd="0" destOrd="0" presId="urn:microsoft.com/office/officeart/2009/3/layout/HorizontalOrganizationChart"/>
    <dgm:cxn modelId="{4EC2F718-0E10-4255-80DA-B31FD988F7FE}" type="presOf" srcId="{A63D69D2-ED31-4993-930F-751C45C13CD4}" destId="{BCAEF62C-2B92-4445-AEF0-05B432CBDEDE}" srcOrd="1" destOrd="0" presId="urn:microsoft.com/office/officeart/2009/3/layout/HorizontalOrganizationChart"/>
    <dgm:cxn modelId="{E457742C-253D-5D41-B628-8E3215250C26}" type="presOf" srcId="{4CC743BE-89B2-7B43-BF58-D59F86D8E5AF}" destId="{20E2811A-1241-1C43-8D08-396FBA25036F}" srcOrd="1" destOrd="0" presId="urn:microsoft.com/office/officeart/2009/3/layout/HorizontalOrganizationChart"/>
    <dgm:cxn modelId="{F4ABB83C-24C7-4711-A232-B64194FD2448}" type="presOf" srcId="{FE1183B8-299D-4DAE-9761-D4155ED0D626}" destId="{C5E9805B-8734-43E5-87A9-3E4EDE6400A1}" srcOrd="0" destOrd="0" presId="urn:microsoft.com/office/officeart/2009/3/layout/HorizontalOrganizationChart"/>
    <dgm:cxn modelId="{F85C7F5B-9BC1-4931-B469-45AFB800FF9A}" type="presOf" srcId="{A63D69D2-ED31-4993-930F-751C45C13CD4}" destId="{B633B50C-55B7-4080-8A5D-DD9EE7F65740}" srcOrd="0" destOrd="0" presId="urn:microsoft.com/office/officeart/2009/3/layout/HorizontalOrganizationChart"/>
    <dgm:cxn modelId="{DF4C2B5F-7246-F94A-8255-732907A6C824}" srcId="{C14FF3FB-789E-4041-BAA4-8A5D3EF74394}" destId="{4AF9AEFF-42D1-B740-82E9-C1B79BBA1D1D}" srcOrd="2" destOrd="0" parTransId="{136DFE82-DD95-9440-99FE-AD1D30173A71}" sibTransId="{7CA9E5FE-025A-A543-85F9-9D75B8464C49}"/>
    <dgm:cxn modelId="{D00B0B62-966B-4BC1-812E-4461A799A4F6}" type="presOf" srcId="{9B6CE281-A07D-4914-93D2-9572AC8D5A6F}" destId="{128DFF0E-9219-4A5D-9DC2-F45043BFED9C}" srcOrd="0" destOrd="0" presId="urn:microsoft.com/office/officeart/2009/3/layout/HorizontalOrganizationChart"/>
    <dgm:cxn modelId="{B57D786E-BC9E-C849-8C6F-B2E7F76C7E06}" type="presOf" srcId="{4CC743BE-89B2-7B43-BF58-D59F86D8E5AF}" destId="{A0471F14-CFB3-8449-8997-79C53AE48F72}" srcOrd="0" destOrd="0" presId="urn:microsoft.com/office/officeart/2009/3/layout/HorizontalOrganizationChart"/>
    <dgm:cxn modelId="{2BEC1470-7626-6643-BE17-A1EC90A007AE}" type="presOf" srcId="{4AF9AEFF-42D1-B740-82E9-C1B79BBA1D1D}" destId="{03B6B337-FD0F-8F46-B2A3-A49AE23D70A9}" srcOrd="1" destOrd="0" presId="urn:microsoft.com/office/officeart/2009/3/layout/HorizontalOrganizationChart"/>
    <dgm:cxn modelId="{418DDD72-5F93-4278-B9A7-B366FC5F831B}" type="presOf" srcId="{D09E3D4F-1D7D-42D1-986A-2D072940B2CA}" destId="{65E7425D-55D2-4A95-85AE-4170C0981629}" srcOrd="1" destOrd="0" presId="urn:microsoft.com/office/officeart/2009/3/layout/HorizontalOrganizationChart"/>
    <dgm:cxn modelId="{37169C73-803B-4B53-8056-7D86DF425149}" type="presOf" srcId="{D09E3D4F-1D7D-42D1-986A-2D072940B2CA}" destId="{8F43BE6E-166A-4736-B495-0F0C5F9C5A94}" srcOrd="0" destOrd="0" presId="urn:microsoft.com/office/officeart/2009/3/layout/HorizontalOrganizationChart"/>
    <dgm:cxn modelId="{EBE61E78-7C4C-8941-9AB5-46E2FCEC82E1}" type="presOf" srcId="{4AF9AEFF-42D1-B740-82E9-C1B79BBA1D1D}" destId="{3EA02441-E62E-C24E-A4DF-460F53CDBD20}" srcOrd="0" destOrd="0" presId="urn:microsoft.com/office/officeart/2009/3/layout/HorizontalOrganizationChart"/>
    <dgm:cxn modelId="{DAB9C179-CF84-4B9B-A240-A23B5E2EABF7}" type="presOf" srcId="{9C224AA8-5D6D-439F-A5FF-D80F3FA166E4}" destId="{E545B4FB-CAAE-4F67-8274-077F8989871C}" srcOrd="1" destOrd="0" presId="urn:microsoft.com/office/officeart/2009/3/layout/HorizontalOrganizationChart"/>
    <dgm:cxn modelId="{3A4A7F7C-3773-44AD-831D-2EEC340A03E6}" type="presOf" srcId="{C14FF3FB-789E-4041-BAA4-8A5D3EF74394}" destId="{6DAD5AF5-2F6C-40CF-B4A4-4535DCB1DE5D}" srcOrd="0" destOrd="0" presId="urn:microsoft.com/office/officeart/2009/3/layout/HorizontalOrganizationChart"/>
    <dgm:cxn modelId="{82C1FF81-201C-4ADF-A1A9-A5FC6A205E06}" type="presOf" srcId="{008E733D-A691-43BC-BA5B-9A1FC1EAE70B}" destId="{B94DF8A1-A875-4807-9162-20A5A5F20602}" srcOrd="1" destOrd="0" presId="urn:microsoft.com/office/officeart/2009/3/layout/HorizontalOrganizationChart"/>
    <dgm:cxn modelId="{3E6FF197-5C51-BA42-84F2-283924AFBBEC}" type="presOf" srcId="{99A6F7B8-F459-C049-8C11-CCDD7B940BE5}" destId="{AE3B0388-2463-EF47-AFC2-5437291EF998}" srcOrd="1" destOrd="0" presId="urn:microsoft.com/office/officeart/2009/3/layout/HorizontalOrganizationChart"/>
    <dgm:cxn modelId="{F63E21A2-8CCE-FA46-BC05-575C278D6DE2}" srcId="{D09E3D4F-1D7D-42D1-986A-2D072940B2CA}" destId="{99A6F7B8-F459-C049-8C11-CCDD7B940BE5}" srcOrd="2" destOrd="0" parTransId="{4CE8A549-566D-4C42-A09F-87E406049175}" sibTransId="{880CDBBF-3EE3-1049-BA69-72D0330DC069}"/>
    <dgm:cxn modelId="{75F13DA4-FA2F-45CE-98D6-21A7FC633828}" type="presOf" srcId="{91762AC4-5843-45DA-BD82-07AA1A1B93DC}" destId="{F8970BD3-839A-4C82-84BD-B0A41A6A9807}" srcOrd="0" destOrd="0" presId="urn:microsoft.com/office/officeart/2009/3/layout/HorizontalOrganizationChart"/>
    <dgm:cxn modelId="{0BBCF1A4-D106-5F47-AE99-00FCA6F17C0C}" type="presOf" srcId="{4CE8A549-566D-4C42-A09F-87E406049175}" destId="{97D80550-4753-414D-9E2C-29E87CC202F1}" srcOrd="0" destOrd="0" presId="urn:microsoft.com/office/officeart/2009/3/layout/HorizontalOrganizationChart"/>
    <dgm:cxn modelId="{2DF84CA8-05F6-44B5-B32C-C070F0034577}" srcId="{D09E3D4F-1D7D-42D1-986A-2D072940B2CA}" destId="{A63D69D2-ED31-4993-930F-751C45C13CD4}" srcOrd="0" destOrd="0" parTransId="{56CFB6F2-8ADE-4838-A1ED-04DC59B84DF2}" sibTransId="{C3A94619-7880-4FE5-9FE3-8CDA03266D62}"/>
    <dgm:cxn modelId="{2AB946AA-81B9-471D-9447-2C92C3DA6716}" type="presOf" srcId="{8A0FDD62-5ACB-4363-8100-7921DB27FED9}" destId="{4C951630-26BE-4FC2-B02A-6EABC31BCC02}" srcOrd="1" destOrd="0" presId="urn:microsoft.com/office/officeart/2009/3/layout/HorizontalOrganizationChart"/>
    <dgm:cxn modelId="{9CB71FB1-4091-4499-A694-E01ECE5458BA}" type="presOf" srcId="{8A0FDD62-5ACB-4363-8100-7921DB27FED9}" destId="{9243952B-3833-4F9A-A71B-0A59EE8FED19}" srcOrd="0" destOrd="0" presId="urn:microsoft.com/office/officeart/2009/3/layout/HorizontalOrganizationChart"/>
    <dgm:cxn modelId="{1AAC81B3-3511-4BEE-B020-161368D405A0}" srcId="{D09E3D4F-1D7D-42D1-986A-2D072940B2CA}" destId="{91762AC4-5843-45DA-BD82-07AA1A1B93DC}" srcOrd="1" destOrd="0" parTransId="{44316C2B-8810-4B50-9686-5B8AC20A9943}" sibTransId="{69F84360-F8FB-4DC2-8AA4-DA39E260F788}"/>
    <dgm:cxn modelId="{3906FFB6-8A5C-4D36-979B-0E1D1A1CD3FD}" type="presOf" srcId="{56CFB6F2-8ADE-4838-A1ED-04DC59B84DF2}" destId="{3C8331C7-B13D-4AF7-A323-1B1603B58B0E}" srcOrd="0" destOrd="0" presId="urn:microsoft.com/office/officeart/2009/3/layout/HorizontalOrganizationChart"/>
    <dgm:cxn modelId="{014BABC1-0E51-4069-80CD-AE6B55BB3A4A}" type="presOf" srcId="{91762AC4-5843-45DA-BD82-07AA1A1B93DC}" destId="{240D1101-2E34-40E6-BD15-AE5CAEF83A68}" srcOrd="1" destOrd="0" presId="urn:microsoft.com/office/officeart/2009/3/layout/HorizontalOrganizationChart"/>
    <dgm:cxn modelId="{005F93D0-0F40-B244-93EB-B7486C7FF021}" srcId="{C14FF3FB-789E-4041-BAA4-8A5D3EF74394}" destId="{4CC743BE-89B2-7B43-BF58-D59F86D8E5AF}" srcOrd="3" destOrd="0" parTransId="{6FCB5090-C78A-4A40-B1E1-D95882A618A4}" sibTransId="{DDD58D91-D3F1-CF45-A967-235059630097}"/>
    <dgm:cxn modelId="{49920FD5-87B7-4F99-ACE4-0498AF7B821F}" type="presOf" srcId="{44316C2B-8810-4B50-9686-5B8AC20A9943}" destId="{4E1287EB-C0CC-4C9B-8503-F8372D7BE22A}" srcOrd="0" destOrd="0" presId="urn:microsoft.com/office/officeart/2009/3/layout/HorizontalOrganizationChart"/>
    <dgm:cxn modelId="{AD5298DF-9589-4A56-B320-737BAAF026D5}" srcId="{8A0FDD62-5ACB-4363-8100-7921DB27FED9}" destId="{008E733D-A691-43BC-BA5B-9A1FC1EAE70B}" srcOrd="1" destOrd="0" parTransId="{9B6CE281-A07D-4914-93D2-9572AC8D5A6F}" sibTransId="{C1D44F35-2DE3-41EF-8668-22EC13345377}"/>
    <dgm:cxn modelId="{471993E1-B340-4A72-921B-81101BD0227A}" type="presOf" srcId="{9C224AA8-5D6D-439F-A5FF-D80F3FA166E4}" destId="{F6C5896B-E465-4949-89C8-FE4B715A7AA6}" srcOrd="0" destOrd="0" presId="urn:microsoft.com/office/officeart/2009/3/layout/HorizontalOrganizationChart"/>
    <dgm:cxn modelId="{498BAEE2-7893-4D7B-95CC-F1C754C0CACB}" srcId="{C14FF3FB-789E-4041-BAA4-8A5D3EF74394}" destId="{D09E3D4F-1D7D-42D1-986A-2D072940B2CA}" srcOrd="1" destOrd="0" parTransId="{68ACF64D-A3E1-46BE-A0F8-EACFA27593B4}" sibTransId="{086D19BD-9679-4E1D-AB18-9C674F65C6F7}"/>
    <dgm:cxn modelId="{E02BB2F0-87BB-483B-91A1-E7038189B78B}" srcId="{8A0FDD62-5ACB-4363-8100-7921DB27FED9}" destId="{9C224AA8-5D6D-439F-A5FF-D80F3FA166E4}" srcOrd="0" destOrd="0" parTransId="{FE1183B8-299D-4DAE-9761-D4155ED0D626}" sibTransId="{46ECC135-E1CD-4BA3-940E-260EB4B089CC}"/>
    <dgm:cxn modelId="{1BBA2148-F184-41BE-A4AA-FF4AE6E11402}" type="presParOf" srcId="{6DAD5AF5-2F6C-40CF-B4A4-4535DCB1DE5D}" destId="{9E669CAF-C666-4968-9C8A-A75CD735112E}" srcOrd="0" destOrd="0" presId="urn:microsoft.com/office/officeart/2009/3/layout/HorizontalOrganizationChart"/>
    <dgm:cxn modelId="{CD4A52A8-BB30-46B1-A09C-FA3E5962EAC3}" type="presParOf" srcId="{9E669CAF-C666-4968-9C8A-A75CD735112E}" destId="{C9310B4B-0140-4156-88BB-BB8B405BA2F6}" srcOrd="0" destOrd="0" presId="urn:microsoft.com/office/officeart/2009/3/layout/HorizontalOrganizationChart"/>
    <dgm:cxn modelId="{00FEEC05-1D06-4F50-9D37-E227647C0275}" type="presParOf" srcId="{C9310B4B-0140-4156-88BB-BB8B405BA2F6}" destId="{9243952B-3833-4F9A-A71B-0A59EE8FED19}" srcOrd="0" destOrd="0" presId="urn:microsoft.com/office/officeart/2009/3/layout/HorizontalOrganizationChart"/>
    <dgm:cxn modelId="{61330E62-BE84-4CF8-B87D-76F69F8989F7}" type="presParOf" srcId="{C9310B4B-0140-4156-88BB-BB8B405BA2F6}" destId="{4C951630-26BE-4FC2-B02A-6EABC31BCC02}" srcOrd="1" destOrd="0" presId="urn:microsoft.com/office/officeart/2009/3/layout/HorizontalOrganizationChart"/>
    <dgm:cxn modelId="{2CE91F4A-E069-4DC6-AEE5-7A68566C91BE}" type="presParOf" srcId="{9E669CAF-C666-4968-9C8A-A75CD735112E}" destId="{A9CBB20B-D2FF-462D-8365-7D562044133A}" srcOrd="1" destOrd="0" presId="urn:microsoft.com/office/officeart/2009/3/layout/HorizontalOrganizationChart"/>
    <dgm:cxn modelId="{38FD33C2-E9ED-421A-AB97-66306F9C9EA4}" type="presParOf" srcId="{A9CBB20B-D2FF-462D-8365-7D562044133A}" destId="{C5E9805B-8734-43E5-87A9-3E4EDE6400A1}" srcOrd="0" destOrd="0" presId="urn:microsoft.com/office/officeart/2009/3/layout/HorizontalOrganizationChart"/>
    <dgm:cxn modelId="{AB331918-CE8E-4BD5-8F39-5A78E4F37DF3}" type="presParOf" srcId="{A9CBB20B-D2FF-462D-8365-7D562044133A}" destId="{59D565F5-CF79-4EC0-B001-75692E0C55A5}" srcOrd="1" destOrd="0" presId="urn:microsoft.com/office/officeart/2009/3/layout/HorizontalOrganizationChart"/>
    <dgm:cxn modelId="{C0A68D2F-44EF-4A10-AB34-46A774F23A22}" type="presParOf" srcId="{59D565F5-CF79-4EC0-B001-75692E0C55A5}" destId="{FD1AFDEF-415B-41D7-A2B3-18097AE78CD0}" srcOrd="0" destOrd="0" presId="urn:microsoft.com/office/officeart/2009/3/layout/HorizontalOrganizationChart"/>
    <dgm:cxn modelId="{C91D4CE7-12AC-4F90-9AFD-D0BE248578DB}" type="presParOf" srcId="{FD1AFDEF-415B-41D7-A2B3-18097AE78CD0}" destId="{F6C5896B-E465-4949-89C8-FE4B715A7AA6}" srcOrd="0" destOrd="0" presId="urn:microsoft.com/office/officeart/2009/3/layout/HorizontalOrganizationChart"/>
    <dgm:cxn modelId="{7D5BFA1F-51B3-46A7-B782-3C218484186E}" type="presParOf" srcId="{FD1AFDEF-415B-41D7-A2B3-18097AE78CD0}" destId="{E545B4FB-CAAE-4F67-8274-077F8989871C}" srcOrd="1" destOrd="0" presId="urn:microsoft.com/office/officeart/2009/3/layout/HorizontalOrganizationChart"/>
    <dgm:cxn modelId="{2DDC45EE-5C4F-471D-B9E6-165EED17ADD7}" type="presParOf" srcId="{59D565F5-CF79-4EC0-B001-75692E0C55A5}" destId="{12A0EF90-D8EB-4D76-A8C2-74FEB5F363FC}" srcOrd="1" destOrd="0" presId="urn:microsoft.com/office/officeart/2009/3/layout/HorizontalOrganizationChart"/>
    <dgm:cxn modelId="{DF3D3A8F-F7E9-4699-A141-CF0E8EA8347E}" type="presParOf" srcId="{59D565F5-CF79-4EC0-B001-75692E0C55A5}" destId="{945B86D7-60E4-41FF-9E22-41E01EACAF57}" srcOrd="2" destOrd="0" presId="urn:microsoft.com/office/officeart/2009/3/layout/HorizontalOrganizationChart"/>
    <dgm:cxn modelId="{570AB87B-F212-470D-AAFE-0007CE7D9C98}" type="presParOf" srcId="{A9CBB20B-D2FF-462D-8365-7D562044133A}" destId="{128DFF0E-9219-4A5D-9DC2-F45043BFED9C}" srcOrd="2" destOrd="0" presId="urn:microsoft.com/office/officeart/2009/3/layout/HorizontalOrganizationChart"/>
    <dgm:cxn modelId="{AB377DF9-02DB-4A1B-9A6F-8D5CBF15E237}" type="presParOf" srcId="{A9CBB20B-D2FF-462D-8365-7D562044133A}" destId="{FAA8B00E-FFCD-4593-8064-8429CF84817D}" srcOrd="3" destOrd="0" presId="urn:microsoft.com/office/officeart/2009/3/layout/HorizontalOrganizationChart"/>
    <dgm:cxn modelId="{F0E35F52-E630-46F5-8602-6A637DC64B33}" type="presParOf" srcId="{FAA8B00E-FFCD-4593-8064-8429CF84817D}" destId="{4791B7BC-7EE6-4C28-B1A7-F15C8A55C61B}" srcOrd="0" destOrd="0" presId="urn:microsoft.com/office/officeart/2009/3/layout/HorizontalOrganizationChart"/>
    <dgm:cxn modelId="{8B4D615B-562E-48AF-84CF-0BAE577EBD31}" type="presParOf" srcId="{4791B7BC-7EE6-4C28-B1A7-F15C8A55C61B}" destId="{7912A520-6302-4FA0-B726-5F1C79158053}" srcOrd="0" destOrd="0" presId="urn:microsoft.com/office/officeart/2009/3/layout/HorizontalOrganizationChart"/>
    <dgm:cxn modelId="{3CE242D1-49EE-49F4-BE6F-B7ACD5DF6847}" type="presParOf" srcId="{4791B7BC-7EE6-4C28-B1A7-F15C8A55C61B}" destId="{B94DF8A1-A875-4807-9162-20A5A5F20602}" srcOrd="1" destOrd="0" presId="urn:microsoft.com/office/officeart/2009/3/layout/HorizontalOrganizationChart"/>
    <dgm:cxn modelId="{027A58EE-77C3-445F-97ED-EDBA31F8036C}" type="presParOf" srcId="{FAA8B00E-FFCD-4593-8064-8429CF84817D}" destId="{6D2B7FA0-C8F7-4BB1-A24B-5867C359A830}" srcOrd="1" destOrd="0" presId="urn:microsoft.com/office/officeart/2009/3/layout/HorizontalOrganizationChart"/>
    <dgm:cxn modelId="{35187DFD-FEA4-47C8-B1B8-F9E10844464F}" type="presParOf" srcId="{FAA8B00E-FFCD-4593-8064-8429CF84817D}" destId="{9E8D2733-07A7-4B55-AECD-D0F401EC67DB}" srcOrd="2" destOrd="0" presId="urn:microsoft.com/office/officeart/2009/3/layout/HorizontalOrganizationChart"/>
    <dgm:cxn modelId="{2EEB8B91-47BD-4CBB-BF41-68D9D0249310}" type="presParOf" srcId="{9E669CAF-C666-4968-9C8A-A75CD735112E}" destId="{BB1C3144-AF76-4C1A-AC16-5745FE3D6FF4}" srcOrd="2" destOrd="0" presId="urn:microsoft.com/office/officeart/2009/3/layout/HorizontalOrganizationChart"/>
    <dgm:cxn modelId="{955AEF40-4F3F-4537-AF01-8943C55F9F46}" type="presParOf" srcId="{6DAD5AF5-2F6C-40CF-B4A4-4535DCB1DE5D}" destId="{E18B88DC-BC5B-4269-8303-2816E8A33297}" srcOrd="1" destOrd="0" presId="urn:microsoft.com/office/officeart/2009/3/layout/HorizontalOrganizationChart"/>
    <dgm:cxn modelId="{E2C7FD41-5A95-4129-949B-E52C827BCFEE}" type="presParOf" srcId="{E18B88DC-BC5B-4269-8303-2816E8A33297}" destId="{7E1EFAEC-C6C5-4489-9136-BD7B0956B289}" srcOrd="0" destOrd="0" presId="urn:microsoft.com/office/officeart/2009/3/layout/HorizontalOrganizationChart"/>
    <dgm:cxn modelId="{BEDF551C-3DAF-4BD3-8D74-32D5C90B7E44}" type="presParOf" srcId="{7E1EFAEC-C6C5-4489-9136-BD7B0956B289}" destId="{8F43BE6E-166A-4736-B495-0F0C5F9C5A94}" srcOrd="0" destOrd="0" presId="urn:microsoft.com/office/officeart/2009/3/layout/HorizontalOrganizationChart"/>
    <dgm:cxn modelId="{3AF3451C-B360-45D9-87AD-F22BD0B2F8A0}" type="presParOf" srcId="{7E1EFAEC-C6C5-4489-9136-BD7B0956B289}" destId="{65E7425D-55D2-4A95-85AE-4170C0981629}" srcOrd="1" destOrd="0" presId="urn:microsoft.com/office/officeart/2009/3/layout/HorizontalOrganizationChart"/>
    <dgm:cxn modelId="{84F8506D-BB3A-45DD-A804-FF6EF4A34DF4}" type="presParOf" srcId="{E18B88DC-BC5B-4269-8303-2816E8A33297}" destId="{0A91E4F6-AD54-49CF-9C53-9262E286DF5E}" srcOrd="1" destOrd="0" presId="urn:microsoft.com/office/officeart/2009/3/layout/HorizontalOrganizationChart"/>
    <dgm:cxn modelId="{6C56CFF5-6BE4-4FD0-917A-B1F908753DEA}" type="presParOf" srcId="{0A91E4F6-AD54-49CF-9C53-9262E286DF5E}" destId="{3C8331C7-B13D-4AF7-A323-1B1603B58B0E}" srcOrd="0" destOrd="0" presId="urn:microsoft.com/office/officeart/2009/3/layout/HorizontalOrganizationChart"/>
    <dgm:cxn modelId="{40B7F0CC-6AB5-4F6E-AF7C-EE9FFC84E04F}" type="presParOf" srcId="{0A91E4F6-AD54-49CF-9C53-9262E286DF5E}" destId="{B92978FC-A8E3-4BC5-983D-A951B513D496}" srcOrd="1" destOrd="0" presId="urn:microsoft.com/office/officeart/2009/3/layout/HorizontalOrganizationChart"/>
    <dgm:cxn modelId="{AAFE19FC-A7D2-45AE-AC56-DD5FBB83E39A}" type="presParOf" srcId="{B92978FC-A8E3-4BC5-983D-A951B513D496}" destId="{BCE6459C-EE48-41D9-B74E-BEC9785A15BD}" srcOrd="0" destOrd="0" presId="urn:microsoft.com/office/officeart/2009/3/layout/HorizontalOrganizationChart"/>
    <dgm:cxn modelId="{9F5890F7-0D57-45A2-BAD9-9FBB3B2476BC}" type="presParOf" srcId="{BCE6459C-EE48-41D9-B74E-BEC9785A15BD}" destId="{B633B50C-55B7-4080-8A5D-DD9EE7F65740}" srcOrd="0" destOrd="0" presId="urn:microsoft.com/office/officeart/2009/3/layout/HorizontalOrganizationChart"/>
    <dgm:cxn modelId="{A7F795A8-0DD5-42E3-A9ED-1325D6DC1215}" type="presParOf" srcId="{BCE6459C-EE48-41D9-B74E-BEC9785A15BD}" destId="{BCAEF62C-2B92-4445-AEF0-05B432CBDEDE}" srcOrd="1" destOrd="0" presId="urn:microsoft.com/office/officeart/2009/3/layout/HorizontalOrganizationChart"/>
    <dgm:cxn modelId="{7A5AAA12-D2CE-43F1-B8EF-98656DE7EBDE}" type="presParOf" srcId="{B92978FC-A8E3-4BC5-983D-A951B513D496}" destId="{85D17B27-E6A5-4A40-B9C1-320A246A7E32}" srcOrd="1" destOrd="0" presId="urn:microsoft.com/office/officeart/2009/3/layout/HorizontalOrganizationChart"/>
    <dgm:cxn modelId="{F1E9E4F9-78A6-42E8-B570-4DAB2549CA24}" type="presParOf" srcId="{B92978FC-A8E3-4BC5-983D-A951B513D496}" destId="{009D29F9-C5F4-4601-953B-F2A1F0EC73B1}" srcOrd="2" destOrd="0" presId="urn:microsoft.com/office/officeart/2009/3/layout/HorizontalOrganizationChart"/>
    <dgm:cxn modelId="{379614FD-7BAD-4FF5-B45A-0F91817B4635}" type="presParOf" srcId="{0A91E4F6-AD54-49CF-9C53-9262E286DF5E}" destId="{4E1287EB-C0CC-4C9B-8503-F8372D7BE22A}" srcOrd="2" destOrd="0" presId="urn:microsoft.com/office/officeart/2009/3/layout/HorizontalOrganizationChart"/>
    <dgm:cxn modelId="{28902B3C-7AC7-44C7-A2C0-1652103DDF83}" type="presParOf" srcId="{0A91E4F6-AD54-49CF-9C53-9262E286DF5E}" destId="{30BCAA1C-BC25-46FB-975C-8FC930EF37D0}" srcOrd="3" destOrd="0" presId="urn:microsoft.com/office/officeart/2009/3/layout/HorizontalOrganizationChart"/>
    <dgm:cxn modelId="{787DEEA4-6EF7-45C0-906E-6EC1AFC6D7DA}" type="presParOf" srcId="{30BCAA1C-BC25-46FB-975C-8FC930EF37D0}" destId="{6641C33A-4F6C-4E1C-8D18-646008060B9F}" srcOrd="0" destOrd="0" presId="urn:microsoft.com/office/officeart/2009/3/layout/HorizontalOrganizationChart"/>
    <dgm:cxn modelId="{80D4E7DA-FC11-481E-B016-E8D455910CCA}" type="presParOf" srcId="{6641C33A-4F6C-4E1C-8D18-646008060B9F}" destId="{F8970BD3-839A-4C82-84BD-B0A41A6A9807}" srcOrd="0" destOrd="0" presId="urn:microsoft.com/office/officeart/2009/3/layout/HorizontalOrganizationChart"/>
    <dgm:cxn modelId="{4A84F124-55EE-4507-8A93-4FE308F64D1B}" type="presParOf" srcId="{6641C33A-4F6C-4E1C-8D18-646008060B9F}" destId="{240D1101-2E34-40E6-BD15-AE5CAEF83A68}" srcOrd="1" destOrd="0" presId="urn:microsoft.com/office/officeart/2009/3/layout/HorizontalOrganizationChart"/>
    <dgm:cxn modelId="{8F60F114-CE00-4D39-A890-478F832DCF52}" type="presParOf" srcId="{30BCAA1C-BC25-46FB-975C-8FC930EF37D0}" destId="{E0095A6F-32CE-4B3E-BA2B-7B435D2E0C1B}" srcOrd="1" destOrd="0" presId="urn:microsoft.com/office/officeart/2009/3/layout/HorizontalOrganizationChart"/>
    <dgm:cxn modelId="{F604783F-B22D-41DA-BC46-EA5CA0910368}" type="presParOf" srcId="{30BCAA1C-BC25-46FB-975C-8FC930EF37D0}" destId="{0B7ED1C2-376D-49B3-9285-F308DEBA2294}" srcOrd="2" destOrd="0" presId="urn:microsoft.com/office/officeart/2009/3/layout/HorizontalOrganizationChart"/>
    <dgm:cxn modelId="{D9E50B7F-37E9-A541-AC10-FC33CA870B40}" type="presParOf" srcId="{0A91E4F6-AD54-49CF-9C53-9262E286DF5E}" destId="{97D80550-4753-414D-9E2C-29E87CC202F1}" srcOrd="4" destOrd="0" presId="urn:microsoft.com/office/officeart/2009/3/layout/HorizontalOrganizationChart"/>
    <dgm:cxn modelId="{0A8C5D3A-4A2C-0C46-844A-4253898FDBBD}" type="presParOf" srcId="{0A91E4F6-AD54-49CF-9C53-9262E286DF5E}" destId="{AFBDD29A-F995-7942-816C-A971466B6455}" srcOrd="5" destOrd="0" presId="urn:microsoft.com/office/officeart/2009/3/layout/HorizontalOrganizationChart"/>
    <dgm:cxn modelId="{535CBBB2-91A8-5448-A113-EB481EB96411}" type="presParOf" srcId="{AFBDD29A-F995-7942-816C-A971466B6455}" destId="{B7B45292-BDF8-124E-BDB4-0352C7C47D67}" srcOrd="0" destOrd="0" presId="urn:microsoft.com/office/officeart/2009/3/layout/HorizontalOrganizationChart"/>
    <dgm:cxn modelId="{42F43251-624B-4445-B2D3-689B8C5860D7}" type="presParOf" srcId="{B7B45292-BDF8-124E-BDB4-0352C7C47D67}" destId="{C517AAD2-5580-C644-8C97-234B421E295B}" srcOrd="0" destOrd="0" presId="urn:microsoft.com/office/officeart/2009/3/layout/HorizontalOrganizationChart"/>
    <dgm:cxn modelId="{8E7F28CB-87AA-9440-AA2D-E46873466702}" type="presParOf" srcId="{B7B45292-BDF8-124E-BDB4-0352C7C47D67}" destId="{AE3B0388-2463-EF47-AFC2-5437291EF998}" srcOrd="1" destOrd="0" presId="urn:microsoft.com/office/officeart/2009/3/layout/HorizontalOrganizationChart"/>
    <dgm:cxn modelId="{D12C27B0-C126-DE46-B3E2-7A48DE61374A}" type="presParOf" srcId="{AFBDD29A-F995-7942-816C-A971466B6455}" destId="{1D002B0A-C78F-3E48-8C25-35AA92CAD96F}" srcOrd="1" destOrd="0" presId="urn:microsoft.com/office/officeart/2009/3/layout/HorizontalOrganizationChart"/>
    <dgm:cxn modelId="{825F1641-1B08-3D48-BBC1-FFB0AC6B9E4F}" type="presParOf" srcId="{AFBDD29A-F995-7942-816C-A971466B6455}" destId="{B0C7CB86-8280-C041-9FE8-BF2844EBC949}" srcOrd="2" destOrd="0" presId="urn:microsoft.com/office/officeart/2009/3/layout/HorizontalOrganizationChart"/>
    <dgm:cxn modelId="{3777CB0E-6951-496D-ABF3-8AE7E90A2F0F}" type="presParOf" srcId="{E18B88DC-BC5B-4269-8303-2816E8A33297}" destId="{3AA06DB7-3CF2-4B80-A567-B41E54DCF106}" srcOrd="2" destOrd="0" presId="urn:microsoft.com/office/officeart/2009/3/layout/HorizontalOrganizationChart"/>
    <dgm:cxn modelId="{66BEB029-6BBE-894F-AC08-16E06128AED3}" type="presParOf" srcId="{6DAD5AF5-2F6C-40CF-B4A4-4535DCB1DE5D}" destId="{23C114B1-B44D-274C-ACD6-335C344B8881}" srcOrd="2" destOrd="0" presId="urn:microsoft.com/office/officeart/2009/3/layout/HorizontalOrganizationChart"/>
    <dgm:cxn modelId="{FEEF7B8D-1EDD-2540-9416-6EAC069FE475}" type="presParOf" srcId="{23C114B1-B44D-274C-ACD6-335C344B8881}" destId="{3A5DF050-98B2-A44B-9D94-394A589761C7}" srcOrd="0" destOrd="0" presId="urn:microsoft.com/office/officeart/2009/3/layout/HorizontalOrganizationChart"/>
    <dgm:cxn modelId="{D1553FB0-C4DC-4D4F-A5A8-F7D246B928FD}" type="presParOf" srcId="{3A5DF050-98B2-A44B-9D94-394A589761C7}" destId="{3EA02441-E62E-C24E-A4DF-460F53CDBD20}" srcOrd="0" destOrd="0" presId="urn:microsoft.com/office/officeart/2009/3/layout/HorizontalOrganizationChart"/>
    <dgm:cxn modelId="{418FA2CA-E58B-314D-99DC-264F1B850378}" type="presParOf" srcId="{3A5DF050-98B2-A44B-9D94-394A589761C7}" destId="{03B6B337-FD0F-8F46-B2A3-A49AE23D70A9}" srcOrd="1" destOrd="0" presId="urn:microsoft.com/office/officeart/2009/3/layout/HorizontalOrganizationChart"/>
    <dgm:cxn modelId="{50D0E0B7-0FE0-7047-8E7A-8DB9DCFE92A3}" type="presParOf" srcId="{23C114B1-B44D-274C-ACD6-335C344B8881}" destId="{DE1717D0-2F56-2147-8E6D-2E4A6D170743}" srcOrd="1" destOrd="0" presId="urn:microsoft.com/office/officeart/2009/3/layout/HorizontalOrganizationChart"/>
    <dgm:cxn modelId="{F6024C63-812F-8C45-B1FD-0597965B651A}" type="presParOf" srcId="{23C114B1-B44D-274C-ACD6-335C344B8881}" destId="{369D3ECE-AB07-3143-A203-76E48C3520DF}" srcOrd="2" destOrd="0" presId="urn:microsoft.com/office/officeart/2009/3/layout/HorizontalOrganizationChart"/>
    <dgm:cxn modelId="{1A4C4011-44B0-4F45-86C6-BD6AFA0178CF}" type="presParOf" srcId="{6DAD5AF5-2F6C-40CF-B4A4-4535DCB1DE5D}" destId="{130F00FC-FAB4-FC48-8F3A-C00C60F773F6}" srcOrd="3" destOrd="0" presId="urn:microsoft.com/office/officeart/2009/3/layout/HorizontalOrganizationChart"/>
    <dgm:cxn modelId="{3070607D-DD41-1242-A6D3-37C1DD87B860}" type="presParOf" srcId="{130F00FC-FAB4-FC48-8F3A-C00C60F773F6}" destId="{CAC83379-269E-5741-8414-E5ED31DF00E5}" srcOrd="0" destOrd="0" presId="urn:microsoft.com/office/officeart/2009/3/layout/HorizontalOrganizationChart"/>
    <dgm:cxn modelId="{FD1C7F6C-38D4-2D4D-91C5-90F969F6BB64}" type="presParOf" srcId="{CAC83379-269E-5741-8414-E5ED31DF00E5}" destId="{A0471F14-CFB3-8449-8997-79C53AE48F72}" srcOrd="0" destOrd="0" presId="urn:microsoft.com/office/officeart/2009/3/layout/HorizontalOrganizationChart"/>
    <dgm:cxn modelId="{28398A17-AE25-9B4E-B8FA-453F275235A3}" type="presParOf" srcId="{CAC83379-269E-5741-8414-E5ED31DF00E5}" destId="{20E2811A-1241-1C43-8D08-396FBA25036F}" srcOrd="1" destOrd="0" presId="urn:microsoft.com/office/officeart/2009/3/layout/HorizontalOrganizationChart"/>
    <dgm:cxn modelId="{8BC4B408-F08D-1A4E-A4EE-E1EFB9E9E9F4}" type="presParOf" srcId="{130F00FC-FAB4-FC48-8F3A-C00C60F773F6}" destId="{EDCA2F9E-F17A-3E45-80B8-679DF2787438}" srcOrd="1" destOrd="0" presId="urn:microsoft.com/office/officeart/2009/3/layout/HorizontalOrganizationChart"/>
    <dgm:cxn modelId="{57E05CD6-E599-C645-8689-3E5CA0544D86}" type="presParOf" srcId="{130F00FC-FAB4-FC48-8F3A-C00C60F773F6}" destId="{81A7C4EA-C53A-3A4F-B2EC-E0CE77B8741F}" srcOrd="2" destOrd="0" presId="urn:microsoft.com/office/officeart/2009/3/layout/HorizontalOrganizationChart"/>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14FF3FB-789E-4041-BAA4-8A5D3EF74394}" type="doc">
      <dgm:prSet loTypeId="urn:microsoft.com/office/officeart/2009/3/layout/HorizontalOrganizationChart" loCatId="hierarchy" qsTypeId="urn:microsoft.com/office/officeart/2005/8/quickstyle/simple1" qsCatId="simple" csTypeId="urn:microsoft.com/office/officeart/2005/8/colors/accent1_2" csCatId="accent1" phldr="1"/>
      <dgm:spPr/>
      <dgm:t>
        <a:bodyPr/>
        <a:lstStyle/>
        <a:p>
          <a:endParaRPr lang="en-US"/>
        </a:p>
      </dgm:t>
    </dgm:pt>
    <dgm:pt modelId="{8A0FDD62-5ACB-4363-8100-7921DB27FED9}">
      <dgm:prSet phldrT="[Text]" custT="1"/>
      <dgm:spPr>
        <a:solidFill>
          <a:schemeClr val="accent6"/>
        </a:solidFill>
      </dgm:spPr>
      <dgm:t>
        <a:bodyPr/>
        <a:lstStyle/>
        <a:p>
          <a:r>
            <a:rPr lang="en-US" sz="1800" dirty="0"/>
            <a:t>Recycling</a:t>
          </a:r>
        </a:p>
      </dgm:t>
    </dgm:pt>
    <dgm:pt modelId="{2E0A18BD-4B57-45A2-B599-17A5236A0DBA}" type="parTrans" cxnId="{FFCB8E0E-83EF-4599-BF13-C986EE976DEB}">
      <dgm:prSet/>
      <dgm:spPr/>
      <dgm:t>
        <a:bodyPr/>
        <a:lstStyle/>
        <a:p>
          <a:endParaRPr lang="en-US" sz="1800"/>
        </a:p>
      </dgm:t>
    </dgm:pt>
    <dgm:pt modelId="{95404541-6FCE-499D-B544-6283CA283D12}" type="sibTrans" cxnId="{FFCB8E0E-83EF-4599-BF13-C986EE976DEB}">
      <dgm:prSet/>
      <dgm:spPr/>
      <dgm:t>
        <a:bodyPr/>
        <a:lstStyle/>
        <a:p>
          <a:endParaRPr lang="en-US" sz="1800"/>
        </a:p>
      </dgm:t>
    </dgm:pt>
    <dgm:pt modelId="{9C224AA8-5D6D-439F-A5FF-D80F3FA166E4}">
      <dgm:prSet phldrT="[Text]" custT="1"/>
      <dgm:spPr>
        <a:solidFill>
          <a:schemeClr val="accent6"/>
        </a:solidFill>
      </dgm:spPr>
      <dgm:t>
        <a:bodyPr/>
        <a:lstStyle/>
        <a:p>
          <a:r>
            <a:rPr lang="en-US" sz="1800" dirty="0"/>
            <a:t>Class I</a:t>
          </a:r>
        </a:p>
      </dgm:t>
    </dgm:pt>
    <dgm:pt modelId="{FE1183B8-299D-4DAE-9761-D4155ED0D626}" type="parTrans" cxnId="{E02BB2F0-87BB-483B-91A1-E7038189B78B}">
      <dgm:prSet/>
      <dgm:spPr/>
      <dgm:t>
        <a:bodyPr/>
        <a:lstStyle/>
        <a:p>
          <a:endParaRPr lang="en-US" sz="1800"/>
        </a:p>
      </dgm:t>
    </dgm:pt>
    <dgm:pt modelId="{46ECC135-E1CD-4BA3-940E-260EB4B089CC}" type="sibTrans" cxnId="{E02BB2F0-87BB-483B-91A1-E7038189B78B}">
      <dgm:prSet/>
      <dgm:spPr/>
      <dgm:t>
        <a:bodyPr/>
        <a:lstStyle/>
        <a:p>
          <a:endParaRPr lang="en-US" sz="1800"/>
        </a:p>
      </dgm:t>
    </dgm:pt>
    <dgm:pt modelId="{D09E3D4F-1D7D-42D1-986A-2D072940B2CA}">
      <dgm:prSet phldrT="[Text]" custT="1"/>
      <dgm:spPr>
        <a:solidFill>
          <a:schemeClr val="accent6"/>
        </a:solidFill>
      </dgm:spPr>
      <dgm:t>
        <a:bodyPr/>
        <a:lstStyle/>
        <a:p>
          <a:r>
            <a:rPr lang="en-US" sz="1800" dirty="0"/>
            <a:t>Organics Processing</a:t>
          </a:r>
        </a:p>
      </dgm:t>
    </dgm:pt>
    <dgm:pt modelId="{68ACF64D-A3E1-46BE-A0F8-EACFA27593B4}" type="parTrans" cxnId="{498BAEE2-7893-4D7B-95CC-F1C754C0CACB}">
      <dgm:prSet/>
      <dgm:spPr/>
      <dgm:t>
        <a:bodyPr/>
        <a:lstStyle/>
        <a:p>
          <a:endParaRPr lang="en-US" sz="1800"/>
        </a:p>
      </dgm:t>
    </dgm:pt>
    <dgm:pt modelId="{086D19BD-9679-4E1D-AB18-9C674F65C6F7}" type="sibTrans" cxnId="{498BAEE2-7893-4D7B-95CC-F1C754C0CACB}">
      <dgm:prSet/>
      <dgm:spPr/>
      <dgm:t>
        <a:bodyPr/>
        <a:lstStyle/>
        <a:p>
          <a:endParaRPr lang="en-US" sz="1800"/>
        </a:p>
      </dgm:t>
    </dgm:pt>
    <dgm:pt modelId="{A63D69D2-ED31-4993-930F-751C45C13CD4}">
      <dgm:prSet phldrT="[Text]" custT="1"/>
      <dgm:spPr>
        <a:solidFill>
          <a:schemeClr val="accent6"/>
        </a:solidFill>
      </dgm:spPr>
      <dgm:t>
        <a:bodyPr/>
        <a:lstStyle/>
        <a:p>
          <a:r>
            <a:rPr lang="en-US" sz="1800" dirty="0"/>
            <a:t>Food Waste &amp; Manure</a:t>
          </a:r>
        </a:p>
      </dgm:t>
    </dgm:pt>
    <dgm:pt modelId="{56CFB6F2-8ADE-4838-A1ED-04DC59B84DF2}" type="parTrans" cxnId="{2DF84CA8-05F6-44B5-B32C-C070F0034577}">
      <dgm:prSet/>
      <dgm:spPr/>
      <dgm:t>
        <a:bodyPr/>
        <a:lstStyle/>
        <a:p>
          <a:endParaRPr lang="en-US" sz="1800"/>
        </a:p>
      </dgm:t>
    </dgm:pt>
    <dgm:pt modelId="{C3A94619-7880-4FE5-9FE3-8CDA03266D62}" type="sibTrans" cxnId="{2DF84CA8-05F6-44B5-B32C-C070F0034577}">
      <dgm:prSet/>
      <dgm:spPr/>
      <dgm:t>
        <a:bodyPr/>
        <a:lstStyle/>
        <a:p>
          <a:endParaRPr lang="en-US" sz="1800"/>
        </a:p>
      </dgm:t>
    </dgm:pt>
    <dgm:pt modelId="{91762AC4-5843-45DA-BD82-07AA1A1B93DC}">
      <dgm:prSet phldrT="[Text]" custT="1"/>
      <dgm:spPr>
        <a:solidFill>
          <a:schemeClr val="accent6"/>
        </a:solidFill>
      </dgm:spPr>
      <dgm:t>
        <a:bodyPr/>
        <a:lstStyle/>
        <a:p>
          <a:r>
            <a:rPr lang="en-US" sz="1800" dirty="0"/>
            <a:t>Yard Trash</a:t>
          </a:r>
        </a:p>
      </dgm:t>
    </dgm:pt>
    <dgm:pt modelId="{44316C2B-8810-4B50-9686-5B8AC20A9943}" type="parTrans" cxnId="{1AAC81B3-3511-4BEE-B020-161368D405A0}">
      <dgm:prSet/>
      <dgm:spPr/>
      <dgm:t>
        <a:bodyPr/>
        <a:lstStyle/>
        <a:p>
          <a:endParaRPr lang="en-US" sz="1800"/>
        </a:p>
      </dgm:t>
    </dgm:pt>
    <dgm:pt modelId="{69F84360-F8FB-4DC2-8AA4-DA39E260F788}" type="sibTrans" cxnId="{1AAC81B3-3511-4BEE-B020-161368D405A0}">
      <dgm:prSet/>
      <dgm:spPr/>
      <dgm:t>
        <a:bodyPr/>
        <a:lstStyle/>
        <a:p>
          <a:endParaRPr lang="en-US" sz="1800"/>
        </a:p>
      </dgm:t>
    </dgm:pt>
    <dgm:pt modelId="{008E733D-A691-43BC-BA5B-9A1FC1EAE70B}">
      <dgm:prSet phldrT="[Text]" custT="1"/>
      <dgm:spPr>
        <a:solidFill>
          <a:schemeClr val="accent6"/>
        </a:solidFill>
      </dgm:spPr>
      <dgm:t>
        <a:bodyPr/>
        <a:lstStyle/>
        <a:p>
          <a:r>
            <a:rPr lang="en-US" sz="1800" dirty="0"/>
            <a:t>Class III/CDD</a:t>
          </a:r>
        </a:p>
      </dgm:t>
    </dgm:pt>
    <dgm:pt modelId="{9B6CE281-A07D-4914-93D2-9572AC8D5A6F}" type="parTrans" cxnId="{AD5298DF-9589-4A56-B320-737BAAF026D5}">
      <dgm:prSet/>
      <dgm:spPr/>
      <dgm:t>
        <a:bodyPr/>
        <a:lstStyle/>
        <a:p>
          <a:endParaRPr lang="en-US" sz="1800"/>
        </a:p>
      </dgm:t>
    </dgm:pt>
    <dgm:pt modelId="{C1D44F35-2DE3-41EF-8668-22EC13345377}" type="sibTrans" cxnId="{AD5298DF-9589-4A56-B320-737BAAF026D5}">
      <dgm:prSet/>
      <dgm:spPr/>
      <dgm:t>
        <a:bodyPr/>
        <a:lstStyle/>
        <a:p>
          <a:endParaRPr lang="en-US" sz="1800"/>
        </a:p>
      </dgm:t>
    </dgm:pt>
    <dgm:pt modelId="{4AF9AEFF-42D1-B740-82E9-C1B79BBA1D1D}">
      <dgm:prSet custT="1"/>
      <dgm:spPr>
        <a:solidFill>
          <a:schemeClr val="accent6"/>
        </a:solidFill>
      </dgm:spPr>
      <dgm:t>
        <a:bodyPr/>
        <a:lstStyle/>
        <a:p>
          <a:r>
            <a:rPr lang="en-US" sz="1800" dirty="0"/>
            <a:t>Used Oil Processing</a:t>
          </a:r>
        </a:p>
      </dgm:t>
    </dgm:pt>
    <dgm:pt modelId="{136DFE82-DD95-9440-99FE-AD1D30173A71}" type="parTrans" cxnId="{DF4C2B5F-7246-F94A-8255-732907A6C824}">
      <dgm:prSet/>
      <dgm:spPr/>
      <dgm:t>
        <a:bodyPr/>
        <a:lstStyle/>
        <a:p>
          <a:endParaRPr lang="en-US" sz="1800"/>
        </a:p>
      </dgm:t>
    </dgm:pt>
    <dgm:pt modelId="{7CA9E5FE-025A-A543-85F9-9D75B8464C49}" type="sibTrans" cxnId="{DF4C2B5F-7246-F94A-8255-732907A6C824}">
      <dgm:prSet/>
      <dgm:spPr/>
      <dgm:t>
        <a:bodyPr/>
        <a:lstStyle/>
        <a:p>
          <a:endParaRPr lang="en-US" sz="1800"/>
        </a:p>
      </dgm:t>
    </dgm:pt>
    <dgm:pt modelId="{99A6F7B8-F459-C049-8C11-CCDD7B940BE5}">
      <dgm:prSet custT="1"/>
      <dgm:spPr>
        <a:solidFill>
          <a:schemeClr val="accent6"/>
        </a:solidFill>
      </dgm:spPr>
      <dgm:t>
        <a:bodyPr/>
        <a:lstStyle/>
        <a:p>
          <a:r>
            <a:rPr lang="en-US" sz="1800" dirty="0"/>
            <a:t>Anaerobic Digestion</a:t>
          </a:r>
        </a:p>
      </dgm:t>
    </dgm:pt>
    <dgm:pt modelId="{4CE8A549-566D-4C42-A09F-87E406049175}" type="parTrans" cxnId="{F63E21A2-8CCE-FA46-BC05-575C278D6DE2}">
      <dgm:prSet/>
      <dgm:spPr/>
      <dgm:t>
        <a:bodyPr/>
        <a:lstStyle/>
        <a:p>
          <a:endParaRPr lang="en-US" sz="1800"/>
        </a:p>
      </dgm:t>
    </dgm:pt>
    <dgm:pt modelId="{880CDBBF-3EE3-1049-BA69-72D0330DC069}" type="sibTrans" cxnId="{F63E21A2-8CCE-FA46-BC05-575C278D6DE2}">
      <dgm:prSet/>
      <dgm:spPr/>
      <dgm:t>
        <a:bodyPr/>
        <a:lstStyle/>
        <a:p>
          <a:endParaRPr lang="en-US" sz="1800"/>
        </a:p>
      </dgm:t>
    </dgm:pt>
    <dgm:pt modelId="{4CC743BE-89B2-7B43-BF58-D59F86D8E5AF}">
      <dgm:prSet custT="1"/>
      <dgm:spPr>
        <a:solidFill>
          <a:schemeClr val="accent6"/>
        </a:solidFill>
      </dgm:spPr>
      <dgm:t>
        <a:bodyPr/>
        <a:lstStyle/>
        <a:p>
          <a:r>
            <a:rPr lang="en-US" sz="1800" dirty="0"/>
            <a:t>HHW</a:t>
          </a:r>
        </a:p>
      </dgm:t>
    </dgm:pt>
    <dgm:pt modelId="{6FCB5090-C78A-4A40-B1E1-D95882A618A4}" type="parTrans" cxnId="{005F93D0-0F40-B244-93EB-B7486C7FF021}">
      <dgm:prSet/>
      <dgm:spPr/>
      <dgm:t>
        <a:bodyPr/>
        <a:lstStyle/>
        <a:p>
          <a:endParaRPr lang="en-US" sz="1800"/>
        </a:p>
      </dgm:t>
    </dgm:pt>
    <dgm:pt modelId="{DDD58D91-D3F1-CF45-A967-235059630097}" type="sibTrans" cxnId="{005F93D0-0F40-B244-93EB-B7486C7FF021}">
      <dgm:prSet/>
      <dgm:spPr/>
      <dgm:t>
        <a:bodyPr/>
        <a:lstStyle/>
        <a:p>
          <a:endParaRPr lang="en-US" sz="1800"/>
        </a:p>
      </dgm:t>
    </dgm:pt>
    <dgm:pt modelId="{6DAD5AF5-2F6C-40CF-B4A4-4535DCB1DE5D}" type="pres">
      <dgm:prSet presAssocID="{C14FF3FB-789E-4041-BAA4-8A5D3EF74394}" presName="hierChild1" presStyleCnt="0">
        <dgm:presLayoutVars>
          <dgm:orgChart val="1"/>
          <dgm:chPref val="1"/>
          <dgm:dir/>
          <dgm:animOne val="branch"/>
          <dgm:animLvl val="lvl"/>
          <dgm:resizeHandles/>
        </dgm:presLayoutVars>
      </dgm:prSet>
      <dgm:spPr/>
    </dgm:pt>
    <dgm:pt modelId="{9E669CAF-C666-4968-9C8A-A75CD735112E}" type="pres">
      <dgm:prSet presAssocID="{8A0FDD62-5ACB-4363-8100-7921DB27FED9}" presName="hierRoot1" presStyleCnt="0">
        <dgm:presLayoutVars>
          <dgm:hierBranch val="init"/>
        </dgm:presLayoutVars>
      </dgm:prSet>
      <dgm:spPr/>
    </dgm:pt>
    <dgm:pt modelId="{C9310B4B-0140-4156-88BB-BB8B405BA2F6}" type="pres">
      <dgm:prSet presAssocID="{8A0FDD62-5ACB-4363-8100-7921DB27FED9}" presName="rootComposite1" presStyleCnt="0"/>
      <dgm:spPr/>
    </dgm:pt>
    <dgm:pt modelId="{9243952B-3833-4F9A-A71B-0A59EE8FED19}" type="pres">
      <dgm:prSet presAssocID="{8A0FDD62-5ACB-4363-8100-7921DB27FED9}" presName="rootText1" presStyleLbl="node0" presStyleIdx="0" presStyleCnt="4" custLinFactNeighborX="-108" custLinFactNeighborY="9627">
        <dgm:presLayoutVars>
          <dgm:chPref val="3"/>
        </dgm:presLayoutVars>
      </dgm:prSet>
      <dgm:spPr/>
    </dgm:pt>
    <dgm:pt modelId="{4C951630-26BE-4FC2-B02A-6EABC31BCC02}" type="pres">
      <dgm:prSet presAssocID="{8A0FDD62-5ACB-4363-8100-7921DB27FED9}" presName="rootConnector1" presStyleLbl="node1" presStyleIdx="0" presStyleCnt="0"/>
      <dgm:spPr/>
    </dgm:pt>
    <dgm:pt modelId="{A9CBB20B-D2FF-462D-8365-7D562044133A}" type="pres">
      <dgm:prSet presAssocID="{8A0FDD62-5ACB-4363-8100-7921DB27FED9}" presName="hierChild2" presStyleCnt="0"/>
      <dgm:spPr/>
    </dgm:pt>
    <dgm:pt modelId="{C5E9805B-8734-43E5-87A9-3E4EDE6400A1}" type="pres">
      <dgm:prSet presAssocID="{FE1183B8-299D-4DAE-9761-D4155ED0D626}" presName="Name64" presStyleLbl="parChTrans1D2" presStyleIdx="0" presStyleCnt="5"/>
      <dgm:spPr/>
    </dgm:pt>
    <dgm:pt modelId="{59D565F5-CF79-4EC0-B001-75692E0C55A5}" type="pres">
      <dgm:prSet presAssocID="{9C224AA8-5D6D-439F-A5FF-D80F3FA166E4}" presName="hierRoot2" presStyleCnt="0">
        <dgm:presLayoutVars>
          <dgm:hierBranch val="init"/>
        </dgm:presLayoutVars>
      </dgm:prSet>
      <dgm:spPr/>
    </dgm:pt>
    <dgm:pt modelId="{FD1AFDEF-415B-41D7-A2B3-18097AE78CD0}" type="pres">
      <dgm:prSet presAssocID="{9C224AA8-5D6D-439F-A5FF-D80F3FA166E4}" presName="rootComposite" presStyleCnt="0"/>
      <dgm:spPr/>
    </dgm:pt>
    <dgm:pt modelId="{F6C5896B-E465-4949-89C8-FE4B715A7AA6}" type="pres">
      <dgm:prSet presAssocID="{9C224AA8-5D6D-439F-A5FF-D80F3FA166E4}" presName="rootText" presStyleLbl="node2" presStyleIdx="0" presStyleCnt="5" custLinFactNeighborY="9627">
        <dgm:presLayoutVars>
          <dgm:chPref val="3"/>
        </dgm:presLayoutVars>
      </dgm:prSet>
      <dgm:spPr/>
    </dgm:pt>
    <dgm:pt modelId="{E545B4FB-CAAE-4F67-8274-077F8989871C}" type="pres">
      <dgm:prSet presAssocID="{9C224AA8-5D6D-439F-A5FF-D80F3FA166E4}" presName="rootConnector" presStyleLbl="node2" presStyleIdx="0" presStyleCnt="5"/>
      <dgm:spPr/>
    </dgm:pt>
    <dgm:pt modelId="{12A0EF90-D8EB-4D76-A8C2-74FEB5F363FC}" type="pres">
      <dgm:prSet presAssocID="{9C224AA8-5D6D-439F-A5FF-D80F3FA166E4}" presName="hierChild4" presStyleCnt="0"/>
      <dgm:spPr/>
    </dgm:pt>
    <dgm:pt modelId="{945B86D7-60E4-41FF-9E22-41E01EACAF57}" type="pres">
      <dgm:prSet presAssocID="{9C224AA8-5D6D-439F-A5FF-D80F3FA166E4}" presName="hierChild5" presStyleCnt="0"/>
      <dgm:spPr/>
    </dgm:pt>
    <dgm:pt modelId="{128DFF0E-9219-4A5D-9DC2-F45043BFED9C}" type="pres">
      <dgm:prSet presAssocID="{9B6CE281-A07D-4914-93D2-9572AC8D5A6F}" presName="Name64" presStyleLbl="parChTrans1D2" presStyleIdx="1" presStyleCnt="5"/>
      <dgm:spPr/>
    </dgm:pt>
    <dgm:pt modelId="{FAA8B00E-FFCD-4593-8064-8429CF84817D}" type="pres">
      <dgm:prSet presAssocID="{008E733D-A691-43BC-BA5B-9A1FC1EAE70B}" presName="hierRoot2" presStyleCnt="0">
        <dgm:presLayoutVars>
          <dgm:hierBranch val="init"/>
        </dgm:presLayoutVars>
      </dgm:prSet>
      <dgm:spPr/>
    </dgm:pt>
    <dgm:pt modelId="{4791B7BC-7EE6-4C28-B1A7-F15C8A55C61B}" type="pres">
      <dgm:prSet presAssocID="{008E733D-A691-43BC-BA5B-9A1FC1EAE70B}" presName="rootComposite" presStyleCnt="0"/>
      <dgm:spPr/>
    </dgm:pt>
    <dgm:pt modelId="{7912A520-6302-4FA0-B726-5F1C79158053}" type="pres">
      <dgm:prSet presAssocID="{008E733D-A691-43BC-BA5B-9A1FC1EAE70B}" presName="rootText" presStyleLbl="node2" presStyleIdx="1" presStyleCnt="5" custLinFactNeighborY="9627">
        <dgm:presLayoutVars>
          <dgm:chPref val="3"/>
        </dgm:presLayoutVars>
      </dgm:prSet>
      <dgm:spPr/>
    </dgm:pt>
    <dgm:pt modelId="{B94DF8A1-A875-4807-9162-20A5A5F20602}" type="pres">
      <dgm:prSet presAssocID="{008E733D-A691-43BC-BA5B-9A1FC1EAE70B}" presName="rootConnector" presStyleLbl="node2" presStyleIdx="1" presStyleCnt="5"/>
      <dgm:spPr/>
    </dgm:pt>
    <dgm:pt modelId="{6D2B7FA0-C8F7-4BB1-A24B-5867C359A830}" type="pres">
      <dgm:prSet presAssocID="{008E733D-A691-43BC-BA5B-9A1FC1EAE70B}" presName="hierChild4" presStyleCnt="0"/>
      <dgm:spPr/>
    </dgm:pt>
    <dgm:pt modelId="{9E8D2733-07A7-4B55-AECD-D0F401EC67DB}" type="pres">
      <dgm:prSet presAssocID="{008E733D-A691-43BC-BA5B-9A1FC1EAE70B}" presName="hierChild5" presStyleCnt="0"/>
      <dgm:spPr/>
    </dgm:pt>
    <dgm:pt modelId="{BB1C3144-AF76-4C1A-AC16-5745FE3D6FF4}" type="pres">
      <dgm:prSet presAssocID="{8A0FDD62-5ACB-4363-8100-7921DB27FED9}" presName="hierChild3" presStyleCnt="0"/>
      <dgm:spPr/>
    </dgm:pt>
    <dgm:pt modelId="{E18B88DC-BC5B-4269-8303-2816E8A33297}" type="pres">
      <dgm:prSet presAssocID="{D09E3D4F-1D7D-42D1-986A-2D072940B2CA}" presName="hierRoot1" presStyleCnt="0">
        <dgm:presLayoutVars>
          <dgm:hierBranch val="init"/>
        </dgm:presLayoutVars>
      </dgm:prSet>
      <dgm:spPr/>
    </dgm:pt>
    <dgm:pt modelId="{7E1EFAEC-C6C5-4489-9136-BD7B0956B289}" type="pres">
      <dgm:prSet presAssocID="{D09E3D4F-1D7D-42D1-986A-2D072940B2CA}" presName="rootComposite1" presStyleCnt="0"/>
      <dgm:spPr/>
    </dgm:pt>
    <dgm:pt modelId="{8F43BE6E-166A-4736-B495-0F0C5F9C5A94}" type="pres">
      <dgm:prSet presAssocID="{D09E3D4F-1D7D-42D1-986A-2D072940B2CA}" presName="rootText1" presStyleLbl="node0" presStyleIdx="1" presStyleCnt="4" custScaleY="193739">
        <dgm:presLayoutVars>
          <dgm:chPref val="3"/>
        </dgm:presLayoutVars>
      </dgm:prSet>
      <dgm:spPr/>
    </dgm:pt>
    <dgm:pt modelId="{65E7425D-55D2-4A95-85AE-4170C0981629}" type="pres">
      <dgm:prSet presAssocID="{D09E3D4F-1D7D-42D1-986A-2D072940B2CA}" presName="rootConnector1" presStyleLbl="node1" presStyleIdx="0" presStyleCnt="0"/>
      <dgm:spPr/>
    </dgm:pt>
    <dgm:pt modelId="{0A91E4F6-AD54-49CF-9C53-9262E286DF5E}" type="pres">
      <dgm:prSet presAssocID="{D09E3D4F-1D7D-42D1-986A-2D072940B2CA}" presName="hierChild2" presStyleCnt="0"/>
      <dgm:spPr/>
    </dgm:pt>
    <dgm:pt modelId="{3C8331C7-B13D-4AF7-A323-1B1603B58B0E}" type="pres">
      <dgm:prSet presAssocID="{56CFB6F2-8ADE-4838-A1ED-04DC59B84DF2}" presName="Name64" presStyleLbl="parChTrans1D2" presStyleIdx="2" presStyleCnt="5"/>
      <dgm:spPr/>
    </dgm:pt>
    <dgm:pt modelId="{B92978FC-A8E3-4BC5-983D-A951B513D496}" type="pres">
      <dgm:prSet presAssocID="{A63D69D2-ED31-4993-930F-751C45C13CD4}" presName="hierRoot2" presStyleCnt="0">
        <dgm:presLayoutVars>
          <dgm:hierBranch val="init"/>
        </dgm:presLayoutVars>
      </dgm:prSet>
      <dgm:spPr/>
    </dgm:pt>
    <dgm:pt modelId="{BCE6459C-EE48-41D9-B74E-BEC9785A15BD}" type="pres">
      <dgm:prSet presAssocID="{A63D69D2-ED31-4993-930F-751C45C13CD4}" presName="rootComposite" presStyleCnt="0"/>
      <dgm:spPr/>
    </dgm:pt>
    <dgm:pt modelId="{B633B50C-55B7-4080-8A5D-DD9EE7F65740}" type="pres">
      <dgm:prSet presAssocID="{A63D69D2-ED31-4993-930F-751C45C13CD4}" presName="rootText" presStyleLbl="node2" presStyleIdx="2" presStyleCnt="5" custScaleY="183604" custLinFactNeighborY="9627">
        <dgm:presLayoutVars>
          <dgm:chPref val="3"/>
        </dgm:presLayoutVars>
      </dgm:prSet>
      <dgm:spPr/>
    </dgm:pt>
    <dgm:pt modelId="{BCAEF62C-2B92-4445-AEF0-05B432CBDEDE}" type="pres">
      <dgm:prSet presAssocID="{A63D69D2-ED31-4993-930F-751C45C13CD4}" presName="rootConnector" presStyleLbl="node2" presStyleIdx="2" presStyleCnt="5"/>
      <dgm:spPr/>
    </dgm:pt>
    <dgm:pt modelId="{85D17B27-E6A5-4A40-B9C1-320A246A7E32}" type="pres">
      <dgm:prSet presAssocID="{A63D69D2-ED31-4993-930F-751C45C13CD4}" presName="hierChild4" presStyleCnt="0"/>
      <dgm:spPr/>
    </dgm:pt>
    <dgm:pt modelId="{009D29F9-C5F4-4601-953B-F2A1F0EC73B1}" type="pres">
      <dgm:prSet presAssocID="{A63D69D2-ED31-4993-930F-751C45C13CD4}" presName="hierChild5" presStyleCnt="0"/>
      <dgm:spPr/>
    </dgm:pt>
    <dgm:pt modelId="{4E1287EB-C0CC-4C9B-8503-F8372D7BE22A}" type="pres">
      <dgm:prSet presAssocID="{44316C2B-8810-4B50-9686-5B8AC20A9943}" presName="Name64" presStyleLbl="parChTrans1D2" presStyleIdx="3" presStyleCnt="5"/>
      <dgm:spPr/>
    </dgm:pt>
    <dgm:pt modelId="{30BCAA1C-BC25-46FB-975C-8FC930EF37D0}" type="pres">
      <dgm:prSet presAssocID="{91762AC4-5843-45DA-BD82-07AA1A1B93DC}" presName="hierRoot2" presStyleCnt="0">
        <dgm:presLayoutVars>
          <dgm:hierBranch val="init"/>
        </dgm:presLayoutVars>
      </dgm:prSet>
      <dgm:spPr/>
    </dgm:pt>
    <dgm:pt modelId="{6641C33A-4F6C-4E1C-8D18-646008060B9F}" type="pres">
      <dgm:prSet presAssocID="{91762AC4-5843-45DA-BD82-07AA1A1B93DC}" presName="rootComposite" presStyleCnt="0"/>
      <dgm:spPr/>
    </dgm:pt>
    <dgm:pt modelId="{F8970BD3-839A-4C82-84BD-B0A41A6A9807}" type="pres">
      <dgm:prSet presAssocID="{91762AC4-5843-45DA-BD82-07AA1A1B93DC}" presName="rootText" presStyleLbl="node2" presStyleIdx="3" presStyleCnt="5" custLinFactNeighborY="9627">
        <dgm:presLayoutVars>
          <dgm:chPref val="3"/>
        </dgm:presLayoutVars>
      </dgm:prSet>
      <dgm:spPr/>
    </dgm:pt>
    <dgm:pt modelId="{240D1101-2E34-40E6-BD15-AE5CAEF83A68}" type="pres">
      <dgm:prSet presAssocID="{91762AC4-5843-45DA-BD82-07AA1A1B93DC}" presName="rootConnector" presStyleLbl="node2" presStyleIdx="3" presStyleCnt="5"/>
      <dgm:spPr/>
    </dgm:pt>
    <dgm:pt modelId="{E0095A6F-32CE-4B3E-BA2B-7B435D2E0C1B}" type="pres">
      <dgm:prSet presAssocID="{91762AC4-5843-45DA-BD82-07AA1A1B93DC}" presName="hierChild4" presStyleCnt="0"/>
      <dgm:spPr/>
    </dgm:pt>
    <dgm:pt modelId="{0B7ED1C2-376D-49B3-9285-F308DEBA2294}" type="pres">
      <dgm:prSet presAssocID="{91762AC4-5843-45DA-BD82-07AA1A1B93DC}" presName="hierChild5" presStyleCnt="0"/>
      <dgm:spPr/>
    </dgm:pt>
    <dgm:pt modelId="{97D80550-4753-414D-9E2C-29E87CC202F1}" type="pres">
      <dgm:prSet presAssocID="{4CE8A549-566D-4C42-A09F-87E406049175}" presName="Name64" presStyleLbl="parChTrans1D2" presStyleIdx="4" presStyleCnt="5"/>
      <dgm:spPr/>
    </dgm:pt>
    <dgm:pt modelId="{AFBDD29A-F995-7942-816C-A971466B6455}" type="pres">
      <dgm:prSet presAssocID="{99A6F7B8-F459-C049-8C11-CCDD7B940BE5}" presName="hierRoot2" presStyleCnt="0">
        <dgm:presLayoutVars>
          <dgm:hierBranch val="init"/>
        </dgm:presLayoutVars>
      </dgm:prSet>
      <dgm:spPr/>
    </dgm:pt>
    <dgm:pt modelId="{B7B45292-BDF8-124E-BDB4-0352C7C47D67}" type="pres">
      <dgm:prSet presAssocID="{99A6F7B8-F459-C049-8C11-CCDD7B940BE5}" presName="rootComposite" presStyleCnt="0"/>
      <dgm:spPr/>
    </dgm:pt>
    <dgm:pt modelId="{C517AAD2-5580-C644-8C97-234B421E295B}" type="pres">
      <dgm:prSet presAssocID="{99A6F7B8-F459-C049-8C11-CCDD7B940BE5}" presName="rootText" presStyleLbl="node2" presStyleIdx="4" presStyleCnt="5" custScaleY="172050">
        <dgm:presLayoutVars>
          <dgm:chPref val="3"/>
        </dgm:presLayoutVars>
      </dgm:prSet>
      <dgm:spPr/>
    </dgm:pt>
    <dgm:pt modelId="{AE3B0388-2463-EF47-AFC2-5437291EF998}" type="pres">
      <dgm:prSet presAssocID="{99A6F7B8-F459-C049-8C11-CCDD7B940BE5}" presName="rootConnector" presStyleLbl="node2" presStyleIdx="4" presStyleCnt="5"/>
      <dgm:spPr/>
    </dgm:pt>
    <dgm:pt modelId="{1D002B0A-C78F-3E48-8C25-35AA92CAD96F}" type="pres">
      <dgm:prSet presAssocID="{99A6F7B8-F459-C049-8C11-CCDD7B940BE5}" presName="hierChild4" presStyleCnt="0"/>
      <dgm:spPr/>
    </dgm:pt>
    <dgm:pt modelId="{B0C7CB86-8280-C041-9FE8-BF2844EBC949}" type="pres">
      <dgm:prSet presAssocID="{99A6F7B8-F459-C049-8C11-CCDD7B940BE5}" presName="hierChild5" presStyleCnt="0"/>
      <dgm:spPr/>
    </dgm:pt>
    <dgm:pt modelId="{3AA06DB7-3CF2-4B80-A567-B41E54DCF106}" type="pres">
      <dgm:prSet presAssocID="{D09E3D4F-1D7D-42D1-986A-2D072940B2CA}" presName="hierChild3" presStyleCnt="0"/>
      <dgm:spPr/>
    </dgm:pt>
    <dgm:pt modelId="{23C114B1-B44D-274C-ACD6-335C344B8881}" type="pres">
      <dgm:prSet presAssocID="{4AF9AEFF-42D1-B740-82E9-C1B79BBA1D1D}" presName="hierRoot1" presStyleCnt="0">
        <dgm:presLayoutVars>
          <dgm:hierBranch val="init"/>
        </dgm:presLayoutVars>
      </dgm:prSet>
      <dgm:spPr/>
    </dgm:pt>
    <dgm:pt modelId="{3A5DF050-98B2-A44B-9D94-394A589761C7}" type="pres">
      <dgm:prSet presAssocID="{4AF9AEFF-42D1-B740-82E9-C1B79BBA1D1D}" presName="rootComposite1" presStyleCnt="0"/>
      <dgm:spPr/>
    </dgm:pt>
    <dgm:pt modelId="{3EA02441-E62E-C24E-A4DF-460F53CDBD20}" type="pres">
      <dgm:prSet presAssocID="{4AF9AEFF-42D1-B740-82E9-C1B79BBA1D1D}" presName="rootText1" presStyleLbl="node0" presStyleIdx="2" presStyleCnt="4" custScaleX="220215">
        <dgm:presLayoutVars>
          <dgm:chPref val="3"/>
        </dgm:presLayoutVars>
      </dgm:prSet>
      <dgm:spPr/>
    </dgm:pt>
    <dgm:pt modelId="{03B6B337-FD0F-8F46-B2A3-A49AE23D70A9}" type="pres">
      <dgm:prSet presAssocID="{4AF9AEFF-42D1-B740-82E9-C1B79BBA1D1D}" presName="rootConnector1" presStyleLbl="node1" presStyleIdx="0" presStyleCnt="0"/>
      <dgm:spPr/>
    </dgm:pt>
    <dgm:pt modelId="{DE1717D0-2F56-2147-8E6D-2E4A6D170743}" type="pres">
      <dgm:prSet presAssocID="{4AF9AEFF-42D1-B740-82E9-C1B79BBA1D1D}" presName="hierChild2" presStyleCnt="0"/>
      <dgm:spPr/>
    </dgm:pt>
    <dgm:pt modelId="{369D3ECE-AB07-3143-A203-76E48C3520DF}" type="pres">
      <dgm:prSet presAssocID="{4AF9AEFF-42D1-B740-82E9-C1B79BBA1D1D}" presName="hierChild3" presStyleCnt="0"/>
      <dgm:spPr/>
    </dgm:pt>
    <dgm:pt modelId="{130F00FC-FAB4-FC48-8F3A-C00C60F773F6}" type="pres">
      <dgm:prSet presAssocID="{4CC743BE-89B2-7B43-BF58-D59F86D8E5AF}" presName="hierRoot1" presStyleCnt="0">
        <dgm:presLayoutVars>
          <dgm:hierBranch val="init"/>
        </dgm:presLayoutVars>
      </dgm:prSet>
      <dgm:spPr/>
    </dgm:pt>
    <dgm:pt modelId="{CAC83379-269E-5741-8414-E5ED31DF00E5}" type="pres">
      <dgm:prSet presAssocID="{4CC743BE-89B2-7B43-BF58-D59F86D8E5AF}" presName="rootComposite1" presStyleCnt="0"/>
      <dgm:spPr/>
    </dgm:pt>
    <dgm:pt modelId="{A0471F14-CFB3-8449-8997-79C53AE48F72}" type="pres">
      <dgm:prSet presAssocID="{4CC743BE-89B2-7B43-BF58-D59F86D8E5AF}" presName="rootText1" presStyleLbl="node0" presStyleIdx="3" presStyleCnt="4" custScaleX="220215">
        <dgm:presLayoutVars>
          <dgm:chPref val="3"/>
        </dgm:presLayoutVars>
      </dgm:prSet>
      <dgm:spPr/>
    </dgm:pt>
    <dgm:pt modelId="{20E2811A-1241-1C43-8D08-396FBA25036F}" type="pres">
      <dgm:prSet presAssocID="{4CC743BE-89B2-7B43-BF58-D59F86D8E5AF}" presName="rootConnector1" presStyleLbl="node1" presStyleIdx="0" presStyleCnt="0"/>
      <dgm:spPr/>
    </dgm:pt>
    <dgm:pt modelId="{EDCA2F9E-F17A-3E45-80B8-679DF2787438}" type="pres">
      <dgm:prSet presAssocID="{4CC743BE-89B2-7B43-BF58-D59F86D8E5AF}" presName="hierChild2" presStyleCnt="0"/>
      <dgm:spPr/>
    </dgm:pt>
    <dgm:pt modelId="{81A7C4EA-C53A-3A4F-B2EC-E0CE77B8741F}" type="pres">
      <dgm:prSet presAssocID="{4CC743BE-89B2-7B43-BF58-D59F86D8E5AF}" presName="hierChild3" presStyleCnt="0"/>
      <dgm:spPr/>
    </dgm:pt>
  </dgm:ptLst>
  <dgm:cxnLst>
    <dgm:cxn modelId="{FFCB8E0E-83EF-4599-BF13-C986EE976DEB}" srcId="{C14FF3FB-789E-4041-BAA4-8A5D3EF74394}" destId="{8A0FDD62-5ACB-4363-8100-7921DB27FED9}" srcOrd="0" destOrd="0" parTransId="{2E0A18BD-4B57-45A2-B599-17A5236A0DBA}" sibTransId="{95404541-6FCE-499D-B544-6283CA283D12}"/>
    <dgm:cxn modelId="{BEC3980F-6EFA-3B4C-B0F5-406E4A0F5D23}" type="presOf" srcId="{99A6F7B8-F459-C049-8C11-CCDD7B940BE5}" destId="{C517AAD2-5580-C644-8C97-234B421E295B}" srcOrd="0" destOrd="0" presId="urn:microsoft.com/office/officeart/2009/3/layout/HorizontalOrganizationChart"/>
    <dgm:cxn modelId="{1BFC2014-0346-4085-A372-634EDC4246C7}" type="presOf" srcId="{008E733D-A691-43BC-BA5B-9A1FC1EAE70B}" destId="{7912A520-6302-4FA0-B726-5F1C79158053}" srcOrd="0" destOrd="0" presId="urn:microsoft.com/office/officeart/2009/3/layout/HorizontalOrganizationChart"/>
    <dgm:cxn modelId="{4EC2F718-0E10-4255-80DA-B31FD988F7FE}" type="presOf" srcId="{A63D69D2-ED31-4993-930F-751C45C13CD4}" destId="{BCAEF62C-2B92-4445-AEF0-05B432CBDEDE}" srcOrd="1" destOrd="0" presId="urn:microsoft.com/office/officeart/2009/3/layout/HorizontalOrganizationChart"/>
    <dgm:cxn modelId="{E457742C-253D-5D41-B628-8E3215250C26}" type="presOf" srcId="{4CC743BE-89B2-7B43-BF58-D59F86D8E5AF}" destId="{20E2811A-1241-1C43-8D08-396FBA25036F}" srcOrd="1" destOrd="0" presId="urn:microsoft.com/office/officeart/2009/3/layout/HorizontalOrganizationChart"/>
    <dgm:cxn modelId="{F4ABB83C-24C7-4711-A232-B64194FD2448}" type="presOf" srcId="{FE1183B8-299D-4DAE-9761-D4155ED0D626}" destId="{C5E9805B-8734-43E5-87A9-3E4EDE6400A1}" srcOrd="0" destOrd="0" presId="urn:microsoft.com/office/officeart/2009/3/layout/HorizontalOrganizationChart"/>
    <dgm:cxn modelId="{F85C7F5B-9BC1-4931-B469-45AFB800FF9A}" type="presOf" srcId="{A63D69D2-ED31-4993-930F-751C45C13CD4}" destId="{B633B50C-55B7-4080-8A5D-DD9EE7F65740}" srcOrd="0" destOrd="0" presId="urn:microsoft.com/office/officeart/2009/3/layout/HorizontalOrganizationChart"/>
    <dgm:cxn modelId="{DF4C2B5F-7246-F94A-8255-732907A6C824}" srcId="{C14FF3FB-789E-4041-BAA4-8A5D3EF74394}" destId="{4AF9AEFF-42D1-B740-82E9-C1B79BBA1D1D}" srcOrd="2" destOrd="0" parTransId="{136DFE82-DD95-9440-99FE-AD1D30173A71}" sibTransId="{7CA9E5FE-025A-A543-85F9-9D75B8464C49}"/>
    <dgm:cxn modelId="{D00B0B62-966B-4BC1-812E-4461A799A4F6}" type="presOf" srcId="{9B6CE281-A07D-4914-93D2-9572AC8D5A6F}" destId="{128DFF0E-9219-4A5D-9DC2-F45043BFED9C}" srcOrd="0" destOrd="0" presId="urn:microsoft.com/office/officeart/2009/3/layout/HorizontalOrganizationChart"/>
    <dgm:cxn modelId="{B57D786E-BC9E-C849-8C6F-B2E7F76C7E06}" type="presOf" srcId="{4CC743BE-89B2-7B43-BF58-D59F86D8E5AF}" destId="{A0471F14-CFB3-8449-8997-79C53AE48F72}" srcOrd="0" destOrd="0" presId="urn:microsoft.com/office/officeart/2009/3/layout/HorizontalOrganizationChart"/>
    <dgm:cxn modelId="{2BEC1470-7626-6643-BE17-A1EC90A007AE}" type="presOf" srcId="{4AF9AEFF-42D1-B740-82E9-C1B79BBA1D1D}" destId="{03B6B337-FD0F-8F46-B2A3-A49AE23D70A9}" srcOrd="1" destOrd="0" presId="urn:microsoft.com/office/officeart/2009/3/layout/HorizontalOrganizationChart"/>
    <dgm:cxn modelId="{418DDD72-5F93-4278-B9A7-B366FC5F831B}" type="presOf" srcId="{D09E3D4F-1D7D-42D1-986A-2D072940B2CA}" destId="{65E7425D-55D2-4A95-85AE-4170C0981629}" srcOrd="1" destOrd="0" presId="urn:microsoft.com/office/officeart/2009/3/layout/HorizontalOrganizationChart"/>
    <dgm:cxn modelId="{37169C73-803B-4B53-8056-7D86DF425149}" type="presOf" srcId="{D09E3D4F-1D7D-42D1-986A-2D072940B2CA}" destId="{8F43BE6E-166A-4736-B495-0F0C5F9C5A94}" srcOrd="0" destOrd="0" presId="urn:microsoft.com/office/officeart/2009/3/layout/HorizontalOrganizationChart"/>
    <dgm:cxn modelId="{EBE61E78-7C4C-8941-9AB5-46E2FCEC82E1}" type="presOf" srcId="{4AF9AEFF-42D1-B740-82E9-C1B79BBA1D1D}" destId="{3EA02441-E62E-C24E-A4DF-460F53CDBD20}" srcOrd="0" destOrd="0" presId="urn:microsoft.com/office/officeart/2009/3/layout/HorizontalOrganizationChart"/>
    <dgm:cxn modelId="{DAB9C179-CF84-4B9B-A240-A23B5E2EABF7}" type="presOf" srcId="{9C224AA8-5D6D-439F-A5FF-D80F3FA166E4}" destId="{E545B4FB-CAAE-4F67-8274-077F8989871C}" srcOrd="1" destOrd="0" presId="urn:microsoft.com/office/officeart/2009/3/layout/HorizontalOrganizationChart"/>
    <dgm:cxn modelId="{3A4A7F7C-3773-44AD-831D-2EEC340A03E6}" type="presOf" srcId="{C14FF3FB-789E-4041-BAA4-8A5D3EF74394}" destId="{6DAD5AF5-2F6C-40CF-B4A4-4535DCB1DE5D}" srcOrd="0" destOrd="0" presId="urn:microsoft.com/office/officeart/2009/3/layout/HorizontalOrganizationChart"/>
    <dgm:cxn modelId="{82C1FF81-201C-4ADF-A1A9-A5FC6A205E06}" type="presOf" srcId="{008E733D-A691-43BC-BA5B-9A1FC1EAE70B}" destId="{B94DF8A1-A875-4807-9162-20A5A5F20602}" srcOrd="1" destOrd="0" presId="urn:microsoft.com/office/officeart/2009/3/layout/HorizontalOrganizationChart"/>
    <dgm:cxn modelId="{3E6FF197-5C51-BA42-84F2-283924AFBBEC}" type="presOf" srcId="{99A6F7B8-F459-C049-8C11-CCDD7B940BE5}" destId="{AE3B0388-2463-EF47-AFC2-5437291EF998}" srcOrd="1" destOrd="0" presId="urn:microsoft.com/office/officeart/2009/3/layout/HorizontalOrganizationChart"/>
    <dgm:cxn modelId="{F63E21A2-8CCE-FA46-BC05-575C278D6DE2}" srcId="{D09E3D4F-1D7D-42D1-986A-2D072940B2CA}" destId="{99A6F7B8-F459-C049-8C11-CCDD7B940BE5}" srcOrd="2" destOrd="0" parTransId="{4CE8A549-566D-4C42-A09F-87E406049175}" sibTransId="{880CDBBF-3EE3-1049-BA69-72D0330DC069}"/>
    <dgm:cxn modelId="{75F13DA4-FA2F-45CE-98D6-21A7FC633828}" type="presOf" srcId="{91762AC4-5843-45DA-BD82-07AA1A1B93DC}" destId="{F8970BD3-839A-4C82-84BD-B0A41A6A9807}" srcOrd="0" destOrd="0" presId="urn:microsoft.com/office/officeart/2009/3/layout/HorizontalOrganizationChart"/>
    <dgm:cxn modelId="{0BBCF1A4-D106-5F47-AE99-00FCA6F17C0C}" type="presOf" srcId="{4CE8A549-566D-4C42-A09F-87E406049175}" destId="{97D80550-4753-414D-9E2C-29E87CC202F1}" srcOrd="0" destOrd="0" presId="urn:microsoft.com/office/officeart/2009/3/layout/HorizontalOrganizationChart"/>
    <dgm:cxn modelId="{2DF84CA8-05F6-44B5-B32C-C070F0034577}" srcId="{D09E3D4F-1D7D-42D1-986A-2D072940B2CA}" destId="{A63D69D2-ED31-4993-930F-751C45C13CD4}" srcOrd="0" destOrd="0" parTransId="{56CFB6F2-8ADE-4838-A1ED-04DC59B84DF2}" sibTransId="{C3A94619-7880-4FE5-9FE3-8CDA03266D62}"/>
    <dgm:cxn modelId="{2AB946AA-81B9-471D-9447-2C92C3DA6716}" type="presOf" srcId="{8A0FDD62-5ACB-4363-8100-7921DB27FED9}" destId="{4C951630-26BE-4FC2-B02A-6EABC31BCC02}" srcOrd="1" destOrd="0" presId="urn:microsoft.com/office/officeart/2009/3/layout/HorizontalOrganizationChart"/>
    <dgm:cxn modelId="{9CB71FB1-4091-4499-A694-E01ECE5458BA}" type="presOf" srcId="{8A0FDD62-5ACB-4363-8100-7921DB27FED9}" destId="{9243952B-3833-4F9A-A71B-0A59EE8FED19}" srcOrd="0" destOrd="0" presId="urn:microsoft.com/office/officeart/2009/3/layout/HorizontalOrganizationChart"/>
    <dgm:cxn modelId="{1AAC81B3-3511-4BEE-B020-161368D405A0}" srcId="{D09E3D4F-1D7D-42D1-986A-2D072940B2CA}" destId="{91762AC4-5843-45DA-BD82-07AA1A1B93DC}" srcOrd="1" destOrd="0" parTransId="{44316C2B-8810-4B50-9686-5B8AC20A9943}" sibTransId="{69F84360-F8FB-4DC2-8AA4-DA39E260F788}"/>
    <dgm:cxn modelId="{3906FFB6-8A5C-4D36-979B-0E1D1A1CD3FD}" type="presOf" srcId="{56CFB6F2-8ADE-4838-A1ED-04DC59B84DF2}" destId="{3C8331C7-B13D-4AF7-A323-1B1603B58B0E}" srcOrd="0" destOrd="0" presId="urn:microsoft.com/office/officeart/2009/3/layout/HorizontalOrganizationChart"/>
    <dgm:cxn modelId="{014BABC1-0E51-4069-80CD-AE6B55BB3A4A}" type="presOf" srcId="{91762AC4-5843-45DA-BD82-07AA1A1B93DC}" destId="{240D1101-2E34-40E6-BD15-AE5CAEF83A68}" srcOrd="1" destOrd="0" presId="urn:microsoft.com/office/officeart/2009/3/layout/HorizontalOrganizationChart"/>
    <dgm:cxn modelId="{005F93D0-0F40-B244-93EB-B7486C7FF021}" srcId="{C14FF3FB-789E-4041-BAA4-8A5D3EF74394}" destId="{4CC743BE-89B2-7B43-BF58-D59F86D8E5AF}" srcOrd="3" destOrd="0" parTransId="{6FCB5090-C78A-4A40-B1E1-D95882A618A4}" sibTransId="{DDD58D91-D3F1-CF45-A967-235059630097}"/>
    <dgm:cxn modelId="{49920FD5-87B7-4F99-ACE4-0498AF7B821F}" type="presOf" srcId="{44316C2B-8810-4B50-9686-5B8AC20A9943}" destId="{4E1287EB-C0CC-4C9B-8503-F8372D7BE22A}" srcOrd="0" destOrd="0" presId="urn:microsoft.com/office/officeart/2009/3/layout/HorizontalOrganizationChart"/>
    <dgm:cxn modelId="{AD5298DF-9589-4A56-B320-737BAAF026D5}" srcId="{8A0FDD62-5ACB-4363-8100-7921DB27FED9}" destId="{008E733D-A691-43BC-BA5B-9A1FC1EAE70B}" srcOrd="1" destOrd="0" parTransId="{9B6CE281-A07D-4914-93D2-9572AC8D5A6F}" sibTransId="{C1D44F35-2DE3-41EF-8668-22EC13345377}"/>
    <dgm:cxn modelId="{471993E1-B340-4A72-921B-81101BD0227A}" type="presOf" srcId="{9C224AA8-5D6D-439F-A5FF-D80F3FA166E4}" destId="{F6C5896B-E465-4949-89C8-FE4B715A7AA6}" srcOrd="0" destOrd="0" presId="urn:microsoft.com/office/officeart/2009/3/layout/HorizontalOrganizationChart"/>
    <dgm:cxn modelId="{498BAEE2-7893-4D7B-95CC-F1C754C0CACB}" srcId="{C14FF3FB-789E-4041-BAA4-8A5D3EF74394}" destId="{D09E3D4F-1D7D-42D1-986A-2D072940B2CA}" srcOrd="1" destOrd="0" parTransId="{68ACF64D-A3E1-46BE-A0F8-EACFA27593B4}" sibTransId="{086D19BD-9679-4E1D-AB18-9C674F65C6F7}"/>
    <dgm:cxn modelId="{E02BB2F0-87BB-483B-91A1-E7038189B78B}" srcId="{8A0FDD62-5ACB-4363-8100-7921DB27FED9}" destId="{9C224AA8-5D6D-439F-A5FF-D80F3FA166E4}" srcOrd="0" destOrd="0" parTransId="{FE1183B8-299D-4DAE-9761-D4155ED0D626}" sibTransId="{46ECC135-E1CD-4BA3-940E-260EB4B089CC}"/>
    <dgm:cxn modelId="{1BBA2148-F184-41BE-A4AA-FF4AE6E11402}" type="presParOf" srcId="{6DAD5AF5-2F6C-40CF-B4A4-4535DCB1DE5D}" destId="{9E669CAF-C666-4968-9C8A-A75CD735112E}" srcOrd="0" destOrd="0" presId="urn:microsoft.com/office/officeart/2009/3/layout/HorizontalOrganizationChart"/>
    <dgm:cxn modelId="{CD4A52A8-BB30-46B1-A09C-FA3E5962EAC3}" type="presParOf" srcId="{9E669CAF-C666-4968-9C8A-A75CD735112E}" destId="{C9310B4B-0140-4156-88BB-BB8B405BA2F6}" srcOrd="0" destOrd="0" presId="urn:microsoft.com/office/officeart/2009/3/layout/HorizontalOrganizationChart"/>
    <dgm:cxn modelId="{00FEEC05-1D06-4F50-9D37-E227647C0275}" type="presParOf" srcId="{C9310B4B-0140-4156-88BB-BB8B405BA2F6}" destId="{9243952B-3833-4F9A-A71B-0A59EE8FED19}" srcOrd="0" destOrd="0" presId="urn:microsoft.com/office/officeart/2009/3/layout/HorizontalOrganizationChart"/>
    <dgm:cxn modelId="{61330E62-BE84-4CF8-B87D-76F69F8989F7}" type="presParOf" srcId="{C9310B4B-0140-4156-88BB-BB8B405BA2F6}" destId="{4C951630-26BE-4FC2-B02A-6EABC31BCC02}" srcOrd="1" destOrd="0" presId="urn:microsoft.com/office/officeart/2009/3/layout/HorizontalOrganizationChart"/>
    <dgm:cxn modelId="{2CE91F4A-E069-4DC6-AEE5-7A68566C91BE}" type="presParOf" srcId="{9E669CAF-C666-4968-9C8A-A75CD735112E}" destId="{A9CBB20B-D2FF-462D-8365-7D562044133A}" srcOrd="1" destOrd="0" presId="urn:microsoft.com/office/officeart/2009/3/layout/HorizontalOrganizationChart"/>
    <dgm:cxn modelId="{38FD33C2-E9ED-421A-AB97-66306F9C9EA4}" type="presParOf" srcId="{A9CBB20B-D2FF-462D-8365-7D562044133A}" destId="{C5E9805B-8734-43E5-87A9-3E4EDE6400A1}" srcOrd="0" destOrd="0" presId="urn:microsoft.com/office/officeart/2009/3/layout/HorizontalOrganizationChart"/>
    <dgm:cxn modelId="{AB331918-CE8E-4BD5-8F39-5A78E4F37DF3}" type="presParOf" srcId="{A9CBB20B-D2FF-462D-8365-7D562044133A}" destId="{59D565F5-CF79-4EC0-B001-75692E0C55A5}" srcOrd="1" destOrd="0" presId="urn:microsoft.com/office/officeart/2009/3/layout/HorizontalOrganizationChart"/>
    <dgm:cxn modelId="{C0A68D2F-44EF-4A10-AB34-46A774F23A22}" type="presParOf" srcId="{59D565F5-CF79-4EC0-B001-75692E0C55A5}" destId="{FD1AFDEF-415B-41D7-A2B3-18097AE78CD0}" srcOrd="0" destOrd="0" presId="urn:microsoft.com/office/officeart/2009/3/layout/HorizontalOrganizationChart"/>
    <dgm:cxn modelId="{C91D4CE7-12AC-4F90-9AFD-D0BE248578DB}" type="presParOf" srcId="{FD1AFDEF-415B-41D7-A2B3-18097AE78CD0}" destId="{F6C5896B-E465-4949-89C8-FE4B715A7AA6}" srcOrd="0" destOrd="0" presId="urn:microsoft.com/office/officeart/2009/3/layout/HorizontalOrganizationChart"/>
    <dgm:cxn modelId="{7D5BFA1F-51B3-46A7-B782-3C218484186E}" type="presParOf" srcId="{FD1AFDEF-415B-41D7-A2B3-18097AE78CD0}" destId="{E545B4FB-CAAE-4F67-8274-077F8989871C}" srcOrd="1" destOrd="0" presId="urn:microsoft.com/office/officeart/2009/3/layout/HorizontalOrganizationChart"/>
    <dgm:cxn modelId="{2DDC45EE-5C4F-471D-B9E6-165EED17ADD7}" type="presParOf" srcId="{59D565F5-CF79-4EC0-B001-75692E0C55A5}" destId="{12A0EF90-D8EB-4D76-A8C2-74FEB5F363FC}" srcOrd="1" destOrd="0" presId="urn:microsoft.com/office/officeart/2009/3/layout/HorizontalOrganizationChart"/>
    <dgm:cxn modelId="{DF3D3A8F-F7E9-4699-A141-CF0E8EA8347E}" type="presParOf" srcId="{59D565F5-CF79-4EC0-B001-75692E0C55A5}" destId="{945B86D7-60E4-41FF-9E22-41E01EACAF57}" srcOrd="2" destOrd="0" presId="urn:microsoft.com/office/officeart/2009/3/layout/HorizontalOrganizationChart"/>
    <dgm:cxn modelId="{570AB87B-F212-470D-AAFE-0007CE7D9C98}" type="presParOf" srcId="{A9CBB20B-D2FF-462D-8365-7D562044133A}" destId="{128DFF0E-9219-4A5D-9DC2-F45043BFED9C}" srcOrd="2" destOrd="0" presId="urn:microsoft.com/office/officeart/2009/3/layout/HorizontalOrganizationChart"/>
    <dgm:cxn modelId="{AB377DF9-02DB-4A1B-9A6F-8D5CBF15E237}" type="presParOf" srcId="{A9CBB20B-D2FF-462D-8365-7D562044133A}" destId="{FAA8B00E-FFCD-4593-8064-8429CF84817D}" srcOrd="3" destOrd="0" presId="urn:microsoft.com/office/officeart/2009/3/layout/HorizontalOrganizationChart"/>
    <dgm:cxn modelId="{F0E35F52-E630-46F5-8602-6A637DC64B33}" type="presParOf" srcId="{FAA8B00E-FFCD-4593-8064-8429CF84817D}" destId="{4791B7BC-7EE6-4C28-B1A7-F15C8A55C61B}" srcOrd="0" destOrd="0" presId="urn:microsoft.com/office/officeart/2009/3/layout/HorizontalOrganizationChart"/>
    <dgm:cxn modelId="{8B4D615B-562E-48AF-84CF-0BAE577EBD31}" type="presParOf" srcId="{4791B7BC-7EE6-4C28-B1A7-F15C8A55C61B}" destId="{7912A520-6302-4FA0-B726-5F1C79158053}" srcOrd="0" destOrd="0" presId="urn:microsoft.com/office/officeart/2009/3/layout/HorizontalOrganizationChart"/>
    <dgm:cxn modelId="{3CE242D1-49EE-49F4-BE6F-B7ACD5DF6847}" type="presParOf" srcId="{4791B7BC-7EE6-4C28-B1A7-F15C8A55C61B}" destId="{B94DF8A1-A875-4807-9162-20A5A5F20602}" srcOrd="1" destOrd="0" presId="urn:microsoft.com/office/officeart/2009/3/layout/HorizontalOrganizationChart"/>
    <dgm:cxn modelId="{027A58EE-77C3-445F-97ED-EDBA31F8036C}" type="presParOf" srcId="{FAA8B00E-FFCD-4593-8064-8429CF84817D}" destId="{6D2B7FA0-C8F7-4BB1-A24B-5867C359A830}" srcOrd="1" destOrd="0" presId="urn:microsoft.com/office/officeart/2009/3/layout/HorizontalOrganizationChart"/>
    <dgm:cxn modelId="{35187DFD-FEA4-47C8-B1B8-F9E10844464F}" type="presParOf" srcId="{FAA8B00E-FFCD-4593-8064-8429CF84817D}" destId="{9E8D2733-07A7-4B55-AECD-D0F401EC67DB}" srcOrd="2" destOrd="0" presId="urn:microsoft.com/office/officeart/2009/3/layout/HorizontalOrganizationChart"/>
    <dgm:cxn modelId="{2EEB8B91-47BD-4CBB-BF41-68D9D0249310}" type="presParOf" srcId="{9E669CAF-C666-4968-9C8A-A75CD735112E}" destId="{BB1C3144-AF76-4C1A-AC16-5745FE3D6FF4}" srcOrd="2" destOrd="0" presId="urn:microsoft.com/office/officeart/2009/3/layout/HorizontalOrganizationChart"/>
    <dgm:cxn modelId="{955AEF40-4F3F-4537-AF01-8943C55F9F46}" type="presParOf" srcId="{6DAD5AF5-2F6C-40CF-B4A4-4535DCB1DE5D}" destId="{E18B88DC-BC5B-4269-8303-2816E8A33297}" srcOrd="1" destOrd="0" presId="urn:microsoft.com/office/officeart/2009/3/layout/HorizontalOrganizationChart"/>
    <dgm:cxn modelId="{E2C7FD41-5A95-4129-949B-E52C827BCFEE}" type="presParOf" srcId="{E18B88DC-BC5B-4269-8303-2816E8A33297}" destId="{7E1EFAEC-C6C5-4489-9136-BD7B0956B289}" srcOrd="0" destOrd="0" presId="urn:microsoft.com/office/officeart/2009/3/layout/HorizontalOrganizationChart"/>
    <dgm:cxn modelId="{BEDF551C-3DAF-4BD3-8D74-32D5C90B7E44}" type="presParOf" srcId="{7E1EFAEC-C6C5-4489-9136-BD7B0956B289}" destId="{8F43BE6E-166A-4736-B495-0F0C5F9C5A94}" srcOrd="0" destOrd="0" presId="urn:microsoft.com/office/officeart/2009/3/layout/HorizontalOrganizationChart"/>
    <dgm:cxn modelId="{3AF3451C-B360-45D9-87AD-F22BD0B2F8A0}" type="presParOf" srcId="{7E1EFAEC-C6C5-4489-9136-BD7B0956B289}" destId="{65E7425D-55D2-4A95-85AE-4170C0981629}" srcOrd="1" destOrd="0" presId="urn:microsoft.com/office/officeart/2009/3/layout/HorizontalOrganizationChart"/>
    <dgm:cxn modelId="{84F8506D-BB3A-45DD-A804-FF6EF4A34DF4}" type="presParOf" srcId="{E18B88DC-BC5B-4269-8303-2816E8A33297}" destId="{0A91E4F6-AD54-49CF-9C53-9262E286DF5E}" srcOrd="1" destOrd="0" presId="urn:microsoft.com/office/officeart/2009/3/layout/HorizontalOrganizationChart"/>
    <dgm:cxn modelId="{6C56CFF5-6BE4-4FD0-917A-B1F908753DEA}" type="presParOf" srcId="{0A91E4F6-AD54-49CF-9C53-9262E286DF5E}" destId="{3C8331C7-B13D-4AF7-A323-1B1603B58B0E}" srcOrd="0" destOrd="0" presId="urn:microsoft.com/office/officeart/2009/3/layout/HorizontalOrganizationChart"/>
    <dgm:cxn modelId="{40B7F0CC-6AB5-4F6E-AF7C-EE9FFC84E04F}" type="presParOf" srcId="{0A91E4F6-AD54-49CF-9C53-9262E286DF5E}" destId="{B92978FC-A8E3-4BC5-983D-A951B513D496}" srcOrd="1" destOrd="0" presId="urn:microsoft.com/office/officeart/2009/3/layout/HorizontalOrganizationChart"/>
    <dgm:cxn modelId="{AAFE19FC-A7D2-45AE-AC56-DD5FBB83E39A}" type="presParOf" srcId="{B92978FC-A8E3-4BC5-983D-A951B513D496}" destId="{BCE6459C-EE48-41D9-B74E-BEC9785A15BD}" srcOrd="0" destOrd="0" presId="urn:microsoft.com/office/officeart/2009/3/layout/HorizontalOrganizationChart"/>
    <dgm:cxn modelId="{9F5890F7-0D57-45A2-BAD9-9FBB3B2476BC}" type="presParOf" srcId="{BCE6459C-EE48-41D9-B74E-BEC9785A15BD}" destId="{B633B50C-55B7-4080-8A5D-DD9EE7F65740}" srcOrd="0" destOrd="0" presId="urn:microsoft.com/office/officeart/2009/3/layout/HorizontalOrganizationChart"/>
    <dgm:cxn modelId="{A7F795A8-0DD5-42E3-A9ED-1325D6DC1215}" type="presParOf" srcId="{BCE6459C-EE48-41D9-B74E-BEC9785A15BD}" destId="{BCAEF62C-2B92-4445-AEF0-05B432CBDEDE}" srcOrd="1" destOrd="0" presId="urn:microsoft.com/office/officeart/2009/3/layout/HorizontalOrganizationChart"/>
    <dgm:cxn modelId="{7A5AAA12-D2CE-43F1-B8EF-98656DE7EBDE}" type="presParOf" srcId="{B92978FC-A8E3-4BC5-983D-A951B513D496}" destId="{85D17B27-E6A5-4A40-B9C1-320A246A7E32}" srcOrd="1" destOrd="0" presId="urn:microsoft.com/office/officeart/2009/3/layout/HorizontalOrganizationChart"/>
    <dgm:cxn modelId="{F1E9E4F9-78A6-42E8-B570-4DAB2549CA24}" type="presParOf" srcId="{B92978FC-A8E3-4BC5-983D-A951B513D496}" destId="{009D29F9-C5F4-4601-953B-F2A1F0EC73B1}" srcOrd="2" destOrd="0" presId="urn:microsoft.com/office/officeart/2009/3/layout/HorizontalOrganizationChart"/>
    <dgm:cxn modelId="{379614FD-7BAD-4FF5-B45A-0F91817B4635}" type="presParOf" srcId="{0A91E4F6-AD54-49CF-9C53-9262E286DF5E}" destId="{4E1287EB-C0CC-4C9B-8503-F8372D7BE22A}" srcOrd="2" destOrd="0" presId="urn:microsoft.com/office/officeart/2009/3/layout/HorizontalOrganizationChart"/>
    <dgm:cxn modelId="{28902B3C-7AC7-44C7-A2C0-1652103DDF83}" type="presParOf" srcId="{0A91E4F6-AD54-49CF-9C53-9262E286DF5E}" destId="{30BCAA1C-BC25-46FB-975C-8FC930EF37D0}" srcOrd="3" destOrd="0" presId="urn:microsoft.com/office/officeart/2009/3/layout/HorizontalOrganizationChart"/>
    <dgm:cxn modelId="{787DEEA4-6EF7-45C0-906E-6EC1AFC6D7DA}" type="presParOf" srcId="{30BCAA1C-BC25-46FB-975C-8FC930EF37D0}" destId="{6641C33A-4F6C-4E1C-8D18-646008060B9F}" srcOrd="0" destOrd="0" presId="urn:microsoft.com/office/officeart/2009/3/layout/HorizontalOrganizationChart"/>
    <dgm:cxn modelId="{80D4E7DA-FC11-481E-B016-E8D455910CCA}" type="presParOf" srcId="{6641C33A-4F6C-4E1C-8D18-646008060B9F}" destId="{F8970BD3-839A-4C82-84BD-B0A41A6A9807}" srcOrd="0" destOrd="0" presId="urn:microsoft.com/office/officeart/2009/3/layout/HorizontalOrganizationChart"/>
    <dgm:cxn modelId="{4A84F124-55EE-4507-8A93-4FE308F64D1B}" type="presParOf" srcId="{6641C33A-4F6C-4E1C-8D18-646008060B9F}" destId="{240D1101-2E34-40E6-BD15-AE5CAEF83A68}" srcOrd="1" destOrd="0" presId="urn:microsoft.com/office/officeart/2009/3/layout/HorizontalOrganizationChart"/>
    <dgm:cxn modelId="{8F60F114-CE00-4D39-A890-478F832DCF52}" type="presParOf" srcId="{30BCAA1C-BC25-46FB-975C-8FC930EF37D0}" destId="{E0095A6F-32CE-4B3E-BA2B-7B435D2E0C1B}" srcOrd="1" destOrd="0" presId="urn:microsoft.com/office/officeart/2009/3/layout/HorizontalOrganizationChart"/>
    <dgm:cxn modelId="{F604783F-B22D-41DA-BC46-EA5CA0910368}" type="presParOf" srcId="{30BCAA1C-BC25-46FB-975C-8FC930EF37D0}" destId="{0B7ED1C2-376D-49B3-9285-F308DEBA2294}" srcOrd="2" destOrd="0" presId="urn:microsoft.com/office/officeart/2009/3/layout/HorizontalOrganizationChart"/>
    <dgm:cxn modelId="{D9E50B7F-37E9-A541-AC10-FC33CA870B40}" type="presParOf" srcId="{0A91E4F6-AD54-49CF-9C53-9262E286DF5E}" destId="{97D80550-4753-414D-9E2C-29E87CC202F1}" srcOrd="4" destOrd="0" presId="urn:microsoft.com/office/officeart/2009/3/layout/HorizontalOrganizationChart"/>
    <dgm:cxn modelId="{0A8C5D3A-4A2C-0C46-844A-4253898FDBBD}" type="presParOf" srcId="{0A91E4F6-AD54-49CF-9C53-9262E286DF5E}" destId="{AFBDD29A-F995-7942-816C-A971466B6455}" srcOrd="5" destOrd="0" presId="urn:microsoft.com/office/officeart/2009/3/layout/HorizontalOrganizationChart"/>
    <dgm:cxn modelId="{535CBBB2-91A8-5448-A113-EB481EB96411}" type="presParOf" srcId="{AFBDD29A-F995-7942-816C-A971466B6455}" destId="{B7B45292-BDF8-124E-BDB4-0352C7C47D67}" srcOrd="0" destOrd="0" presId="urn:microsoft.com/office/officeart/2009/3/layout/HorizontalOrganizationChart"/>
    <dgm:cxn modelId="{42F43251-624B-4445-B2D3-689B8C5860D7}" type="presParOf" srcId="{B7B45292-BDF8-124E-BDB4-0352C7C47D67}" destId="{C517AAD2-5580-C644-8C97-234B421E295B}" srcOrd="0" destOrd="0" presId="urn:microsoft.com/office/officeart/2009/3/layout/HorizontalOrganizationChart"/>
    <dgm:cxn modelId="{8E7F28CB-87AA-9440-AA2D-E46873466702}" type="presParOf" srcId="{B7B45292-BDF8-124E-BDB4-0352C7C47D67}" destId="{AE3B0388-2463-EF47-AFC2-5437291EF998}" srcOrd="1" destOrd="0" presId="urn:microsoft.com/office/officeart/2009/3/layout/HorizontalOrganizationChart"/>
    <dgm:cxn modelId="{D12C27B0-C126-DE46-B3E2-7A48DE61374A}" type="presParOf" srcId="{AFBDD29A-F995-7942-816C-A971466B6455}" destId="{1D002B0A-C78F-3E48-8C25-35AA92CAD96F}" srcOrd="1" destOrd="0" presId="urn:microsoft.com/office/officeart/2009/3/layout/HorizontalOrganizationChart"/>
    <dgm:cxn modelId="{825F1641-1B08-3D48-BBC1-FFB0AC6B9E4F}" type="presParOf" srcId="{AFBDD29A-F995-7942-816C-A971466B6455}" destId="{B0C7CB86-8280-C041-9FE8-BF2844EBC949}" srcOrd="2" destOrd="0" presId="urn:microsoft.com/office/officeart/2009/3/layout/HorizontalOrganizationChart"/>
    <dgm:cxn modelId="{3777CB0E-6951-496D-ABF3-8AE7E90A2F0F}" type="presParOf" srcId="{E18B88DC-BC5B-4269-8303-2816E8A33297}" destId="{3AA06DB7-3CF2-4B80-A567-B41E54DCF106}" srcOrd="2" destOrd="0" presId="urn:microsoft.com/office/officeart/2009/3/layout/HorizontalOrganizationChart"/>
    <dgm:cxn modelId="{66BEB029-6BBE-894F-AC08-16E06128AED3}" type="presParOf" srcId="{6DAD5AF5-2F6C-40CF-B4A4-4535DCB1DE5D}" destId="{23C114B1-B44D-274C-ACD6-335C344B8881}" srcOrd="2" destOrd="0" presId="urn:microsoft.com/office/officeart/2009/3/layout/HorizontalOrganizationChart"/>
    <dgm:cxn modelId="{FEEF7B8D-1EDD-2540-9416-6EAC069FE475}" type="presParOf" srcId="{23C114B1-B44D-274C-ACD6-335C344B8881}" destId="{3A5DF050-98B2-A44B-9D94-394A589761C7}" srcOrd="0" destOrd="0" presId="urn:microsoft.com/office/officeart/2009/3/layout/HorizontalOrganizationChart"/>
    <dgm:cxn modelId="{D1553FB0-C4DC-4D4F-A5A8-F7D246B928FD}" type="presParOf" srcId="{3A5DF050-98B2-A44B-9D94-394A589761C7}" destId="{3EA02441-E62E-C24E-A4DF-460F53CDBD20}" srcOrd="0" destOrd="0" presId="urn:microsoft.com/office/officeart/2009/3/layout/HorizontalOrganizationChart"/>
    <dgm:cxn modelId="{418FA2CA-E58B-314D-99DC-264F1B850378}" type="presParOf" srcId="{3A5DF050-98B2-A44B-9D94-394A589761C7}" destId="{03B6B337-FD0F-8F46-B2A3-A49AE23D70A9}" srcOrd="1" destOrd="0" presId="urn:microsoft.com/office/officeart/2009/3/layout/HorizontalOrganizationChart"/>
    <dgm:cxn modelId="{50D0E0B7-0FE0-7047-8E7A-8DB9DCFE92A3}" type="presParOf" srcId="{23C114B1-B44D-274C-ACD6-335C344B8881}" destId="{DE1717D0-2F56-2147-8E6D-2E4A6D170743}" srcOrd="1" destOrd="0" presId="urn:microsoft.com/office/officeart/2009/3/layout/HorizontalOrganizationChart"/>
    <dgm:cxn modelId="{F6024C63-812F-8C45-B1FD-0597965B651A}" type="presParOf" srcId="{23C114B1-B44D-274C-ACD6-335C344B8881}" destId="{369D3ECE-AB07-3143-A203-76E48C3520DF}" srcOrd="2" destOrd="0" presId="urn:microsoft.com/office/officeart/2009/3/layout/HorizontalOrganizationChart"/>
    <dgm:cxn modelId="{1A4C4011-44B0-4F45-86C6-BD6AFA0178CF}" type="presParOf" srcId="{6DAD5AF5-2F6C-40CF-B4A4-4535DCB1DE5D}" destId="{130F00FC-FAB4-FC48-8F3A-C00C60F773F6}" srcOrd="3" destOrd="0" presId="urn:microsoft.com/office/officeart/2009/3/layout/HorizontalOrganizationChart"/>
    <dgm:cxn modelId="{3070607D-DD41-1242-A6D3-37C1DD87B860}" type="presParOf" srcId="{130F00FC-FAB4-FC48-8F3A-C00C60F773F6}" destId="{CAC83379-269E-5741-8414-E5ED31DF00E5}" srcOrd="0" destOrd="0" presId="urn:microsoft.com/office/officeart/2009/3/layout/HorizontalOrganizationChart"/>
    <dgm:cxn modelId="{FD1C7F6C-38D4-2D4D-91C5-90F969F6BB64}" type="presParOf" srcId="{CAC83379-269E-5741-8414-E5ED31DF00E5}" destId="{A0471F14-CFB3-8449-8997-79C53AE48F72}" srcOrd="0" destOrd="0" presId="urn:microsoft.com/office/officeart/2009/3/layout/HorizontalOrganizationChart"/>
    <dgm:cxn modelId="{28398A17-AE25-9B4E-B8FA-453F275235A3}" type="presParOf" srcId="{CAC83379-269E-5741-8414-E5ED31DF00E5}" destId="{20E2811A-1241-1C43-8D08-396FBA25036F}" srcOrd="1" destOrd="0" presId="urn:microsoft.com/office/officeart/2009/3/layout/HorizontalOrganizationChart"/>
    <dgm:cxn modelId="{8BC4B408-F08D-1A4E-A4EE-E1EFB9E9E9F4}" type="presParOf" srcId="{130F00FC-FAB4-FC48-8F3A-C00C60F773F6}" destId="{EDCA2F9E-F17A-3E45-80B8-679DF2787438}" srcOrd="1" destOrd="0" presId="urn:microsoft.com/office/officeart/2009/3/layout/HorizontalOrganizationChart"/>
    <dgm:cxn modelId="{57E05CD6-E599-C645-8689-3E5CA0544D86}" type="presParOf" srcId="{130F00FC-FAB4-FC48-8F3A-C00C60F773F6}" destId="{81A7C4EA-C53A-3A4F-B2EC-E0CE77B8741F}" srcOrd="2" destOrd="0" presId="urn:microsoft.com/office/officeart/2009/3/layout/HorizontalOrganizationChart"/>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14FF3FB-789E-4041-BAA4-8A5D3EF74394}" type="doc">
      <dgm:prSet loTypeId="urn:microsoft.com/office/officeart/2009/3/layout/HorizontalOrganizationChart" loCatId="hierarchy" qsTypeId="urn:microsoft.com/office/officeart/2005/8/quickstyle/simple1" qsCatId="simple" csTypeId="urn:microsoft.com/office/officeart/2005/8/colors/accent1_2" csCatId="accent1" phldr="1"/>
      <dgm:spPr/>
      <dgm:t>
        <a:bodyPr/>
        <a:lstStyle/>
        <a:p>
          <a:endParaRPr lang="en-US"/>
        </a:p>
      </dgm:t>
    </dgm:pt>
    <dgm:pt modelId="{8A0FDD62-5ACB-4363-8100-7921DB27FED9}">
      <dgm:prSet phldrT="[Text]" custT="1"/>
      <dgm:spPr/>
      <dgm:t>
        <a:bodyPr/>
        <a:lstStyle/>
        <a:p>
          <a:r>
            <a:rPr lang="en-US" sz="1800" dirty="0"/>
            <a:t>Landfills</a:t>
          </a:r>
        </a:p>
      </dgm:t>
    </dgm:pt>
    <dgm:pt modelId="{2E0A18BD-4B57-45A2-B599-17A5236A0DBA}" type="parTrans" cxnId="{FFCB8E0E-83EF-4599-BF13-C986EE976DEB}">
      <dgm:prSet/>
      <dgm:spPr/>
      <dgm:t>
        <a:bodyPr/>
        <a:lstStyle/>
        <a:p>
          <a:endParaRPr lang="en-US" sz="2400"/>
        </a:p>
      </dgm:t>
    </dgm:pt>
    <dgm:pt modelId="{95404541-6FCE-499D-B544-6283CA283D12}" type="sibTrans" cxnId="{FFCB8E0E-83EF-4599-BF13-C986EE976DEB}">
      <dgm:prSet/>
      <dgm:spPr/>
      <dgm:t>
        <a:bodyPr/>
        <a:lstStyle/>
        <a:p>
          <a:endParaRPr lang="en-US" sz="2400"/>
        </a:p>
      </dgm:t>
    </dgm:pt>
    <dgm:pt modelId="{9C224AA8-5D6D-439F-A5FF-D80F3FA166E4}">
      <dgm:prSet phldrT="[Text]" custT="1"/>
      <dgm:spPr/>
      <dgm:t>
        <a:bodyPr/>
        <a:lstStyle/>
        <a:p>
          <a:r>
            <a:rPr lang="en-US" sz="1800"/>
            <a:t>Ash Monofill</a:t>
          </a:r>
        </a:p>
      </dgm:t>
    </dgm:pt>
    <dgm:pt modelId="{FE1183B8-299D-4DAE-9761-D4155ED0D626}" type="parTrans" cxnId="{E02BB2F0-87BB-483B-91A1-E7038189B78B}">
      <dgm:prSet/>
      <dgm:spPr/>
      <dgm:t>
        <a:bodyPr/>
        <a:lstStyle/>
        <a:p>
          <a:endParaRPr lang="en-US" sz="2400"/>
        </a:p>
      </dgm:t>
    </dgm:pt>
    <dgm:pt modelId="{46ECC135-E1CD-4BA3-940E-260EB4B089CC}" type="sibTrans" cxnId="{E02BB2F0-87BB-483B-91A1-E7038189B78B}">
      <dgm:prSet/>
      <dgm:spPr/>
      <dgm:t>
        <a:bodyPr/>
        <a:lstStyle/>
        <a:p>
          <a:endParaRPr lang="en-US" sz="2400"/>
        </a:p>
      </dgm:t>
    </dgm:pt>
    <dgm:pt modelId="{B487FD67-7267-482B-A536-C6D808E96D9C}">
      <dgm:prSet phldrT="[Text]" custT="1"/>
      <dgm:spPr>
        <a:solidFill>
          <a:srgbClr val="FDF69C"/>
        </a:solidFill>
      </dgm:spPr>
      <dgm:t>
        <a:bodyPr/>
        <a:lstStyle/>
        <a:p>
          <a:r>
            <a:rPr lang="en-US" sz="1800">
              <a:solidFill>
                <a:sysClr val="windowText" lastClr="000000"/>
              </a:solidFill>
            </a:rPr>
            <a:t>Class I</a:t>
          </a:r>
        </a:p>
      </dgm:t>
    </dgm:pt>
    <dgm:pt modelId="{445E6ECC-BB0F-4772-A31E-5A2DA500E851}" type="parTrans" cxnId="{ED4D9E10-416E-403E-ADBA-09BE16C63D8D}">
      <dgm:prSet/>
      <dgm:spPr/>
      <dgm:t>
        <a:bodyPr/>
        <a:lstStyle/>
        <a:p>
          <a:endParaRPr lang="en-US" sz="2400"/>
        </a:p>
      </dgm:t>
    </dgm:pt>
    <dgm:pt modelId="{4EA9E5A2-9B4B-4D3F-A6ED-250E73837D57}" type="sibTrans" cxnId="{ED4D9E10-416E-403E-ADBA-09BE16C63D8D}">
      <dgm:prSet/>
      <dgm:spPr/>
      <dgm:t>
        <a:bodyPr/>
        <a:lstStyle/>
        <a:p>
          <a:endParaRPr lang="en-US" sz="2400"/>
        </a:p>
      </dgm:t>
    </dgm:pt>
    <dgm:pt modelId="{500687D9-0065-48BF-95F4-F2E85DEA36C5}">
      <dgm:prSet phldrT="[Text]" custT="1"/>
      <dgm:spPr/>
      <dgm:t>
        <a:bodyPr/>
        <a:lstStyle/>
        <a:p>
          <a:r>
            <a:rPr lang="en-US" sz="1800"/>
            <a:t>Class III</a:t>
          </a:r>
        </a:p>
      </dgm:t>
    </dgm:pt>
    <dgm:pt modelId="{D412B182-939A-4C07-BDA5-CE5C07BC0B2D}" type="parTrans" cxnId="{0BF568F5-7425-40FA-80D4-6CBF2F552140}">
      <dgm:prSet/>
      <dgm:spPr/>
      <dgm:t>
        <a:bodyPr/>
        <a:lstStyle/>
        <a:p>
          <a:endParaRPr lang="en-US" sz="2400"/>
        </a:p>
      </dgm:t>
    </dgm:pt>
    <dgm:pt modelId="{39DE803B-29D9-4A2A-A870-BF905220132E}" type="sibTrans" cxnId="{0BF568F5-7425-40FA-80D4-6CBF2F552140}">
      <dgm:prSet/>
      <dgm:spPr/>
      <dgm:t>
        <a:bodyPr/>
        <a:lstStyle/>
        <a:p>
          <a:endParaRPr lang="en-US" sz="2400"/>
        </a:p>
      </dgm:t>
    </dgm:pt>
    <dgm:pt modelId="{11C854FB-4807-4191-A106-FCE0853A2737}">
      <dgm:prSet phldrT="[Text]" custT="1"/>
      <dgm:spPr/>
      <dgm:t>
        <a:bodyPr/>
        <a:lstStyle/>
        <a:p>
          <a:r>
            <a:rPr lang="en-US" sz="1800"/>
            <a:t>CDD</a:t>
          </a:r>
        </a:p>
      </dgm:t>
    </dgm:pt>
    <dgm:pt modelId="{3594EC1A-C28A-40E2-9BA9-E7D01DC610A7}" type="parTrans" cxnId="{17A8E6CF-3A06-437C-8D91-FCA2757CAFE6}">
      <dgm:prSet/>
      <dgm:spPr/>
      <dgm:t>
        <a:bodyPr/>
        <a:lstStyle/>
        <a:p>
          <a:endParaRPr lang="en-US" sz="2400"/>
        </a:p>
      </dgm:t>
    </dgm:pt>
    <dgm:pt modelId="{0B6FC9C1-497E-44B2-BA05-986DBD9831AA}" type="sibTrans" cxnId="{17A8E6CF-3A06-437C-8D91-FCA2757CAFE6}">
      <dgm:prSet/>
      <dgm:spPr/>
      <dgm:t>
        <a:bodyPr/>
        <a:lstStyle/>
        <a:p>
          <a:endParaRPr lang="en-US" sz="2400"/>
        </a:p>
      </dgm:t>
    </dgm:pt>
    <dgm:pt modelId="{D09E3D4F-1D7D-42D1-986A-2D072940B2CA}">
      <dgm:prSet phldrT="[Text]" custT="1"/>
      <dgm:spPr/>
      <dgm:t>
        <a:bodyPr/>
        <a:lstStyle/>
        <a:p>
          <a:r>
            <a:rPr lang="en-US" sz="1800"/>
            <a:t>Waste-to-Energy</a:t>
          </a:r>
        </a:p>
      </dgm:t>
    </dgm:pt>
    <dgm:pt modelId="{68ACF64D-A3E1-46BE-A0F8-EACFA27593B4}" type="parTrans" cxnId="{498BAEE2-7893-4D7B-95CC-F1C754C0CACB}">
      <dgm:prSet/>
      <dgm:spPr/>
      <dgm:t>
        <a:bodyPr/>
        <a:lstStyle/>
        <a:p>
          <a:endParaRPr lang="en-US" sz="2400"/>
        </a:p>
      </dgm:t>
    </dgm:pt>
    <dgm:pt modelId="{086D19BD-9679-4E1D-AB18-9C674F65C6F7}" type="sibTrans" cxnId="{498BAEE2-7893-4D7B-95CC-F1C754C0CACB}">
      <dgm:prSet/>
      <dgm:spPr/>
      <dgm:t>
        <a:bodyPr/>
        <a:lstStyle/>
        <a:p>
          <a:endParaRPr lang="en-US" sz="2400"/>
        </a:p>
      </dgm:t>
    </dgm:pt>
    <dgm:pt modelId="{6DAD5AF5-2F6C-40CF-B4A4-4535DCB1DE5D}" type="pres">
      <dgm:prSet presAssocID="{C14FF3FB-789E-4041-BAA4-8A5D3EF74394}" presName="hierChild1" presStyleCnt="0">
        <dgm:presLayoutVars>
          <dgm:orgChart val="1"/>
          <dgm:chPref val="1"/>
          <dgm:dir/>
          <dgm:animOne val="branch"/>
          <dgm:animLvl val="lvl"/>
          <dgm:resizeHandles/>
        </dgm:presLayoutVars>
      </dgm:prSet>
      <dgm:spPr/>
    </dgm:pt>
    <dgm:pt modelId="{9E669CAF-C666-4968-9C8A-A75CD735112E}" type="pres">
      <dgm:prSet presAssocID="{8A0FDD62-5ACB-4363-8100-7921DB27FED9}" presName="hierRoot1" presStyleCnt="0">
        <dgm:presLayoutVars>
          <dgm:hierBranch val="init"/>
        </dgm:presLayoutVars>
      </dgm:prSet>
      <dgm:spPr/>
    </dgm:pt>
    <dgm:pt modelId="{C9310B4B-0140-4156-88BB-BB8B405BA2F6}" type="pres">
      <dgm:prSet presAssocID="{8A0FDD62-5ACB-4363-8100-7921DB27FED9}" presName="rootComposite1" presStyleCnt="0"/>
      <dgm:spPr/>
    </dgm:pt>
    <dgm:pt modelId="{9243952B-3833-4F9A-A71B-0A59EE8FED19}" type="pres">
      <dgm:prSet presAssocID="{8A0FDD62-5ACB-4363-8100-7921DB27FED9}" presName="rootText1" presStyleLbl="node0" presStyleIdx="0" presStyleCnt="2">
        <dgm:presLayoutVars>
          <dgm:chPref val="3"/>
        </dgm:presLayoutVars>
      </dgm:prSet>
      <dgm:spPr/>
    </dgm:pt>
    <dgm:pt modelId="{4C951630-26BE-4FC2-B02A-6EABC31BCC02}" type="pres">
      <dgm:prSet presAssocID="{8A0FDD62-5ACB-4363-8100-7921DB27FED9}" presName="rootConnector1" presStyleLbl="node1" presStyleIdx="0" presStyleCnt="0"/>
      <dgm:spPr/>
    </dgm:pt>
    <dgm:pt modelId="{A9CBB20B-D2FF-462D-8365-7D562044133A}" type="pres">
      <dgm:prSet presAssocID="{8A0FDD62-5ACB-4363-8100-7921DB27FED9}" presName="hierChild2" presStyleCnt="0"/>
      <dgm:spPr/>
    </dgm:pt>
    <dgm:pt modelId="{C5E9805B-8734-43E5-87A9-3E4EDE6400A1}" type="pres">
      <dgm:prSet presAssocID="{FE1183B8-299D-4DAE-9761-D4155ED0D626}" presName="Name64" presStyleLbl="parChTrans1D2" presStyleIdx="0" presStyleCnt="4"/>
      <dgm:spPr/>
    </dgm:pt>
    <dgm:pt modelId="{59D565F5-CF79-4EC0-B001-75692E0C55A5}" type="pres">
      <dgm:prSet presAssocID="{9C224AA8-5D6D-439F-A5FF-D80F3FA166E4}" presName="hierRoot2" presStyleCnt="0">
        <dgm:presLayoutVars>
          <dgm:hierBranch val="init"/>
        </dgm:presLayoutVars>
      </dgm:prSet>
      <dgm:spPr/>
    </dgm:pt>
    <dgm:pt modelId="{FD1AFDEF-415B-41D7-A2B3-18097AE78CD0}" type="pres">
      <dgm:prSet presAssocID="{9C224AA8-5D6D-439F-A5FF-D80F3FA166E4}" presName="rootComposite" presStyleCnt="0"/>
      <dgm:spPr/>
    </dgm:pt>
    <dgm:pt modelId="{F6C5896B-E465-4949-89C8-FE4B715A7AA6}" type="pres">
      <dgm:prSet presAssocID="{9C224AA8-5D6D-439F-A5FF-D80F3FA166E4}" presName="rootText" presStyleLbl="node2" presStyleIdx="0" presStyleCnt="4">
        <dgm:presLayoutVars>
          <dgm:chPref val="3"/>
        </dgm:presLayoutVars>
      </dgm:prSet>
      <dgm:spPr/>
    </dgm:pt>
    <dgm:pt modelId="{E545B4FB-CAAE-4F67-8274-077F8989871C}" type="pres">
      <dgm:prSet presAssocID="{9C224AA8-5D6D-439F-A5FF-D80F3FA166E4}" presName="rootConnector" presStyleLbl="node2" presStyleIdx="0" presStyleCnt="4"/>
      <dgm:spPr/>
    </dgm:pt>
    <dgm:pt modelId="{12A0EF90-D8EB-4D76-A8C2-74FEB5F363FC}" type="pres">
      <dgm:prSet presAssocID="{9C224AA8-5D6D-439F-A5FF-D80F3FA166E4}" presName="hierChild4" presStyleCnt="0"/>
      <dgm:spPr/>
    </dgm:pt>
    <dgm:pt modelId="{945B86D7-60E4-41FF-9E22-41E01EACAF57}" type="pres">
      <dgm:prSet presAssocID="{9C224AA8-5D6D-439F-A5FF-D80F3FA166E4}" presName="hierChild5" presStyleCnt="0"/>
      <dgm:spPr/>
    </dgm:pt>
    <dgm:pt modelId="{072208BE-F468-4D92-91D9-C7A5020A5858}" type="pres">
      <dgm:prSet presAssocID="{445E6ECC-BB0F-4772-A31E-5A2DA500E851}" presName="Name64" presStyleLbl="parChTrans1D2" presStyleIdx="1" presStyleCnt="4"/>
      <dgm:spPr/>
    </dgm:pt>
    <dgm:pt modelId="{FE4E211E-805E-4926-9B50-E069108CDC74}" type="pres">
      <dgm:prSet presAssocID="{B487FD67-7267-482B-A536-C6D808E96D9C}" presName="hierRoot2" presStyleCnt="0">
        <dgm:presLayoutVars>
          <dgm:hierBranch val="init"/>
        </dgm:presLayoutVars>
      </dgm:prSet>
      <dgm:spPr/>
    </dgm:pt>
    <dgm:pt modelId="{05677B27-E7DD-4A6A-ACAA-B9350D6719BF}" type="pres">
      <dgm:prSet presAssocID="{B487FD67-7267-482B-A536-C6D808E96D9C}" presName="rootComposite" presStyleCnt="0"/>
      <dgm:spPr/>
    </dgm:pt>
    <dgm:pt modelId="{5F10370A-A9DD-44D6-A47F-F058C24F9C2F}" type="pres">
      <dgm:prSet presAssocID="{B487FD67-7267-482B-A536-C6D808E96D9C}" presName="rootText" presStyleLbl="node2" presStyleIdx="1" presStyleCnt="4">
        <dgm:presLayoutVars>
          <dgm:chPref val="3"/>
        </dgm:presLayoutVars>
      </dgm:prSet>
      <dgm:spPr/>
    </dgm:pt>
    <dgm:pt modelId="{A4C68761-9E3E-4D68-B6DB-BA502EBD0C16}" type="pres">
      <dgm:prSet presAssocID="{B487FD67-7267-482B-A536-C6D808E96D9C}" presName="rootConnector" presStyleLbl="node2" presStyleIdx="1" presStyleCnt="4"/>
      <dgm:spPr/>
    </dgm:pt>
    <dgm:pt modelId="{0C5EFA30-BCFC-439E-B1F2-B68DB79AC200}" type="pres">
      <dgm:prSet presAssocID="{B487FD67-7267-482B-A536-C6D808E96D9C}" presName="hierChild4" presStyleCnt="0"/>
      <dgm:spPr/>
    </dgm:pt>
    <dgm:pt modelId="{FE114DFA-BA97-40C0-9265-F7C1E69247D0}" type="pres">
      <dgm:prSet presAssocID="{B487FD67-7267-482B-A536-C6D808E96D9C}" presName="hierChild5" presStyleCnt="0"/>
      <dgm:spPr/>
    </dgm:pt>
    <dgm:pt modelId="{77BD919E-47EC-450F-A587-C259C150CD11}" type="pres">
      <dgm:prSet presAssocID="{D412B182-939A-4C07-BDA5-CE5C07BC0B2D}" presName="Name64" presStyleLbl="parChTrans1D2" presStyleIdx="2" presStyleCnt="4"/>
      <dgm:spPr/>
    </dgm:pt>
    <dgm:pt modelId="{A461B146-54EF-4F15-AA9B-3B2A6B85524B}" type="pres">
      <dgm:prSet presAssocID="{500687D9-0065-48BF-95F4-F2E85DEA36C5}" presName="hierRoot2" presStyleCnt="0">
        <dgm:presLayoutVars>
          <dgm:hierBranch val="init"/>
        </dgm:presLayoutVars>
      </dgm:prSet>
      <dgm:spPr/>
    </dgm:pt>
    <dgm:pt modelId="{48659850-4E23-4CE8-B3E4-25DB10213B00}" type="pres">
      <dgm:prSet presAssocID="{500687D9-0065-48BF-95F4-F2E85DEA36C5}" presName="rootComposite" presStyleCnt="0"/>
      <dgm:spPr/>
    </dgm:pt>
    <dgm:pt modelId="{69E3A919-74FB-480D-BB89-D9BE39E399E7}" type="pres">
      <dgm:prSet presAssocID="{500687D9-0065-48BF-95F4-F2E85DEA36C5}" presName="rootText" presStyleLbl="node2" presStyleIdx="2" presStyleCnt="4">
        <dgm:presLayoutVars>
          <dgm:chPref val="3"/>
        </dgm:presLayoutVars>
      </dgm:prSet>
      <dgm:spPr/>
    </dgm:pt>
    <dgm:pt modelId="{0240BFF0-FF4F-4C09-943F-D38D8171ED95}" type="pres">
      <dgm:prSet presAssocID="{500687D9-0065-48BF-95F4-F2E85DEA36C5}" presName="rootConnector" presStyleLbl="node2" presStyleIdx="2" presStyleCnt="4"/>
      <dgm:spPr/>
    </dgm:pt>
    <dgm:pt modelId="{0B9A7443-4860-4A0A-A343-BC94640D77DB}" type="pres">
      <dgm:prSet presAssocID="{500687D9-0065-48BF-95F4-F2E85DEA36C5}" presName="hierChild4" presStyleCnt="0"/>
      <dgm:spPr/>
    </dgm:pt>
    <dgm:pt modelId="{EE55C356-ECC5-49DC-82E3-FBD0AC214CCA}" type="pres">
      <dgm:prSet presAssocID="{500687D9-0065-48BF-95F4-F2E85DEA36C5}" presName="hierChild5" presStyleCnt="0"/>
      <dgm:spPr/>
    </dgm:pt>
    <dgm:pt modelId="{6B0F7A21-8A71-4319-AC2E-D81074B65CBC}" type="pres">
      <dgm:prSet presAssocID="{3594EC1A-C28A-40E2-9BA9-E7D01DC610A7}" presName="Name64" presStyleLbl="parChTrans1D2" presStyleIdx="3" presStyleCnt="4"/>
      <dgm:spPr/>
    </dgm:pt>
    <dgm:pt modelId="{9A318E4F-E2D8-4796-BA44-A1238E956757}" type="pres">
      <dgm:prSet presAssocID="{11C854FB-4807-4191-A106-FCE0853A2737}" presName="hierRoot2" presStyleCnt="0">
        <dgm:presLayoutVars>
          <dgm:hierBranch val="init"/>
        </dgm:presLayoutVars>
      </dgm:prSet>
      <dgm:spPr/>
    </dgm:pt>
    <dgm:pt modelId="{80AC5910-FBB1-45A9-ACC3-F8050A7CCCD1}" type="pres">
      <dgm:prSet presAssocID="{11C854FB-4807-4191-A106-FCE0853A2737}" presName="rootComposite" presStyleCnt="0"/>
      <dgm:spPr/>
    </dgm:pt>
    <dgm:pt modelId="{B3171B48-87B5-412F-8372-E3F8BFD01636}" type="pres">
      <dgm:prSet presAssocID="{11C854FB-4807-4191-A106-FCE0853A2737}" presName="rootText" presStyleLbl="node2" presStyleIdx="3" presStyleCnt="4">
        <dgm:presLayoutVars>
          <dgm:chPref val="3"/>
        </dgm:presLayoutVars>
      </dgm:prSet>
      <dgm:spPr/>
    </dgm:pt>
    <dgm:pt modelId="{0B06F98C-C427-494C-A0A1-C26D1053C203}" type="pres">
      <dgm:prSet presAssocID="{11C854FB-4807-4191-A106-FCE0853A2737}" presName="rootConnector" presStyleLbl="node2" presStyleIdx="3" presStyleCnt="4"/>
      <dgm:spPr/>
    </dgm:pt>
    <dgm:pt modelId="{6325D762-2604-42FB-A526-0F0EE7A46B07}" type="pres">
      <dgm:prSet presAssocID="{11C854FB-4807-4191-A106-FCE0853A2737}" presName="hierChild4" presStyleCnt="0"/>
      <dgm:spPr/>
    </dgm:pt>
    <dgm:pt modelId="{335F8B26-6C68-450B-9CDE-CF305CB6D2F4}" type="pres">
      <dgm:prSet presAssocID="{11C854FB-4807-4191-A106-FCE0853A2737}" presName="hierChild5" presStyleCnt="0"/>
      <dgm:spPr/>
    </dgm:pt>
    <dgm:pt modelId="{BB1C3144-AF76-4C1A-AC16-5745FE3D6FF4}" type="pres">
      <dgm:prSet presAssocID="{8A0FDD62-5ACB-4363-8100-7921DB27FED9}" presName="hierChild3" presStyleCnt="0"/>
      <dgm:spPr/>
    </dgm:pt>
    <dgm:pt modelId="{E18B88DC-BC5B-4269-8303-2816E8A33297}" type="pres">
      <dgm:prSet presAssocID="{D09E3D4F-1D7D-42D1-986A-2D072940B2CA}" presName="hierRoot1" presStyleCnt="0">
        <dgm:presLayoutVars>
          <dgm:hierBranch val="init"/>
        </dgm:presLayoutVars>
      </dgm:prSet>
      <dgm:spPr/>
    </dgm:pt>
    <dgm:pt modelId="{7E1EFAEC-C6C5-4489-9136-BD7B0956B289}" type="pres">
      <dgm:prSet presAssocID="{D09E3D4F-1D7D-42D1-986A-2D072940B2CA}" presName="rootComposite1" presStyleCnt="0"/>
      <dgm:spPr/>
    </dgm:pt>
    <dgm:pt modelId="{8F43BE6E-166A-4736-B495-0F0C5F9C5A94}" type="pres">
      <dgm:prSet presAssocID="{D09E3D4F-1D7D-42D1-986A-2D072940B2CA}" presName="rootText1" presStyleLbl="node0" presStyleIdx="1" presStyleCnt="2" custScaleX="220215">
        <dgm:presLayoutVars>
          <dgm:chPref val="3"/>
        </dgm:presLayoutVars>
      </dgm:prSet>
      <dgm:spPr/>
    </dgm:pt>
    <dgm:pt modelId="{65E7425D-55D2-4A95-85AE-4170C0981629}" type="pres">
      <dgm:prSet presAssocID="{D09E3D4F-1D7D-42D1-986A-2D072940B2CA}" presName="rootConnector1" presStyleLbl="node1" presStyleIdx="0" presStyleCnt="0"/>
      <dgm:spPr/>
    </dgm:pt>
    <dgm:pt modelId="{0A91E4F6-AD54-49CF-9C53-9262E286DF5E}" type="pres">
      <dgm:prSet presAssocID="{D09E3D4F-1D7D-42D1-986A-2D072940B2CA}" presName="hierChild2" presStyleCnt="0"/>
      <dgm:spPr/>
    </dgm:pt>
    <dgm:pt modelId="{3AA06DB7-3CF2-4B80-A567-B41E54DCF106}" type="pres">
      <dgm:prSet presAssocID="{D09E3D4F-1D7D-42D1-986A-2D072940B2CA}" presName="hierChild3" presStyleCnt="0"/>
      <dgm:spPr/>
    </dgm:pt>
  </dgm:ptLst>
  <dgm:cxnLst>
    <dgm:cxn modelId="{64557A04-F32A-4FDF-8F5A-BE8516AA6E01}" type="presOf" srcId="{3594EC1A-C28A-40E2-9BA9-E7D01DC610A7}" destId="{6B0F7A21-8A71-4319-AC2E-D81074B65CBC}" srcOrd="0" destOrd="0" presId="urn:microsoft.com/office/officeart/2009/3/layout/HorizontalOrganizationChart"/>
    <dgm:cxn modelId="{FFCB8E0E-83EF-4599-BF13-C986EE976DEB}" srcId="{C14FF3FB-789E-4041-BAA4-8A5D3EF74394}" destId="{8A0FDD62-5ACB-4363-8100-7921DB27FED9}" srcOrd="0" destOrd="0" parTransId="{2E0A18BD-4B57-45A2-B599-17A5236A0DBA}" sibTransId="{95404541-6FCE-499D-B544-6283CA283D12}"/>
    <dgm:cxn modelId="{ED4D9E10-416E-403E-ADBA-09BE16C63D8D}" srcId="{8A0FDD62-5ACB-4363-8100-7921DB27FED9}" destId="{B487FD67-7267-482B-A536-C6D808E96D9C}" srcOrd="1" destOrd="0" parTransId="{445E6ECC-BB0F-4772-A31E-5A2DA500E851}" sibTransId="{4EA9E5A2-9B4B-4D3F-A6ED-250E73837D57}"/>
    <dgm:cxn modelId="{634DAF19-D7E1-4A13-AAE1-0DE3F1B14538}" type="presOf" srcId="{11C854FB-4807-4191-A106-FCE0853A2737}" destId="{B3171B48-87B5-412F-8372-E3F8BFD01636}" srcOrd="0" destOrd="0" presId="urn:microsoft.com/office/officeart/2009/3/layout/HorizontalOrganizationChart"/>
    <dgm:cxn modelId="{E8A0B528-C4D8-4C91-A789-0A0697D95969}" type="presOf" srcId="{11C854FB-4807-4191-A106-FCE0853A2737}" destId="{0B06F98C-C427-494C-A0A1-C26D1053C203}" srcOrd="1" destOrd="0" presId="urn:microsoft.com/office/officeart/2009/3/layout/HorizontalOrganizationChart"/>
    <dgm:cxn modelId="{F4ABB83C-24C7-4711-A232-B64194FD2448}" type="presOf" srcId="{FE1183B8-299D-4DAE-9761-D4155ED0D626}" destId="{C5E9805B-8734-43E5-87A9-3E4EDE6400A1}" srcOrd="0" destOrd="0" presId="urn:microsoft.com/office/officeart/2009/3/layout/HorizontalOrganizationChart"/>
    <dgm:cxn modelId="{27204B5F-1CC0-471D-A850-D419F147704F}" type="presOf" srcId="{D412B182-939A-4C07-BDA5-CE5C07BC0B2D}" destId="{77BD919E-47EC-450F-A587-C259C150CD11}" srcOrd="0" destOrd="0" presId="urn:microsoft.com/office/officeart/2009/3/layout/HorizontalOrganizationChart"/>
    <dgm:cxn modelId="{500DA64C-B97D-468B-8458-53084E7E3F40}" type="presOf" srcId="{500687D9-0065-48BF-95F4-F2E85DEA36C5}" destId="{0240BFF0-FF4F-4C09-943F-D38D8171ED95}" srcOrd="1" destOrd="0" presId="urn:microsoft.com/office/officeart/2009/3/layout/HorizontalOrganizationChart"/>
    <dgm:cxn modelId="{418DDD72-5F93-4278-B9A7-B366FC5F831B}" type="presOf" srcId="{D09E3D4F-1D7D-42D1-986A-2D072940B2CA}" destId="{65E7425D-55D2-4A95-85AE-4170C0981629}" srcOrd="1" destOrd="0" presId="urn:microsoft.com/office/officeart/2009/3/layout/HorizontalOrganizationChart"/>
    <dgm:cxn modelId="{37169C73-803B-4B53-8056-7D86DF425149}" type="presOf" srcId="{D09E3D4F-1D7D-42D1-986A-2D072940B2CA}" destId="{8F43BE6E-166A-4736-B495-0F0C5F9C5A94}" srcOrd="0" destOrd="0" presId="urn:microsoft.com/office/officeart/2009/3/layout/HorizontalOrganizationChart"/>
    <dgm:cxn modelId="{80630C54-088D-44D6-B58F-EEFCC41260FB}" type="presOf" srcId="{B487FD67-7267-482B-A536-C6D808E96D9C}" destId="{A4C68761-9E3E-4D68-B6DB-BA502EBD0C16}" srcOrd="1" destOrd="0" presId="urn:microsoft.com/office/officeart/2009/3/layout/HorizontalOrganizationChart"/>
    <dgm:cxn modelId="{DAB9C179-CF84-4B9B-A240-A23B5E2EABF7}" type="presOf" srcId="{9C224AA8-5D6D-439F-A5FF-D80F3FA166E4}" destId="{E545B4FB-CAAE-4F67-8274-077F8989871C}" srcOrd="1" destOrd="0" presId="urn:microsoft.com/office/officeart/2009/3/layout/HorizontalOrganizationChart"/>
    <dgm:cxn modelId="{3A4A7F7C-3773-44AD-831D-2EEC340A03E6}" type="presOf" srcId="{C14FF3FB-789E-4041-BAA4-8A5D3EF74394}" destId="{6DAD5AF5-2F6C-40CF-B4A4-4535DCB1DE5D}" srcOrd="0" destOrd="0" presId="urn:microsoft.com/office/officeart/2009/3/layout/HorizontalOrganizationChart"/>
    <dgm:cxn modelId="{B5728EA7-77BF-4A44-8D43-F6E7F6B898D8}" type="presOf" srcId="{500687D9-0065-48BF-95F4-F2E85DEA36C5}" destId="{69E3A919-74FB-480D-BB89-D9BE39E399E7}" srcOrd="0" destOrd="0" presId="urn:microsoft.com/office/officeart/2009/3/layout/HorizontalOrganizationChart"/>
    <dgm:cxn modelId="{2AB946AA-81B9-471D-9447-2C92C3DA6716}" type="presOf" srcId="{8A0FDD62-5ACB-4363-8100-7921DB27FED9}" destId="{4C951630-26BE-4FC2-B02A-6EABC31BCC02}" srcOrd="1" destOrd="0" presId="urn:microsoft.com/office/officeart/2009/3/layout/HorizontalOrganizationChart"/>
    <dgm:cxn modelId="{9CB71FB1-4091-4499-A694-E01ECE5458BA}" type="presOf" srcId="{8A0FDD62-5ACB-4363-8100-7921DB27FED9}" destId="{9243952B-3833-4F9A-A71B-0A59EE8FED19}" srcOrd="0" destOrd="0" presId="urn:microsoft.com/office/officeart/2009/3/layout/HorizontalOrganizationChart"/>
    <dgm:cxn modelId="{CD1619B7-958E-47B2-80DA-28F385F85BF6}" type="presOf" srcId="{B487FD67-7267-482B-A536-C6D808E96D9C}" destId="{5F10370A-A9DD-44D6-A47F-F058C24F9C2F}" srcOrd="0" destOrd="0" presId="urn:microsoft.com/office/officeart/2009/3/layout/HorizontalOrganizationChart"/>
    <dgm:cxn modelId="{17A8E6CF-3A06-437C-8D91-FCA2757CAFE6}" srcId="{8A0FDD62-5ACB-4363-8100-7921DB27FED9}" destId="{11C854FB-4807-4191-A106-FCE0853A2737}" srcOrd="3" destOrd="0" parTransId="{3594EC1A-C28A-40E2-9BA9-E7D01DC610A7}" sibTransId="{0B6FC9C1-497E-44B2-BA05-986DBD9831AA}"/>
    <dgm:cxn modelId="{471993E1-B340-4A72-921B-81101BD0227A}" type="presOf" srcId="{9C224AA8-5D6D-439F-A5FF-D80F3FA166E4}" destId="{F6C5896B-E465-4949-89C8-FE4B715A7AA6}" srcOrd="0" destOrd="0" presId="urn:microsoft.com/office/officeart/2009/3/layout/HorizontalOrganizationChart"/>
    <dgm:cxn modelId="{498BAEE2-7893-4D7B-95CC-F1C754C0CACB}" srcId="{C14FF3FB-789E-4041-BAA4-8A5D3EF74394}" destId="{D09E3D4F-1D7D-42D1-986A-2D072940B2CA}" srcOrd="1" destOrd="0" parTransId="{68ACF64D-A3E1-46BE-A0F8-EACFA27593B4}" sibTransId="{086D19BD-9679-4E1D-AB18-9C674F65C6F7}"/>
    <dgm:cxn modelId="{D1621CEF-9F93-4C79-B39F-CBA1E394B3B0}" type="presOf" srcId="{445E6ECC-BB0F-4772-A31E-5A2DA500E851}" destId="{072208BE-F468-4D92-91D9-C7A5020A5858}" srcOrd="0" destOrd="0" presId="urn:microsoft.com/office/officeart/2009/3/layout/HorizontalOrganizationChart"/>
    <dgm:cxn modelId="{E02BB2F0-87BB-483B-91A1-E7038189B78B}" srcId="{8A0FDD62-5ACB-4363-8100-7921DB27FED9}" destId="{9C224AA8-5D6D-439F-A5FF-D80F3FA166E4}" srcOrd="0" destOrd="0" parTransId="{FE1183B8-299D-4DAE-9761-D4155ED0D626}" sibTransId="{46ECC135-E1CD-4BA3-940E-260EB4B089CC}"/>
    <dgm:cxn modelId="{0BF568F5-7425-40FA-80D4-6CBF2F552140}" srcId="{8A0FDD62-5ACB-4363-8100-7921DB27FED9}" destId="{500687D9-0065-48BF-95F4-F2E85DEA36C5}" srcOrd="2" destOrd="0" parTransId="{D412B182-939A-4C07-BDA5-CE5C07BC0B2D}" sibTransId="{39DE803B-29D9-4A2A-A870-BF905220132E}"/>
    <dgm:cxn modelId="{1BBA2148-F184-41BE-A4AA-FF4AE6E11402}" type="presParOf" srcId="{6DAD5AF5-2F6C-40CF-B4A4-4535DCB1DE5D}" destId="{9E669CAF-C666-4968-9C8A-A75CD735112E}" srcOrd="0" destOrd="0" presId="urn:microsoft.com/office/officeart/2009/3/layout/HorizontalOrganizationChart"/>
    <dgm:cxn modelId="{CD4A52A8-BB30-46B1-A09C-FA3E5962EAC3}" type="presParOf" srcId="{9E669CAF-C666-4968-9C8A-A75CD735112E}" destId="{C9310B4B-0140-4156-88BB-BB8B405BA2F6}" srcOrd="0" destOrd="0" presId="urn:microsoft.com/office/officeart/2009/3/layout/HorizontalOrganizationChart"/>
    <dgm:cxn modelId="{00FEEC05-1D06-4F50-9D37-E227647C0275}" type="presParOf" srcId="{C9310B4B-0140-4156-88BB-BB8B405BA2F6}" destId="{9243952B-3833-4F9A-A71B-0A59EE8FED19}" srcOrd="0" destOrd="0" presId="urn:microsoft.com/office/officeart/2009/3/layout/HorizontalOrganizationChart"/>
    <dgm:cxn modelId="{61330E62-BE84-4CF8-B87D-76F69F8989F7}" type="presParOf" srcId="{C9310B4B-0140-4156-88BB-BB8B405BA2F6}" destId="{4C951630-26BE-4FC2-B02A-6EABC31BCC02}" srcOrd="1" destOrd="0" presId="urn:microsoft.com/office/officeart/2009/3/layout/HorizontalOrganizationChart"/>
    <dgm:cxn modelId="{2CE91F4A-E069-4DC6-AEE5-7A68566C91BE}" type="presParOf" srcId="{9E669CAF-C666-4968-9C8A-A75CD735112E}" destId="{A9CBB20B-D2FF-462D-8365-7D562044133A}" srcOrd="1" destOrd="0" presId="urn:microsoft.com/office/officeart/2009/3/layout/HorizontalOrganizationChart"/>
    <dgm:cxn modelId="{38FD33C2-E9ED-421A-AB97-66306F9C9EA4}" type="presParOf" srcId="{A9CBB20B-D2FF-462D-8365-7D562044133A}" destId="{C5E9805B-8734-43E5-87A9-3E4EDE6400A1}" srcOrd="0" destOrd="0" presId="urn:microsoft.com/office/officeart/2009/3/layout/HorizontalOrganizationChart"/>
    <dgm:cxn modelId="{AB331918-CE8E-4BD5-8F39-5A78E4F37DF3}" type="presParOf" srcId="{A9CBB20B-D2FF-462D-8365-7D562044133A}" destId="{59D565F5-CF79-4EC0-B001-75692E0C55A5}" srcOrd="1" destOrd="0" presId="urn:microsoft.com/office/officeart/2009/3/layout/HorizontalOrganizationChart"/>
    <dgm:cxn modelId="{C0A68D2F-44EF-4A10-AB34-46A774F23A22}" type="presParOf" srcId="{59D565F5-CF79-4EC0-B001-75692E0C55A5}" destId="{FD1AFDEF-415B-41D7-A2B3-18097AE78CD0}" srcOrd="0" destOrd="0" presId="urn:microsoft.com/office/officeart/2009/3/layout/HorizontalOrganizationChart"/>
    <dgm:cxn modelId="{C91D4CE7-12AC-4F90-9AFD-D0BE248578DB}" type="presParOf" srcId="{FD1AFDEF-415B-41D7-A2B3-18097AE78CD0}" destId="{F6C5896B-E465-4949-89C8-FE4B715A7AA6}" srcOrd="0" destOrd="0" presId="urn:microsoft.com/office/officeart/2009/3/layout/HorizontalOrganizationChart"/>
    <dgm:cxn modelId="{7D5BFA1F-51B3-46A7-B782-3C218484186E}" type="presParOf" srcId="{FD1AFDEF-415B-41D7-A2B3-18097AE78CD0}" destId="{E545B4FB-CAAE-4F67-8274-077F8989871C}" srcOrd="1" destOrd="0" presId="urn:microsoft.com/office/officeart/2009/3/layout/HorizontalOrganizationChart"/>
    <dgm:cxn modelId="{2DDC45EE-5C4F-471D-B9E6-165EED17ADD7}" type="presParOf" srcId="{59D565F5-CF79-4EC0-B001-75692E0C55A5}" destId="{12A0EF90-D8EB-4D76-A8C2-74FEB5F363FC}" srcOrd="1" destOrd="0" presId="urn:microsoft.com/office/officeart/2009/3/layout/HorizontalOrganizationChart"/>
    <dgm:cxn modelId="{DF3D3A8F-F7E9-4699-A141-CF0E8EA8347E}" type="presParOf" srcId="{59D565F5-CF79-4EC0-B001-75692E0C55A5}" destId="{945B86D7-60E4-41FF-9E22-41E01EACAF57}" srcOrd="2" destOrd="0" presId="urn:microsoft.com/office/officeart/2009/3/layout/HorizontalOrganizationChart"/>
    <dgm:cxn modelId="{41B646CF-43D0-49A0-90B8-A4F42031BB89}" type="presParOf" srcId="{A9CBB20B-D2FF-462D-8365-7D562044133A}" destId="{072208BE-F468-4D92-91D9-C7A5020A5858}" srcOrd="2" destOrd="0" presId="urn:microsoft.com/office/officeart/2009/3/layout/HorizontalOrganizationChart"/>
    <dgm:cxn modelId="{A525406A-0F7B-4113-BEE8-B56386FF1682}" type="presParOf" srcId="{A9CBB20B-D2FF-462D-8365-7D562044133A}" destId="{FE4E211E-805E-4926-9B50-E069108CDC74}" srcOrd="3" destOrd="0" presId="urn:microsoft.com/office/officeart/2009/3/layout/HorizontalOrganizationChart"/>
    <dgm:cxn modelId="{5637D8A9-C7D1-432E-98EE-DF47A1B8E581}" type="presParOf" srcId="{FE4E211E-805E-4926-9B50-E069108CDC74}" destId="{05677B27-E7DD-4A6A-ACAA-B9350D6719BF}" srcOrd="0" destOrd="0" presId="urn:microsoft.com/office/officeart/2009/3/layout/HorizontalOrganizationChart"/>
    <dgm:cxn modelId="{4A5E9A7E-9FD9-4D5B-AB44-6F1DD2825AA4}" type="presParOf" srcId="{05677B27-E7DD-4A6A-ACAA-B9350D6719BF}" destId="{5F10370A-A9DD-44D6-A47F-F058C24F9C2F}" srcOrd="0" destOrd="0" presId="urn:microsoft.com/office/officeart/2009/3/layout/HorizontalOrganizationChart"/>
    <dgm:cxn modelId="{F57B5992-1D67-429B-BF9B-6D8B841EF545}" type="presParOf" srcId="{05677B27-E7DD-4A6A-ACAA-B9350D6719BF}" destId="{A4C68761-9E3E-4D68-B6DB-BA502EBD0C16}" srcOrd="1" destOrd="0" presId="urn:microsoft.com/office/officeart/2009/3/layout/HorizontalOrganizationChart"/>
    <dgm:cxn modelId="{66B15C5B-023A-43A1-8EB0-F8A6B75F74D8}" type="presParOf" srcId="{FE4E211E-805E-4926-9B50-E069108CDC74}" destId="{0C5EFA30-BCFC-439E-B1F2-B68DB79AC200}" srcOrd="1" destOrd="0" presId="urn:microsoft.com/office/officeart/2009/3/layout/HorizontalOrganizationChart"/>
    <dgm:cxn modelId="{B947C541-9009-4D98-9547-EE14F5D16A10}" type="presParOf" srcId="{FE4E211E-805E-4926-9B50-E069108CDC74}" destId="{FE114DFA-BA97-40C0-9265-F7C1E69247D0}" srcOrd="2" destOrd="0" presId="urn:microsoft.com/office/officeart/2009/3/layout/HorizontalOrganizationChart"/>
    <dgm:cxn modelId="{883BE747-5EEB-4CB5-BE31-553541FA473A}" type="presParOf" srcId="{A9CBB20B-D2FF-462D-8365-7D562044133A}" destId="{77BD919E-47EC-450F-A587-C259C150CD11}" srcOrd="4" destOrd="0" presId="urn:microsoft.com/office/officeart/2009/3/layout/HorizontalOrganizationChart"/>
    <dgm:cxn modelId="{2D9EC5A3-2D8B-4BE9-9EF4-930B6B75C677}" type="presParOf" srcId="{A9CBB20B-D2FF-462D-8365-7D562044133A}" destId="{A461B146-54EF-4F15-AA9B-3B2A6B85524B}" srcOrd="5" destOrd="0" presId="urn:microsoft.com/office/officeart/2009/3/layout/HorizontalOrganizationChart"/>
    <dgm:cxn modelId="{99CF503B-EF2E-4958-B5CF-5B8059B0AFF9}" type="presParOf" srcId="{A461B146-54EF-4F15-AA9B-3B2A6B85524B}" destId="{48659850-4E23-4CE8-B3E4-25DB10213B00}" srcOrd="0" destOrd="0" presId="urn:microsoft.com/office/officeart/2009/3/layout/HorizontalOrganizationChart"/>
    <dgm:cxn modelId="{09A0D2CE-E99C-4000-A62A-939A19CB1956}" type="presParOf" srcId="{48659850-4E23-4CE8-B3E4-25DB10213B00}" destId="{69E3A919-74FB-480D-BB89-D9BE39E399E7}" srcOrd="0" destOrd="0" presId="urn:microsoft.com/office/officeart/2009/3/layout/HorizontalOrganizationChart"/>
    <dgm:cxn modelId="{983D0D3C-0BB9-4D1F-AF50-69B826F86D59}" type="presParOf" srcId="{48659850-4E23-4CE8-B3E4-25DB10213B00}" destId="{0240BFF0-FF4F-4C09-943F-D38D8171ED95}" srcOrd="1" destOrd="0" presId="urn:microsoft.com/office/officeart/2009/3/layout/HorizontalOrganizationChart"/>
    <dgm:cxn modelId="{EAA1FA69-59EA-452A-9A14-543F218D4AAD}" type="presParOf" srcId="{A461B146-54EF-4F15-AA9B-3B2A6B85524B}" destId="{0B9A7443-4860-4A0A-A343-BC94640D77DB}" srcOrd="1" destOrd="0" presId="urn:microsoft.com/office/officeart/2009/3/layout/HorizontalOrganizationChart"/>
    <dgm:cxn modelId="{61D964A9-B53E-4B0B-A159-747F1F3508E5}" type="presParOf" srcId="{A461B146-54EF-4F15-AA9B-3B2A6B85524B}" destId="{EE55C356-ECC5-49DC-82E3-FBD0AC214CCA}" srcOrd="2" destOrd="0" presId="urn:microsoft.com/office/officeart/2009/3/layout/HorizontalOrganizationChart"/>
    <dgm:cxn modelId="{5608B8D6-A8F3-4E76-B41E-395586BFE99F}" type="presParOf" srcId="{A9CBB20B-D2FF-462D-8365-7D562044133A}" destId="{6B0F7A21-8A71-4319-AC2E-D81074B65CBC}" srcOrd="6" destOrd="0" presId="urn:microsoft.com/office/officeart/2009/3/layout/HorizontalOrganizationChart"/>
    <dgm:cxn modelId="{C84EB760-A297-40B1-855F-17038CB88F54}" type="presParOf" srcId="{A9CBB20B-D2FF-462D-8365-7D562044133A}" destId="{9A318E4F-E2D8-4796-BA44-A1238E956757}" srcOrd="7" destOrd="0" presId="urn:microsoft.com/office/officeart/2009/3/layout/HorizontalOrganizationChart"/>
    <dgm:cxn modelId="{108DC13D-B7B4-4DB8-9A37-304BD9FD15FE}" type="presParOf" srcId="{9A318E4F-E2D8-4796-BA44-A1238E956757}" destId="{80AC5910-FBB1-45A9-ACC3-F8050A7CCCD1}" srcOrd="0" destOrd="0" presId="urn:microsoft.com/office/officeart/2009/3/layout/HorizontalOrganizationChart"/>
    <dgm:cxn modelId="{9379DFA1-2ACB-4931-A5A3-0041775C2394}" type="presParOf" srcId="{80AC5910-FBB1-45A9-ACC3-F8050A7CCCD1}" destId="{B3171B48-87B5-412F-8372-E3F8BFD01636}" srcOrd="0" destOrd="0" presId="urn:microsoft.com/office/officeart/2009/3/layout/HorizontalOrganizationChart"/>
    <dgm:cxn modelId="{B8D12E00-A2B2-47FC-819B-72511051FC14}" type="presParOf" srcId="{80AC5910-FBB1-45A9-ACC3-F8050A7CCCD1}" destId="{0B06F98C-C427-494C-A0A1-C26D1053C203}" srcOrd="1" destOrd="0" presId="urn:microsoft.com/office/officeart/2009/3/layout/HorizontalOrganizationChart"/>
    <dgm:cxn modelId="{CBD3CA40-F1B2-48B9-B1F2-D73874ED0A11}" type="presParOf" srcId="{9A318E4F-E2D8-4796-BA44-A1238E956757}" destId="{6325D762-2604-42FB-A526-0F0EE7A46B07}" srcOrd="1" destOrd="0" presId="urn:microsoft.com/office/officeart/2009/3/layout/HorizontalOrganizationChart"/>
    <dgm:cxn modelId="{9138CD50-545A-4C75-8CEE-81298912B487}" type="presParOf" srcId="{9A318E4F-E2D8-4796-BA44-A1238E956757}" destId="{335F8B26-6C68-450B-9CDE-CF305CB6D2F4}" srcOrd="2" destOrd="0" presId="urn:microsoft.com/office/officeart/2009/3/layout/HorizontalOrganizationChart"/>
    <dgm:cxn modelId="{2EEB8B91-47BD-4CBB-BF41-68D9D0249310}" type="presParOf" srcId="{9E669CAF-C666-4968-9C8A-A75CD735112E}" destId="{BB1C3144-AF76-4C1A-AC16-5745FE3D6FF4}" srcOrd="2" destOrd="0" presId="urn:microsoft.com/office/officeart/2009/3/layout/HorizontalOrganizationChart"/>
    <dgm:cxn modelId="{955AEF40-4F3F-4537-AF01-8943C55F9F46}" type="presParOf" srcId="{6DAD5AF5-2F6C-40CF-B4A4-4535DCB1DE5D}" destId="{E18B88DC-BC5B-4269-8303-2816E8A33297}" srcOrd="1" destOrd="0" presId="urn:microsoft.com/office/officeart/2009/3/layout/HorizontalOrganizationChart"/>
    <dgm:cxn modelId="{E2C7FD41-5A95-4129-949B-E52C827BCFEE}" type="presParOf" srcId="{E18B88DC-BC5B-4269-8303-2816E8A33297}" destId="{7E1EFAEC-C6C5-4489-9136-BD7B0956B289}" srcOrd="0" destOrd="0" presId="urn:microsoft.com/office/officeart/2009/3/layout/HorizontalOrganizationChart"/>
    <dgm:cxn modelId="{BEDF551C-3DAF-4BD3-8D74-32D5C90B7E44}" type="presParOf" srcId="{7E1EFAEC-C6C5-4489-9136-BD7B0956B289}" destId="{8F43BE6E-166A-4736-B495-0F0C5F9C5A94}" srcOrd="0" destOrd="0" presId="urn:microsoft.com/office/officeart/2009/3/layout/HorizontalOrganizationChart"/>
    <dgm:cxn modelId="{3AF3451C-B360-45D9-87AD-F22BD0B2F8A0}" type="presParOf" srcId="{7E1EFAEC-C6C5-4489-9136-BD7B0956B289}" destId="{65E7425D-55D2-4A95-85AE-4170C0981629}" srcOrd="1" destOrd="0" presId="urn:microsoft.com/office/officeart/2009/3/layout/HorizontalOrganizationChart"/>
    <dgm:cxn modelId="{84F8506D-BB3A-45DD-A804-FF6EF4A34DF4}" type="presParOf" srcId="{E18B88DC-BC5B-4269-8303-2816E8A33297}" destId="{0A91E4F6-AD54-49CF-9C53-9262E286DF5E}" srcOrd="1" destOrd="0" presId="urn:microsoft.com/office/officeart/2009/3/layout/HorizontalOrganizationChart"/>
    <dgm:cxn modelId="{3777CB0E-6951-496D-ABF3-8AE7E90A2F0F}" type="presParOf" srcId="{E18B88DC-BC5B-4269-8303-2816E8A33297}" destId="{3AA06DB7-3CF2-4B80-A567-B41E54DCF106}" srcOrd="2" destOrd="0" presId="urn:microsoft.com/office/officeart/2009/3/layout/HorizontalOrganizationChart"/>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14FF3FB-789E-4041-BAA4-8A5D3EF74394}" type="doc">
      <dgm:prSet loTypeId="urn:microsoft.com/office/officeart/2009/3/layout/HorizontalOrganizationChart" loCatId="hierarchy" qsTypeId="urn:microsoft.com/office/officeart/2005/8/quickstyle/simple1" qsCatId="simple" csTypeId="urn:microsoft.com/office/officeart/2005/8/colors/accent1_2" csCatId="accent1" phldr="1"/>
      <dgm:spPr/>
      <dgm:t>
        <a:bodyPr/>
        <a:lstStyle/>
        <a:p>
          <a:endParaRPr lang="en-US"/>
        </a:p>
      </dgm:t>
    </dgm:pt>
    <dgm:pt modelId="{8A0FDD62-5ACB-4363-8100-7921DB27FED9}">
      <dgm:prSet phldrT="[Text]" custT="1"/>
      <dgm:spPr/>
      <dgm:t>
        <a:bodyPr/>
        <a:lstStyle/>
        <a:p>
          <a:r>
            <a:rPr lang="en-US" sz="1800" dirty="0"/>
            <a:t>Landfills</a:t>
          </a:r>
        </a:p>
      </dgm:t>
    </dgm:pt>
    <dgm:pt modelId="{2E0A18BD-4B57-45A2-B599-17A5236A0DBA}" type="parTrans" cxnId="{FFCB8E0E-83EF-4599-BF13-C986EE976DEB}">
      <dgm:prSet/>
      <dgm:spPr/>
      <dgm:t>
        <a:bodyPr/>
        <a:lstStyle/>
        <a:p>
          <a:endParaRPr lang="en-US" sz="2400"/>
        </a:p>
      </dgm:t>
    </dgm:pt>
    <dgm:pt modelId="{95404541-6FCE-499D-B544-6283CA283D12}" type="sibTrans" cxnId="{FFCB8E0E-83EF-4599-BF13-C986EE976DEB}">
      <dgm:prSet/>
      <dgm:spPr/>
      <dgm:t>
        <a:bodyPr/>
        <a:lstStyle/>
        <a:p>
          <a:endParaRPr lang="en-US" sz="2400"/>
        </a:p>
      </dgm:t>
    </dgm:pt>
    <dgm:pt modelId="{9C224AA8-5D6D-439F-A5FF-D80F3FA166E4}">
      <dgm:prSet phldrT="[Text]" custT="1"/>
      <dgm:spPr/>
      <dgm:t>
        <a:bodyPr/>
        <a:lstStyle/>
        <a:p>
          <a:r>
            <a:rPr lang="en-US" sz="1800"/>
            <a:t>Ash Monofill</a:t>
          </a:r>
        </a:p>
      </dgm:t>
    </dgm:pt>
    <dgm:pt modelId="{FE1183B8-299D-4DAE-9761-D4155ED0D626}" type="parTrans" cxnId="{E02BB2F0-87BB-483B-91A1-E7038189B78B}">
      <dgm:prSet/>
      <dgm:spPr/>
      <dgm:t>
        <a:bodyPr/>
        <a:lstStyle/>
        <a:p>
          <a:endParaRPr lang="en-US" sz="2400"/>
        </a:p>
      </dgm:t>
    </dgm:pt>
    <dgm:pt modelId="{46ECC135-E1CD-4BA3-940E-260EB4B089CC}" type="sibTrans" cxnId="{E02BB2F0-87BB-483B-91A1-E7038189B78B}">
      <dgm:prSet/>
      <dgm:spPr/>
      <dgm:t>
        <a:bodyPr/>
        <a:lstStyle/>
        <a:p>
          <a:endParaRPr lang="en-US" sz="2400"/>
        </a:p>
      </dgm:t>
    </dgm:pt>
    <dgm:pt modelId="{B487FD67-7267-482B-A536-C6D808E96D9C}">
      <dgm:prSet phldrT="[Text]" custT="1"/>
      <dgm:spPr>
        <a:solidFill>
          <a:srgbClr val="FDF69C"/>
        </a:solidFill>
      </dgm:spPr>
      <dgm:t>
        <a:bodyPr/>
        <a:lstStyle/>
        <a:p>
          <a:r>
            <a:rPr lang="en-US" sz="1800">
              <a:solidFill>
                <a:sysClr val="windowText" lastClr="000000"/>
              </a:solidFill>
            </a:rPr>
            <a:t>Class I</a:t>
          </a:r>
        </a:p>
      </dgm:t>
    </dgm:pt>
    <dgm:pt modelId="{445E6ECC-BB0F-4772-A31E-5A2DA500E851}" type="parTrans" cxnId="{ED4D9E10-416E-403E-ADBA-09BE16C63D8D}">
      <dgm:prSet/>
      <dgm:spPr/>
      <dgm:t>
        <a:bodyPr/>
        <a:lstStyle/>
        <a:p>
          <a:endParaRPr lang="en-US" sz="2400"/>
        </a:p>
      </dgm:t>
    </dgm:pt>
    <dgm:pt modelId="{4EA9E5A2-9B4B-4D3F-A6ED-250E73837D57}" type="sibTrans" cxnId="{ED4D9E10-416E-403E-ADBA-09BE16C63D8D}">
      <dgm:prSet/>
      <dgm:spPr/>
      <dgm:t>
        <a:bodyPr/>
        <a:lstStyle/>
        <a:p>
          <a:endParaRPr lang="en-US" sz="2400"/>
        </a:p>
      </dgm:t>
    </dgm:pt>
    <dgm:pt modelId="{500687D9-0065-48BF-95F4-F2E85DEA36C5}">
      <dgm:prSet phldrT="[Text]" custT="1"/>
      <dgm:spPr/>
      <dgm:t>
        <a:bodyPr/>
        <a:lstStyle/>
        <a:p>
          <a:r>
            <a:rPr lang="en-US" sz="1800"/>
            <a:t>Class III</a:t>
          </a:r>
        </a:p>
      </dgm:t>
    </dgm:pt>
    <dgm:pt modelId="{D412B182-939A-4C07-BDA5-CE5C07BC0B2D}" type="parTrans" cxnId="{0BF568F5-7425-40FA-80D4-6CBF2F552140}">
      <dgm:prSet/>
      <dgm:spPr/>
      <dgm:t>
        <a:bodyPr/>
        <a:lstStyle/>
        <a:p>
          <a:endParaRPr lang="en-US" sz="2400"/>
        </a:p>
      </dgm:t>
    </dgm:pt>
    <dgm:pt modelId="{39DE803B-29D9-4A2A-A870-BF905220132E}" type="sibTrans" cxnId="{0BF568F5-7425-40FA-80D4-6CBF2F552140}">
      <dgm:prSet/>
      <dgm:spPr/>
      <dgm:t>
        <a:bodyPr/>
        <a:lstStyle/>
        <a:p>
          <a:endParaRPr lang="en-US" sz="2400"/>
        </a:p>
      </dgm:t>
    </dgm:pt>
    <dgm:pt modelId="{11C854FB-4807-4191-A106-FCE0853A2737}">
      <dgm:prSet phldrT="[Text]" custT="1"/>
      <dgm:spPr/>
      <dgm:t>
        <a:bodyPr/>
        <a:lstStyle/>
        <a:p>
          <a:r>
            <a:rPr lang="en-US" sz="1800"/>
            <a:t>CDD</a:t>
          </a:r>
        </a:p>
      </dgm:t>
    </dgm:pt>
    <dgm:pt modelId="{3594EC1A-C28A-40E2-9BA9-E7D01DC610A7}" type="parTrans" cxnId="{17A8E6CF-3A06-437C-8D91-FCA2757CAFE6}">
      <dgm:prSet/>
      <dgm:spPr/>
      <dgm:t>
        <a:bodyPr/>
        <a:lstStyle/>
        <a:p>
          <a:endParaRPr lang="en-US" sz="2400"/>
        </a:p>
      </dgm:t>
    </dgm:pt>
    <dgm:pt modelId="{0B6FC9C1-497E-44B2-BA05-986DBD9831AA}" type="sibTrans" cxnId="{17A8E6CF-3A06-437C-8D91-FCA2757CAFE6}">
      <dgm:prSet/>
      <dgm:spPr/>
      <dgm:t>
        <a:bodyPr/>
        <a:lstStyle/>
        <a:p>
          <a:endParaRPr lang="en-US" sz="2400"/>
        </a:p>
      </dgm:t>
    </dgm:pt>
    <dgm:pt modelId="{D09E3D4F-1D7D-42D1-986A-2D072940B2CA}">
      <dgm:prSet phldrT="[Text]" custT="1"/>
      <dgm:spPr/>
      <dgm:t>
        <a:bodyPr/>
        <a:lstStyle/>
        <a:p>
          <a:r>
            <a:rPr lang="en-US" sz="1800"/>
            <a:t>Waste-to-Energy</a:t>
          </a:r>
        </a:p>
      </dgm:t>
    </dgm:pt>
    <dgm:pt modelId="{68ACF64D-A3E1-46BE-A0F8-EACFA27593B4}" type="parTrans" cxnId="{498BAEE2-7893-4D7B-95CC-F1C754C0CACB}">
      <dgm:prSet/>
      <dgm:spPr/>
      <dgm:t>
        <a:bodyPr/>
        <a:lstStyle/>
        <a:p>
          <a:endParaRPr lang="en-US" sz="2400"/>
        </a:p>
      </dgm:t>
    </dgm:pt>
    <dgm:pt modelId="{086D19BD-9679-4E1D-AB18-9C674F65C6F7}" type="sibTrans" cxnId="{498BAEE2-7893-4D7B-95CC-F1C754C0CACB}">
      <dgm:prSet/>
      <dgm:spPr/>
      <dgm:t>
        <a:bodyPr/>
        <a:lstStyle/>
        <a:p>
          <a:endParaRPr lang="en-US" sz="2400"/>
        </a:p>
      </dgm:t>
    </dgm:pt>
    <dgm:pt modelId="{6DAD5AF5-2F6C-40CF-B4A4-4535DCB1DE5D}" type="pres">
      <dgm:prSet presAssocID="{C14FF3FB-789E-4041-BAA4-8A5D3EF74394}" presName="hierChild1" presStyleCnt="0">
        <dgm:presLayoutVars>
          <dgm:orgChart val="1"/>
          <dgm:chPref val="1"/>
          <dgm:dir/>
          <dgm:animOne val="branch"/>
          <dgm:animLvl val="lvl"/>
          <dgm:resizeHandles/>
        </dgm:presLayoutVars>
      </dgm:prSet>
      <dgm:spPr/>
    </dgm:pt>
    <dgm:pt modelId="{9E669CAF-C666-4968-9C8A-A75CD735112E}" type="pres">
      <dgm:prSet presAssocID="{8A0FDD62-5ACB-4363-8100-7921DB27FED9}" presName="hierRoot1" presStyleCnt="0">
        <dgm:presLayoutVars>
          <dgm:hierBranch val="init"/>
        </dgm:presLayoutVars>
      </dgm:prSet>
      <dgm:spPr/>
    </dgm:pt>
    <dgm:pt modelId="{C9310B4B-0140-4156-88BB-BB8B405BA2F6}" type="pres">
      <dgm:prSet presAssocID="{8A0FDD62-5ACB-4363-8100-7921DB27FED9}" presName="rootComposite1" presStyleCnt="0"/>
      <dgm:spPr/>
    </dgm:pt>
    <dgm:pt modelId="{9243952B-3833-4F9A-A71B-0A59EE8FED19}" type="pres">
      <dgm:prSet presAssocID="{8A0FDD62-5ACB-4363-8100-7921DB27FED9}" presName="rootText1" presStyleLbl="node0" presStyleIdx="0" presStyleCnt="2">
        <dgm:presLayoutVars>
          <dgm:chPref val="3"/>
        </dgm:presLayoutVars>
      </dgm:prSet>
      <dgm:spPr/>
    </dgm:pt>
    <dgm:pt modelId="{4C951630-26BE-4FC2-B02A-6EABC31BCC02}" type="pres">
      <dgm:prSet presAssocID="{8A0FDD62-5ACB-4363-8100-7921DB27FED9}" presName="rootConnector1" presStyleLbl="node1" presStyleIdx="0" presStyleCnt="0"/>
      <dgm:spPr/>
    </dgm:pt>
    <dgm:pt modelId="{A9CBB20B-D2FF-462D-8365-7D562044133A}" type="pres">
      <dgm:prSet presAssocID="{8A0FDD62-5ACB-4363-8100-7921DB27FED9}" presName="hierChild2" presStyleCnt="0"/>
      <dgm:spPr/>
    </dgm:pt>
    <dgm:pt modelId="{C5E9805B-8734-43E5-87A9-3E4EDE6400A1}" type="pres">
      <dgm:prSet presAssocID="{FE1183B8-299D-4DAE-9761-D4155ED0D626}" presName="Name64" presStyleLbl="parChTrans1D2" presStyleIdx="0" presStyleCnt="4"/>
      <dgm:spPr/>
    </dgm:pt>
    <dgm:pt modelId="{59D565F5-CF79-4EC0-B001-75692E0C55A5}" type="pres">
      <dgm:prSet presAssocID="{9C224AA8-5D6D-439F-A5FF-D80F3FA166E4}" presName="hierRoot2" presStyleCnt="0">
        <dgm:presLayoutVars>
          <dgm:hierBranch val="init"/>
        </dgm:presLayoutVars>
      </dgm:prSet>
      <dgm:spPr/>
    </dgm:pt>
    <dgm:pt modelId="{FD1AFDEF-415B-41D7-A2B3-18097AE78CD0}" type="pres">
      <dgm:prSet presAssocID="{9C224AA8-5D6D-439F-A5FF-D80F3FA166E4}" presName="rootComposite" presStyleCnt="0"/>
      <dgm:spPr/>
    </dgm:pt>
    <dgm:pt modelId="{F6C5896B-E465-4949-89C8-FE4B715A7AA6}" type="pres">
      <dgm:prSet presAssocID="{9C224AA8-5D6D-439F-A5FF-D80F3FA166E4}" presName="rootText" presStyleLbl="node2" presStyleIdx="0" presStyleCnt="4">
        <dgm:presLayoutVars>
          <dgm:chPref val="3"/>
        </dgm:presLayoutVars>
      </dgm:prSet>
      <dgm:spPr/>
    </dgm:pt>
    <dgm:pt modelId="{E545B4FB-CAAE-4F67-8274-077F8989871C}" type="pres">
      <dgm:prSet presAssocID="{9C224AA8-5D6D-439F-A5FF-D80F3FA166E4}" presName="rootConnector" presStyleLbl="node2" presStyleIdx="0" presStyleCnt="4"/>
      <dgm:spPr/>
    </dgm:pt>
    <dgm:pt modelId="{12A0EF90-D8EB-4D76-A8C2-74FEB5F363FC}" type="pres">
      <dgm:prSet presAssocID="{9C224AA8-5D6D-439F-A5FF-D80F3FA166E4}" presName="hierChild4" presStyleCnt="0"/>
      <dgm:spPr/>
    </dgm:pt>
    <dgm:pt modelId="{945B86D7-60E4-41FF-9E22-41E01EACAF57}" type="pres">
      <dgm:prSet presAssocID="{9C224AA8-5D6D-439F-A5FF-D80F3FA166E4}" presName="hierChild5" presStyleCnt="0"/>
      <dgm:spPr/>
    </dgm:pt>
    <dgm:pt modelId="{072208BE-F468-4D92-91D9-C7A5020A5858}" type="pres">
      <dgm:prSet presAssocID="{445E6ECC-BB0F-4772-A31E-5A2DA500E851}" presName="Name64" presStyleLbl="parChTrans1D2" presStyleIdx="1" presStyleCnt="4"/>
      <dgm:spPr/>
    </dgm:pt>
    <dgm:pt modelId="{FE4E211E-805E-4926-9B50-E069108CDC74}" type="pres">
      <dgm:prSet presAssocID="{B487FD67-7267-482B-A536-C6D808E96D9C}" presName="hierRoot2" presStyleCnt="0">
        <dgm:presLayoutVars>
          <dgm:hierBranch val="init"/>
        </dgm:presLayoutVars>
      </dgm:prSet>
      <dgm:spPr/>
    </dgm:pt>
    <dgm:pt modelId="{05677B27-E7DD-4A6A-ACAA-B9350D6719BF}" type="pres">
      <dgm:prSet presAssocID="{B487FD67-7267-482B-A536-C6D808E96D9C}" presName="rootComposite" presStyleCnt="0"/>
      <dgm:spPr/>
    </dgm:pt>
    <dgm:pt modelId="{5F10370A-A9DD-44D6-A47F-F058C24F9C2F}" type="pres">
      <dgm:prSet presAssocID="{B487FD67-7267-482B-A536-C6D808E96D9C}" presName="rootText" presStyleLbl="node2" presStyleIdx="1" presStyleCnt="4">
        <dgm:presLayoutVars>
          <dgm:chPref val="3"/>
        </dgm:presLayoutVars>
      </dgm:prSet>
      <dgm:spPr/>
    </dgm:pt>
    <dgm:pt modelId="{A4C68761-9E3E-4D68-B6DB-BA502EBD0C16}" type="pres">
      <dgm:prSet presAssocID="{B487FD67-7267-482B-A536-C6D808E96D9C}" presName="rootConnector" presStyleLbl="node2" presStyleIdx="1" presStyleCnt="4"/>
      <dgm:spPr/>
    </dgm:pt>
    <dgm:pt modelId="{0C5EFA30-BCFC-439E-B1F2-B68DB79AC200}" type="pres">
      <dgm:prSet presAssocID="{B487FD67-7267-482B-A536-C6D808E96D9C}" presName="hierChild4" presStyleCnt="0"/>
      <dgm:spPr/>
    </dgm:pt>
    <dgm:pt modelId="{FE114DFA-BA97-40C0-9265-F7C1E69247D0}" type="pres">
      <dgm:prSet presAssocID="{B487FD67-7267-482B-A536-C6D808E96D9C}" presName="hierChild5" presStyleCnt="0"/>
      <dgm:spPr/>
    </dgm:pt>
    <dgm:pt modelId="{77BD919E-47EC-450F-A587-C259C150CD11}" type="pres">
      <dgm:prSet presAssocID="{D412B182-939A-4C07-BDA5-CE5C07BC0B2D}" presName="Name64" presStyleLbl="parChTrans1D2" presStyleIdx="2" presStyleCnt="4"/>
      <dgm:spPr/>
    </dgm:pt>
    <dgm:pt modelId="{A461B146-54EF-4F15-AA9B-3B2A6B85524B}" type="pres">
      <dgm:prSet presAssocID="{500687D9-0065-48BF-95F4-F2E85DEA36C5}" presName="hierRoot2" presStyleCnt="0">
        <dgm:presLayoutVars>
          <dgm:hierBranch val="init"/>
        </dgm:presLayoutVars>
      </dgm:prSet>
      <dgm:spPr/>
    </dgm:pt>
    <dgm:pt modelId="{48659850-4E23-4CE8-B3E4-25DB10213B00}" type="pres">
      <dgm:prSet presAssocID="{500687D9-0065-48BF-95F4-F2E85DEA36C5}" presName="rootComposite" presStyleCnt="0"/>
      <dgm:spPr/>
    </dgm:pt>
    <dgm:pt modelId="{69E3A919-74FB-480D-BB89-D9BE39E399E7}" type="pres">
      <dgm:prSet presAssocID="{500687D9-0065-48BF-95F4-F2E85DEA36C5}" presName="rootText" presStyleLbl="node2" presStyleIdx="2" presStyleCnt="4">
        <dgm:presLayoutVars>
          <dgm:chPref val="3"/>
        </dgm:presLayoutVars>
      </dgm:prSet>
      <dgm:spPr/>
    </dgm:pt>
    <dgm:pt modelId="{0240BFF0-FF4F-4C09-943F-D38D8171ED95}" type="pres">
      <dgm:prSet presAssocID="{500687D9-0065-48BF-95F4-F2E85DEA36C5}" presName="rootConnector" presStyleLbl="node2" presStyleIdx="2" presStyleCnt="4"/>
      <dgm:spPr/>
    </dgm:pt>
    <dgm:pt modelId="{0B9A7443-4860-4A0A-A343-BC94640D77DB}" type="pres">
      <dgm:prSet presAssocID="{500687D9-0065-48BF-95F4-F2E85DEA36C5}" presName="hierChild4" presStyleCnt="0"/>
      <dgm:spPr/>
    </dgm:pt>
    <dgm:pt modelId="{EE55C356-ECC5-49DC-82E3-FBD0AC214CCA}" type="pres">
      <dgm:prSet presAssocID="{500687D9-0065-48BF-95F4-F2E85DEA36C5}" presName="hierChild5" presStyleCnt="0"/>
      <dgm:spPr/>
    </dgm:pt>
    <dgm:pt modelId="{6B0F7A21-8A71-4319-AC2E-D81074B65CBC}" type="pres">
      <dgm:prSet presAssocID="{3594EC1A-C28A-40E2-9BA9-E7D01DC610A7}" presName="Name64" presStyleLbl="parChTrans1D2" presStyleIdx="3" presStyleCnt="4"/>
      <dgm:spPr/>
    </dgm:pt>
    <dgm:pt modelId="{9A318E4F-E2D8-4796-BA44-A1238E956757}" type="pres">
      <dgm:prSet presAssocID="{11C854FB-4807-4191-A106-FCE0853A2737}" presName="hierRoot2" presStyleCnt="0">
        <dgm:presLayoutVars>
          <dgm:hierBranch val="init"/>
        </dgm:presLayoutVars>
      </dgm:prSet>
      <dgm:spPr/>
    </dgm:pt>
    <dgm:pt modelId="{80AC5910-FBB1-45A9-ACC3-F8050A7CCCD1}" type="pres">
      <dgm:prSet presAssocID="{11C854FB-4807-4191-A106-FCE0853A2737}" presName="rootComposite" presStyleCnt="0"/>
      <dgm:spPr/>
    </dgm:pt>
    <dgm:pt modelId="{B3171B48-87B5-412F-8372-E3F8BFD01636}" type="pres">
      <dgm:prSet presAssocID="{11C854FB-4807-4191-A106-FCE0853A2737}" presName="rootText" presStyleLbl="node2" presStyleIdx="3" presStyleCnt="4">
        <dgm:presLayoutVars>
          <dgm:chPref val="3"/>
        </dgm:presLayoutVars>
      </dgm:prSet>
      <dgm:spPr/>
    </dgm:pt>
    <dgm:pt modelId="{0B06F98C-C427-494C-A0A1-C26D1053C203}" type="pres">
      <dgm:prSet presAssocID="{11C854FB-4807-4191-A106-FCE0853A2737}" presName="rootConnector" presStyleLbl="node2" presStyleIdx="3" presStyleCnt="4"/>
      <dgm:spPr/>
    </dgm:pt>
    <dgm:pt modelId="{6325D762-2604-42FB-A526-0F0EE7A46B07}" type="pres">
      <dgm:prSet presAssocID="{11C854FB-4807-4191-A106-FCE0853A2737}" presName="hierChild4" presStyleCnt="0"/>
      <dgm:spPr/>
    </dgm:pt>
    <dgm:pt modelId="{335F8B26-6C68-450B-9CDE-CF305CB6D2F4}" type="pres">
      <dgm:prSet presAssocID="{11C854FB-4807-4191-A106-FCE0853A2737}" presName="hierChild5" presStyleCnt="0"/>
      <dgm:spPr/>
    </dgm:pt>
    <dgm:pt modelId="{BB1C3144-AF76-4C1A-AC16-5745FE3D6FF4}" type="pres">
      <dgm:prSet presAssocID="{8A0FDD62-5ACB-4363-8100-7921DB27FED9}" presName="hierChild3" presStyleCnt="0"/>
      <dgm:spPr/>
    </dgm:pt>
    <dgm:pt modelId="{E18B88DC-BC5B-4269-8303-2816E8A33297}" type="pres">
      <dgm:prSet presAssocID="{D09E3D4F-1D7D-42D1-986A-2D072940B2CA}" presName="hierRoot1" presStyleCnt="0">
        <dgm:presLayoutVars>
          <dgm:hierBranch val="init"/>
        </dgm:presLayoutVars>
      </dgm:prSet>
      <dgm:spPr/>
    </dgm:pt>
    <dgm:pt modelId="{7E1EFAEC-C6C5-4489-9136-BD7B0956B289}" type="pres">
      <dgm:prSet presAssocID="{D09E3D4F-1D7D-42D1-986A-2D072940B2CA}" presName="rootComposite1" presStyleCnt="0"/>
      <dgm:spPr/>
    </dgm:pt>
    <dgm:pt modelId="{8F43BE6E-166A-4736-B495-0F0C5F9C5A94}" type="pres">
      <dgm:prSet presAssocID="{D09E3D4F-1D7D-42D1-986A-2D072940B2CA}" presName="rootText1" presStyleLbl="node0" presStyleIdx="1" presStyleCnt="2" custScaleX="220215">
        <dgm:presLayoutVars>
          <dgm:chPref val="3"/>
        </dgm:presLayoutVars>
      </dgm:prSet>
      <dgm:spPr/>
    </dgm:pt>
    <dgm:pt modelId="{65E7425D-55D2-4A95-85AE-4170C0981629}" type="pres">
      <dgm:prSet presAssocID="{D09E3D4F-1D7D-42D1-986A-2D072940B2CA}" presName="rootConnector1" presStyleLbl="node1" presStyleIdx="0" presStyleCnt="0"/>
      <dgm:spPr/>
    </dgm:pt>
    <dgm:pt modelId="{0A91E4F6-AD54-49CF-9C53-9262E286DF5E}" type="pres">
      <dgm:prSet presAssocID="{D09E3D4F-1D7D-42D1-986A-2D072940B2CA}" presName="hierChild2" presStyleCnt="0"/>
      <dgm:spPr/>
    </dgm:pt>
    <dgm:pt modelId="{3AA06DB7-3CF2-4B80-A567-B41E54DCF106}" type="pres">
      <dgm:prSet presAssocID="{D09E3D4F-1D7D-42D1-986A-2D072940B2CA}" presName="hierChild3" presStyleCnt="0"/>
      <dgm:spPr/>
    </dgm:pt>
  </dgm:ptLst>
  <dgm:cxnLst>
    <dgm:cxn modelId="{64557A04-F32A-4FDF-8F5A-BE8516AA6E01}" type="presOf" srcId="{3594EC1A-C28A-40E2-9BA9-E7D01DC610A7}" destId="{6B0F7A21-8A71-4319-AC2E-D81074B65CBC}" srcOrd="0" destOrd="0" presId="urn:microsoft.com/office/officeart/2009/3/layout/HorizontalOrganizationChart"/>
    <dgm:cxn modelId="{FFCB8E0E-83EF-4599-BF13-C986EE976DEB}" srcId="{C14FF3FB-789E-4041-BAA4-8A5D3EF74394}" destId="{8A0FDD62-5ACB-4363-8100-7921DB27FED9}" srcOrd="0" destOrd="0" parTransId="{2E0A18BD-4B57-45A2-B599-17A5236A0DBA}" sibTransId="{95404541-6FCE-499D-B544-6283CA283D12}"/>
    <dgm:cxn modelId="{ED4D9E10-416E-403E-ADBA-09BE16C63D8D}" srcId="{8A0FDD62-5ACB-4363-8100-7921DB27FED9}" destId="{B487FD67-7267-482B-A536-C6D808E96D9C}" srcOrd="1" destOrd="0" parTransId="{445E6ECC-BB0F-4772-A31E-5A2DA500E851}" sibTransId="{4EA9E5A2-9B4B-4D3F-A6ED-250E73837D57}"/>
    <dgm:cxn modelId="{634DAF19-D7E1-4A13-AAE1-0DE3F1B14538}" type="presOf" srcId="{11C854FB-4807-4191-A106-FCE0853A2737}" destId="{B3171B48-87B5-412F-8372-E3F8BFD01636}" srcOrd="0" destOrd="0" presId="urn:microsoft.com/office/officeart/2009/3/layout/HorizontalOrganizationChart"/>
    <dgm:cxn modelId="{E8A0B528-C4D8-4C91-A789-0A0697D95969}" type="presOf" srcId="{11C854FB-4807-4191-A106-FCE0853A2737}" destId="{0B06F98C-C427-494C-A0A1-C26D1053C203}" srcOrd="1" destOrd="0" presId="urn:microsoft.com/office/officeart/2009/3/layout/HorizontalOrganizationChart"/>
    <dgm:cxn modelId="{F4ABB83C-24C7-4711-A232-B64194FD2448}" type="presOf" srcId="{FE1183B8-299D-4DAE-9761-D4155ED0D626}" destId="{C5E9805B-8734-43E5-87A9-3E4EDE6400A1}" srcOrd="0" destOrd="0" presId="urn:microsoft.com/office/officeart/2009/3/layout/HorizontalOrganizationChart"/>
    <dgm:cxn modelId="{27204B5F-1CC0-471D-A850-D419F147704F}" type="presOf" srcId="{D412B182-939A-4C07-BDA5-CE5C07BC0B2D}" destId="{77BD919E-47EC-450F-A587-C259C150CD11}" srcOrd="0" destOrd="0" presId="urn:microsoft.com/office/officeart/2009/3/layout/HorizontalOrganizationChart"/>
    <dgm:cxn modelId="{500DA64C-B97D-468B-8458-53084E7E3F40}" type="presOf" srcId="{500687D9-0065-48BF-95F4-F2E85DEA36C5}" destId="{0240BFF0-FF4F-4C09-943F-D38D8171ED95}" srcOrd="1" destOrd="0" presId="urn:microsoft.com/office/officeart/2009/3/layout/HorizontalOrganizationChart"/>
    <dgm:cxn modelId="{418DDD72-5F93-4278-B9A7-B366FC5F831B}" type="presOf" srcId="{D09E3D4F-1D7D-42D1-986A-2D072940B2CA}" destId="{65E7425D-55D2-4A95-85AE-4170C0981629}" srcOrd="1" destOrd="0" presId="urn:microsoft.com/office/officeart/2009/3/layout/HorizontalOrganizationChart"/>
    <dgm:cxn modelId="{37169C73-803B-4B53-8056-7D86DF425149}" type="presOf" srcId="{D09E3D4F-1D7D-42D1-986A-2D072940B2CA}" destId="{8F43BE6E-166A-4736-B495-0F0C5F9C5A94}" srcOrd="0" destOrd="0" presId="urn:microsoft.com/office/officeart/2009/3/layout/HorizontalOrganizationChart"/>
    <dgm:cxn modelId="{80630C54-088D-44D6-B58F-EEFCC41260FB}" type="presOf" srcId="{B487FD67-7267-482B-A536-C6D808E96D9C}" destId="{A4C68761-9E3E-4D68-B6DB-BA502EBD0C16}" srcOrd="1" destOrd="0" presId="urn:microsoft.com/office/officeart/2009/3/layout/HorizontalOrganizationChart"/>
    <dgm:cxn modelId="{DAB9C179-CF84-4B9B-A240-A23B5E2EABF7}" type="presOf" srcId="{9C224AA8-5D6D-439F-A5FF-D80F3FA166E4}" destId="{E545B4FB-CAAE-4F67-8274-077F8989871C}" srcOrd="1" destOrd="0" presId="urn:microsoft.com/office/officeart/2009/3/layout/HorizontalOrganizationChart"/>
    <dgm:cxn modelId="{3A4A7F7C-3773-44AD-831D-2EEC340A03E6}" type="presOf" srcId="{C14FF3FB-789E-4041-BAA4-8A5D3EF74394}" destId="{6DAD5AF5-2F6C-40CF-B4A4-4535DCB1DE5D}" srcOrd="0" destOrd="0" presId="urn:microsoft.com/office/officeart/2009/3/layout/HorizontalOrganizationChart"/>
    <dgm:cxn modelId="{B5728EA7-77BF-4A44-8D43-F6E7F6B898D8}" type="presOf" srcId="{500687D9-0065-48BF-95F4-F2E85DEA36C5}" destId="{69E3A919-74FB-480D-BB89-D9BE39E399E7}" srcOrd="0" destOrd="0" presId="urn:microsoft.com/office/officeart/2009/3/layout/HorizontalOrganizationChart"/>
    <dgm:cxn modelId="{2AB946AA-81B9-471D-9447-2C92C3DA6716}" type="presOf" srcId="{8A0FDD62-5ACB-4363-8100-7921DB27FED9}" destId="{4C951630-26BE-4FC2-B02A-6EABC31BCC02}" srcOrd="1" destOrd="0" presId="urn:microsoft.com/office/officeart/2009/3/layout/HorizontalOrganizationChart"/>
    <dgm:cxn modelId="{9CB71FB1-4091-4499-A694-E01ECE5458BA}" type="presOf" srcId="{8A0FDD62-5ACB-4363-8100-7921DB27FED9}" destId="{9243952B-3833-4F9A-A71B-0A59EE8FED19}" srcOrd="0" destOrd="0" presId="urn:microsoft.com/office/officeart/2009/3/layout/HorizontalOrganizationChart"/>
    <dgm:cxn modelId="{CD1619B7-958E-47B2-80DA-28F385F85BF6}" type="presOf" srcId="{B487FD67-7267-482B-A536-C6D808E96D9C}" destId="{5F10370A-A9DD-44D6-A47F-F058C24F9C2F}" srcOrd="0" destOrd="0" presId="urn:microsoft.com/office/officeart/2009/3/layout/HorizontalOrganizationChart"/>
    <dgm:cxn modelId="{17A8E6CF-3A06-437C-8D91-FCA2757CAFE6}" srcId="{8A0FDD62-5ACB-4363-8100-7921DB27FED9}" destId="{11C854FB-4807-4191-A106-FCE0853A2737}" srcOrd="3" destOrd="0" parTransId="{3594EC1A-C28A-40E2-9BA9-E7D01DC610A7}" sibTransId="{0B6FC9C1-497E-44B2-BA05-986DBD9831AA}"/>
    <dgm:cxn modelId="{471993E1-B340-4A72-921B-81101BD0227A}" type="presOf" srcId="{9C224AA8-5D6D-439F-A5FF-D80F3FA166E4}" destId="{F6C5896B-E465-4949-89C8-FE4B715A7AA6}" srcOrd="0" destOrd="0" presId="urn:microsoft.com/office/officeart/2009/3/layout/HorizontalOrganizationChart"/>
    <dgm:cxn modelId="{498BAEE2-7893-4D7B-95CC-F1C754C0CACB}" srcId="{C14FF3FB-789E-4041-BAA4-8A5D3EF74394}" destId="{D09E3D4F-1D7D-42D1-986A-2D072940B2CA}" srcOrd="1" destOrd="0" parTransId="{68ACF64D-A3E1-46BE-A0F8-EACFA27593B4}" sibTransId="{086D19BD-9679-4E1D-AB18-9C674F65C6F7}"/>
    <dgm:cxn modelId="{D1621CEF-9F93-4C79-B39F-CBA1E394B3B0}" type="presOf" srcId="{445E6ECC-BB0F-4772-A31E-5A2DA500E851}" destId="{072208BE-F468-4D92-91D9-C7A5020A5858}" srcOrd="0" destOrd="0" presId="urn:microsoft.com/office/officeart/2009/3/layout/HorizontalOrganizationChart"/>
    <dgm:cxn modelId="{E02BB2F0-87BB-483B-91A1-E7038189B78B}" srcId="{8A0FDD62-5ACB-4363-8100-7921DB27FED9}" destId="{9C224AA8-5D6D-439F-A5FF-D80F3FA166E4}" srcOrd="0" destOrd="0" parTransId="{FE1183B8-299D-4DAE-9761-D4155ED0D626}" sibTransId="{46ECC135-E1CD-4BA3-940E-260EB4B089CC}"/>
    <dgm:cxn modelId="{0BF568F5-7425-40FA-80D4-6CBF2F552140}" srcId="{8A0FDD62-5ACB-4363-8100-7921DB27FED9}" destId="{500687D9-0065-48BF-95F4-F2E85DEA36C5}" srcOrd="2" destOrd="0" parTransId="{D412B182-939A-4C07-BDA5-CE5C07BC0B2D}" sibTransId="{39DE803B-29D9-4A2A-A870-BF905220132E}"/>
    <dgm:cxn modelId="{1BBA2148-F184-41BE-A4AA-FF4AE6E11402}" type="presParOf" srcId="{6DAD5AF5-2F6C-40CF-B4A4-4535DCB1DE5D}" destId="{9E669CAF-C666-4968-9C8A-A75CD735112E}" srcOrd="0" destOrd="0" presId="urn:microsoft.com/office/officeart/2009/3/layout/HorizontalOrganizationChart"/>
    <dgm:cxn modelId="{CD4A52A8-BB30-46B1-A09C-FA3E5962EAC3}" type="presParOf" srcId="{9E669CAF-C666-4968-9C8A-A75CD735112E}" destId="{C9310B4B-0140-4156-88BB-BB8B405BA2F6}" srcOrd="0" destOrd="0" presId="urn:microsoft.com/office/officeart/2009/3/layout/HorizontalOrganizationChart"/>
    <dgm:cxn modelId="{00FEEC05-1D06-4F50-9D37-E227647C0275}" type="presParOf" srcId="{C9310B4B-0140-4156-88BB-BB8B405BA2F6}" destId="{9243952B-3833-4F9A-A71B-0A59EE8FED19}" srcOrd="0" destOrd="0" presId="urn:microsoft.com/office/officeart/2009/3/layout/HorizontalOrganizationChart"/>
    <dgm:cxn modelId="{61330E62-BE84-4CF8-B87D-76F69F8989F7}" type="presParOf" srcId="{C9310B4B-0140-4156-88BB-BB8B405BA2F6}" destId="{4C951630-26BE-4FC2-B02A-6EABC31BCC02}" srcOrd="1" destOrd="0" presId="urn:microsoft.com/office/officeart/2009/3/layout/HorizontalOrganizationChart"/>
    <dgm:cxn modelId="{2CE91F4A-E069-4DC6-AEE5-7A68566C91BE}" type="presParOf" srcId="{9E669CAF-C666-4968-9C8A-A75CD735112E}" destId="{A9CBB20B-D2FF-462D-8365-7D562044133A}" srcOrd="1" destOrd="0" presId="urn:microsoft.com/office/officeart/2009/3/layout/HorizontalOrganizationChart"/>
    <dgm:cxn modelId="{38FD33C2-E9ED-421A-AB97-66306F9C9EA4}" type="presParOf" srcId="{A9CBB20B-D2FF-462D-8365-7D562044133A}" destId="{C5E9805B-8734-43E5-87A9-3E4EDE6400A1}" srcOrd="0" destOrd="0" presId="urn:microsoft.com/office/officeart/2009/3/layout/HorizontalOrganizationChart"/>
    <dgm:cxn modelId="{AB331918-CE8E-4BD5-8F39-5A78E4F37DF3}" type="presParOf" srcId="{A9CBB20B-D2FF-462D-8365-7D562044133A}" destId="{59D565F5-CF79-4EC0-B001-75692E0C55A5}" srcOrd="1" destOrd="0" presId="urn:microsoft.com/office/officeart/2009/3/layout/HorizontalOrganizationChart"/>
    <dgm:cxn modelId="{C0A68D2F-44EF-4A10-AB34-46A774F23A22}" type="presParOf" srcId="{59D565F5-CF79-4EC0-B001-75692E0C55A5}" destId="{FD1AFDEF-415B-41D7-A2B3-18097AE78CD0}" srcOrd="0" destOrd="0" presId="urn:microsoft.com/office/officeart/2009/3/layout/HorizontalOrganizationChart"/>
    <dgm:cxn modelId="{C91D4CE7-12AC-4F90-9AFD-D0BE248578DB}" type="presParOf" srcId="{FD1AFDEF-415B-41D7-A2B3-18097AE78CD0}" destId="{F6C5896B-E465-4949-89C8-FE4B715A7AA6}" srcOrd="0" destOrd="0" presId="urn:microsoft.com/office/officeart/2009/3/layout/HorizontalOrganizationChart"/>
    <dgm:cxn modelId="{7D5BFA1F-51B3-46A7-B782-3C218484186E}" type="presParOf" srcId="{FD1AFDEF-415B-41D7-A2B3-18097AE78CD0}" destId="{E545B4FB-CAAE-4F67-8274-077F8989871C}" srcOrd="1" destOrd="0" presId="urn:microsoft.com/office/officeart/2009/3/layout/HorizontalOrganizationChart"/>
    <dgm:cxn modelId="{2DDC45EE-5C4F-471D-B9E6-165EED17ADD7}" type="presParOf" srcId="{59D565F5-CF79-4EC0-B001-75692E0C55A5}" destId="{12A0EF90-D8EB-4D76-A8C2-74FEB5F363FC}" srcOrd="1" destOrd="0" presId="urn:microsoft.com/office/officeart/2009/3/layout/HorizontalOrganizationChart"/>
    <dgm:cxn modelId="{DF3D3A8F-F7E9-4699-A141-CF0E8EA8347E}" type="presParOf" srcId="{59D565F5-CF79-4EC0-B001-75692E0C55A5}" destId="{945B86D7-60E4-41FF-9E22-41E01EACAF57}" srcOrd="2" destOrd="0" presId="urn:microsoft.com/office/officeart/2009/3/layout/HorizontalOrganizationChart"/>
    <dgm:cxn modelId="{41B646CF-43D0-49A0-90B8-A4F42031BB89}" type="presParOf" srcId="{A9CBB20B-D2FF-462D-8365-7D562044133A}" destId="{072208BE-F468-4D92-91D9-C7A5020A5858}" srcOrd="2" destOrd="0" presId="urn:microsoft.com/office/officeart/2009/3/layout/HorizontalOrganizationChart"/>
    <dgm:cxn modelId="{A525406A-0F7B-4113-BEE8-B56386FF1682}" type="presParOf" srcId="{A9CBB20B-D2FF-462D-8365-7D562044133A}" destId="{FE4E211E-805E-4926-9B50-E069108CDC74}" srcOrd="3" destOrd="0" presId="urn:microsoft.com/office/officeart/2009/3/layout/HorizontalOrganizationChart"/>
    <dgm:cxn modelId="{5637D8A9-C7D1-432E-98EE-DF47A1B8E581}" type="presParOf" srcId="{FE4E211E-805E-4926-9B50-E069108CDC74}" destId="{05677B27-E7DD-4A6A-ACAA-B9350D6719BF}" srcOrd="0" destOrd="0" presId="urn:microsoft.com/office/officeart/2009/3/layout/HorizontalOrganizationChart"/>
    <dgm:cxn modelId="{4A5E9A7E-9FD9-4D5B-AB44-6F1DD2825AA4}" type="presParOf" srcId="{05677B27-E7DD-4A6A-ACAA-B9350D6719BF}" destId="{5F10370A-A9DD-44D6-A47F-F058C24F9C2F}" srcOrd="0" destOrd="0" presId="urn:microsoft.com/office/officeart/2009/3/layout/HorizontalOrganizationChart"/>
    <dgm:cxn modelId="{F57B5992-1D67-429B-BF9B-6D8B841EF545}" type="presParOf" srcId="{05677B27-E7DD-4A6A-ACAA-B9350D6719BF}" destId="{A4C68761-9E3E-4D68-B6DB-BA502EBD0C16}" srcOrd="1" destOrd="0" presId="urn:microsoft.com/office/officeart/2009/3/layout/HorizontalOrganizationChart"/>
    <dgm:cxn modelId="{66B15C5B-023A-43A1-8EB0-F8A6B75F74D8}" type="presParOf" srcId="{FE4E211E-805E-4926-9B50-E069108CDC74}" destId="{0C5EFA30-BCFC-439E-B1F2-B68DB79AC200}" srcOrd="1" destOrd="0" presId="urn:microsoft.com/office/officeart/2009/3/layout/HorizontalOrganizationChart"/>
    <dgm:cxn modelId="{B947C541-9009-4D98-9547-EE14F5D16A10}" type="presParOf" srcId="{FE4E211E-805E-4926-9B50-E069108CDC74}" destId="{FE114DFA-BA97-40C0-9265-F7C1E69247D0}" srcOrd="2" destOrd="0" presId="urn:microsoft.com/office/officeart/2009/3/layout/HorizontalOrganizationChart"/>
    <dgm:cxn modelId="{883BE747-5EEB-4CB5-BE31-553541FA473A}" type="presParOf" srcId="{A9CBB20B-D2FF-462D-8365-7D562044133A}" destId="{77BD919E-47EC-450F-A587-C259C150CD11}" srcOrd="4" destOrd="0" presId="urn:microsoft.com/office/officeart/2009/3/layout/HorizontalOrganizationChart"/>
    <dgm:cxn modelId="{2D9EC5A3-2D8B-4BE9-9EF4-930B6B75C677}" type="presParOf" srcId="{A9CBB20B-D2FF-462D-8365-7D562044133A}" destId="{A461B146-54EF-4F15-AA9B-3B2A6B85524B}" srcOrd="5" destOrd="0" presId="urn:microsoft.com/office/officeart/2009/3/layout/HorizontalOrganizationChart"/>
    <dgm:cxn modelId="{99CF503B-EF2E-4958-B5CF-5B8059B0AFF9}" type="presParOf" srcId="{A461B146-54EF-4F15-AA9B-3B2A6B85524B}" destId="{48659850-4E23-4CE8-B3E4-25DB10213B00}" srcOrd="0" destOrd="0" presId="urn:microsoft.com/office/officeart/2009/3/layout/HorizontalOrganizationChart"/>
    <dgm:cxn modelId="{09A0D2CE-E99C-4000-A62A-939A19CB1956}" type="presParOf" srcId="{48659850-4E23-4CE8-B3E4-25DB10213B00}" destId="{69E3A919-74FB-480D-BB89-D9BE39E399E7}" srcOrd="0" destOrd="0" presId="urn:microsoft.com/office/officeart/2009/3/layout/HorizontalOrganizationChart"/>
    <dgm:cxn modelId="{983D0D3C-0BB9-4D1F-AF50-69B826F86D59}" type="presParOf" srcId="{48659850-4E23-4CE8-B3E4-25DB10213B00}" destId="{0240BFF0-FF4F-4C09-943F-D38D8171ED95}" srcOrd="1" destOrd="0" presId="urn:microsoft.com/office/officeart/2009/3/layout/HorizontalOrganizationChart"/>
    <dgm:cxn modelId="{EAA1FA69-59EA-452A-9A14-543F218D4AAD}" type="presParOf" srcId="{A461B146-54EF-4F15-AA9B-3B2A6B85524B}" destId="{0B9A7443-4860-4A0A-A343-BC94640D77DB}" srcOrd="1" destOrd="0" presId="urn:microsoft.com/office/officeart/2009/3/layout/HorizontalOrganizationChart"/>
    <dgm:cxn modelId="{61D964A9-B53E-4B0B-A159-747F1F3508E5}" type="presParOf" srcId="{A461B146-54EF-4F15-AA9B-3B2A6B85524B}" destId="{EE55C356-ECC5-49DC-82E3-FBD0AC214CCA}" srcOrd="2" destOrd="0" presId="urn:microsoft.com/office/officeart/2009/3/layout/HorizontalOrganizationChart"/>
    <dgm:cxn modelId="{5608B8D6-A8F3-4E76-B41E-395586BFE99F}" type="presParOf" srcId="{A9CBB20B-D2FF-462D-8365-7D562044133A}" destId="{6B0F7A21-8A71-4319-AC2E-D81074B65CBC}" srcOrd="6" destOrd="0" presId="urn:microsoft.com/office/officeart/2009/3/layout/HorizontalOrganizationChart"/>
    <dgm:cxn modelId="{C84EB760-A297-40B1-855F-17038CB88F54}" type="presParOf" srcId="{A9CBB20B-D2FF-462D-8365-7D562044133A}" destId="{9A318E4F-E2D8-4796-BA44-A1238E956757}" srcOrd="7" destOrd="0" presId="urn:microsoft.com/office/officeart/2009/3/layout/HorizontalOrganizationChart"/>
    <dgm:cxn modelId="{108DC13D-B7B4-4DB8-9A37-304BD9FD15FE}" type="presParOf" srcId="{9A318E4F-E2D8-4796-BA44-A1238E956757}" destId="{80AC5910-FBB1-45A9-ACC3-F8050A7CCCD1}" srcOrd="0" destOrd="0" presId="urn:microsoft.com/office/officeart/2009/3/layout/HorizontalOrganizationChart"/>
    <dgm:cxn modelId="{9379DFA1-2ACB-4931-A5A3-0041775C2394}" type="presParOf" srcId="{80AC5910-FBB1-45A9-ACC3-F8050A7CCCD1}" destId="{B3171B48-87B5-412F-8372-E3F8BFD01636}" srcOrd="0" destOrd="0" presId="urn:microsoft.com/office/officeart/2009/3/layout/HorizontalOrganizationChart"/>
    <dgm:cxn modelId="{B8D12E00-A2B2-47FC-819B-72511051FC14}" type="presParOf" srcId="{80AC5910-FBB1-45A9-ACC3-F8050A7CCCD1}" destId="{0B06F98C-C427-494C-A0A1-C26D1053C203}" srcOrd="1" destOrd="0" presId="urn:microsoft.com/office/officeart/2009/3/layout/HorizontalOrganizationChart"/>
    <dgm:cxn modelId="{CBD3CA40-F1B2-48B9-B1F2-D73874ED0A11}" type="presParOf" srcId="{9A318E4F-E2D8-4796-BA44-A1238E956757}" destId="{6325D762-2604-42FB-A526-0F0EE7A46B07}" srcOrd="1" destOrd="0" presId="urn:microsoft.com/office/officeart/2009/3/layout/HorizontalOrganizationChart"/>
    <dgm:cxn modelId="{9138CD50-545A-4C75-8CEE-81298912B487}" type="presParOf" srcId="{9A318E4F-E2D8-4796-BA44-A1238E956757}" destId="{335F8B26-6C68-450B-9CDE-CF305CB6D2F4}" srcOrd="2" destOrd="0" presId="urn:microsoft.com/office/officeart/2009/3/layout/HorizontalOrganizationChart"/>
    <dgm:cxn modelId="{2EEB8B91-47BD-4CBB-BF41-68D9D0249310}" type="presParOf" srcId="{9E669CAF-C666-4968-9C8A-A75CD735112E}" destId="{BB1C3144-AF76-4C1A-AC16-5745FE3D6FF4}" srcOrd="2" destOrd="0" presId="urn:microsoft.com/office/officeart/2009/3/layout/HorizontalOrganizationChart"/>
    <dgm:cxn modelId="{955AEF40-4F3F-4537-AF01-8943C55F9F46}" type="presParOf" srcId="{6DAD5AF5-2F6C-40CF-B4A4-4535DCB1DE5D}" destId="{E18B88DC-BC5B-4269-8303-2816E8A33297}" srcOrd="1" destOrd="0" presId="urn:microsoft.com/office/officeart/2009/3/layout/HorizontalOrganizationChart"/>
    <dgm:cxn modelId="{E2C7FD41-5A95-4129-949B-E52C827BCFEE}" type="presParOf" srcId="{E18B88DC-BC5B-4269-8303-2816E8A33297}" destId="{7E1EFAEC-C6C5-4489-9136-BD7B0956B289}" srcOrd="0" destOrd="0" presId="urn:microsoft.com/office/officeart/2009/3/layout/HorizontalOrganizationChart"/>
    <dgm:cxn modelId="{BEDF551C-3DAF-4BD3-8D74-32D5C90B7E44}" type="presParOf" srcId="{7E1EFAEC-C6C5-4489-9136-BD7B0956B289}" destId="{8F43BE6E-166A-4736-B495-0F0C5F9C5A94}" srcOrd="0" destOrd="0" presId="urn:microsoft.com/office/officeart/2009/3/layout/HorizontalOrganizationChart"/>
    <dgm:cxn modelId="{3AF3451C-B360-45D9-87AD-F22BD0B2F8A0}" type="presParOf" srcId="{7E1EFAEC-C6C5-4489-9136-BD7B0956B289}" destId="{65E7425D-55D2-4A95-85AE-4170C0981629}" srcOrd="1" destOrd="0" presId="urn:microsoft.com/office/officeart/2009/3/layout/HorizontalOrganizationChart"/>
    <dgm:cxn modelId="{84F8506D-BB3A-45DD-A804-FF6EF4A34DF4}" type="presParOf" srcId="{E18B88DC-BC5B-4269-8303-2816E8A33297}" destId="{0A91E4F6-AD54-49CF-9C53-9262E286DF5E}" srcOrd="1" destOrd="0" presId="urn:microsoft.com/office/officeart/2009/3/layout/HorizontalOrganizationChart"/>
    <dgm:cxn modelId="{3777CB0E-6951-496D-ABF3-8AE7E90A2F0F}" type="presParOf" srcId="{E18B88DC-BC5B-4269-8303-2816E8A33297}" destId="{3AA06DB7-3CF2-4B80-A567-B41E54DCF106}" srcOrd="2" destOrd="0" presId="urn:microsoft.com/office/officeart/2009/3/layout/HorizontalOrganizationChart"/>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14FF3FB-789E-4041-BAA4-8A5D3EF74394}" type="doc">
      <dgm:prSet loTypeId="urn:microsoft.com/office/officeart/2009/3/layout/HorizontalOrganizationChart" loCatId="hierarchy" qsTypeId="urn:microsoft.com/office/officeart/2005/8/quickstyle/simple1" qsCatId="simple" csTypeId="urn:microsoft.com/office/officeart/2005/8/colors/accent1_2" csCatId="accent1" phldr="1"/>
      <dgm:spPr/>
      <dgm:t>
        <a:bodyPr/>
        <a:lstStyle/>
        <a:p>
          <a:endParaRPr lang="en-US"/>
        </a:p>
      </dgm:t>
    </dgm:pt>
    <dgm:pt modelId="{8A0FDD62-5ACB-4363-8100-7921DB27FED9}">
      <dgm:prSet phldrT="[Text]" custT="1"/>
      <dgm:spPr/>
      <dgm:t>
        <a:bodyPr/>
        <a:lstStyle/>
        <a:p>
          <a:r>
            <a:rPr lang="en-US" sz="1800" dirty="0"/>
            <a:t>Landfills</a:t>
          </a:r>
        </a:p>
      </dgm:t>
    </dgm:pt>
    <dgm:pt modelId="{2E0A18BD-4B57-45A2-B599-17A5236A0DBA}" type="parTrans" cxnId="{FFCB8E0E-83EF-4599-BF13-C986EE976DEB}">
      <dgm:prSet/>
      <dgm:spPr/>
      <dgm:t>
        <a:bodyPr/>
        <a:lstStyle/>
        <a:p>
          <a:endParaRPr lang="en-US" sz="2400"/>
        </a:p>
      </dgm:t>
    </dgm:pt>
    <dgm:pt modelId="{95404541-6FCE-499D-B544-6283CA283D12}" type="sibTrans" cxnId="{FFCB8E0E-83EF-4599-BF13-C986EE976DEB}">
      <dgm:prSet/>
      <dgm:spPr/>
      <dgm:t>
        <a:bodyPr/>
        <a:lstStyle/>
        <a:p>
          <a:endParaRPr lang="en-US" sz="2400"/>
        </a:p>
      </dgm:t>
    </dgm:pt>
    <dgm:pt modelId="{9C224AA8-5D6D-439F-A5FF-D80F3FA166E4}">
      <dgm:prSet phldrT="[Text]" custT="1"/>
      <dgm:spPr/>
      <dgm:t>
        <a:bodyPr/>
        <a:lstStyle/>
        <a:p>
          <a:r>
            <a:rPr lang="en-US" sz="1800"/>
            <a:t>Ash Monofill</a:t>
          </a:r>
        </a:p>
      </dgm:t>
    </dgm:pt>
    <dgm:pt modelId="{FE1183B8-299D-4DAE-9761-D4155ED0D626}" type="parTrans" cxnId="{E02BB2F0-87BB-483B-91A1-E7038189B78B}">
      <dgm:prSet/>
      <dgm:spPr/>
      <dgm:t>
        <a:bodyPr/>
        <a:lstStyle/>
        <a:p>
          <a:endParaRPr lang="en-US" sz="2400"/>
        </a:p>
      </dgm:t>
    </dgm:pt>
    <dgm:pt modelId="{46ECC135-E1CD-4BA3-940E-260EB4B089CC}" type="sibTrans" cxnId="{E02BB2F0-87BB-483B-91A1-E7038189B78B}">
      <dgm:prSet/>
      <dgm:spPr/>
      <dgm:t>
        <a:bodyPr/>
        <a:lstStyle/>
        <a:p>
          <a:endParaRPr lang="en-US" sz="2400"/>
        </a:p>
      </dgm:t>
    </dgm:pt>
    <dgm:pt modelId="{B487FD67-7267-482B-A536-C6D808E96D9C}">
      <dgm:prSet phldrT="[Text]" custT="1"/>
      <dgm:spPr/>
      <dgm:t>
        <a:bodyPr/>
        <a:lstStyle/>
        <a:p>
          <a:r>
            <a:rPr lang="en-US" sz="1800"/>
            <a:t>Class I</a:t>
          </a:r>
        </a:p>
      </dgm:t>
    </dgm:pt>
    <dgm:pt modelId="{445E6ECC-BB0F-4772-A31E-5A2DA500E851}" type="parTrans" cxnId="{ED4D9E10-416E-403E-ADBA-09BE16C63D8D}">
      <dgm:prSet/>
      <dgm:spPr/>
      <dgm:t>
        <a:bodyPr/>
        <a:lstStyle/>
        <a:p>
          <a:endParaRPr lang="en-US" sz="2400"/>
        </a:p>
      </dgm:t>
    </dgm:pt>
    <dgm:pt modelId="{4EA9E5A2-9B4B-4D3F-A6ED-250E73837D57}" type="sibTrans" cxnId="{ED4D9E10-416E-403E-ADBA-09BE16C63D8D}">
      <dgm:prSet/>
      <dgm:spPr/>
      <dgm:t>
        <a:bodyPr/>
        <a:lstStyle/>
        <a:p>
          <a:endParaRPr lang="en-US" sz="2400"/>
        </a:p>
      </dgm:t>
    </dgm:pt>
    <dgm:pt modelId="{500687D9-0065-48BF-95F4-F2E85DEA36C5}">
      <dgm:prSet phldrT="[Text]" custT="1"/>
      <dgm:spPr/>
      <dgm:t>
        <a:bodyPr/>
        <a:lstStyle/>
        <a:p>
          <a:r>
            <a:rPr lang="en-US" sz="1800"/>
            <a:t>Class III</a:t>
          </a:r>
        </a:p>
      </dgm:t>
    </dgm:pt>
    <dgm:pt modelId="{D412B182-939A-4C07-BDA5-CE5C07BC0B2D}" type="parTrans" cxnId="{0BF568F5-7425-40FA-80D4-6CBF2F552140}">
      <dgm:prSet/>
      <dgm:spPr/>
      <dgm:t>
        <a:bodyPr/>
        <a:lstStyle/>
        <a:p>
          <a:endParaRPr lang="en-US" sz="2400"/>
        </a:p>
      </dgm:t>
    </dgm:pt>
    <dgm:pt modelId="{39DE803B-29D9-4A2A-A870-BF905220132E}" type="sibTrans" cxnId="{0BF568F5-7425-40FA-80D4-6CBF2F552140}">
      <dgm:prSet/>
      <dgm:spPr/>
      <dgm:t>
        <a:bodyPr/>
        <a:lstStyle/>
        <a:p>
          <a:endParaRPr lang="en-US" sz="2400"/>
        </a:p>
      </dgm:t>
    </dgm:pt>
    <dgm:pt modelId="{11C854FB-4807-4191-A106-FCE0853A2737}">
      <dgm:prSet phldrT="[Text]" custT="1"/>
      <dgm:spPr/>
      <dgm:t>
        <a:bodyPr/>
        <a:lstStyle/>
        <a:p>
          <a:r>
            <a:rPr lang="en-US" sz="1800"/>
            <a:t>CDD</a:t>
          </a:r>
        </a:p>
      </dgm:t>
    </dgm:pt>
    <dgm:pt modelId="{3594EC1A-C28A-40E2-9BA9-E7D01DC610A7}" type="parTrans" cxnId="{17A8E6CF-3A06-437C-8D91-FCA2757CAFE6}">
      <dgm:prSet/>
      <dgm:spPr/>
      <dgm:t>
        <a:bodyPr/>
        <a:lstStyle/>
        <a:p>
          <a:endParaRPr lang="en-US" sz="2400"/>
        </a:p>
      </dgm:t>
    </dgm:pt>
    <dgm:pt modelId="{0B6FC9C1-497E-44B2-BA05-986DBD9831AA}" type="sibTrans" cxnId="{17A8E6CF-3A06-437C-8D91-FCA2757CAFE6}">
      <dgm:prSet/>
      <dgm:spPr/>
      <dgm:t>
        <a:bodyPr/>
        <a:lstStyle/>
        <a:p>
          <a:endParaRPr lang="en-US" sz="2400"/>
        </a:p>
      </dgm:t>
    </dgm:pt>
    <dgm:pt modelId="{D09E3D4F-1D7D-42D1-986A-2D072940B2CA}">
      <dgm:prSet phldrT="[Text]" custT="1"/>
      <dgm:spPr/>
      <dgm:t>
        <a:bodyPr/>
        <a:lstStyle/>
        <a:p>
          <a:r>
            <a:rPr lang="en-US" sz="1800"/>
            <a:t>Waste-to-Energy</a:t>
          </a:r>
        </a:p>
      </dgm:t>
    </dgm:pt>
    <dgm:pt modelId="{68ACF64D-A3E1-46BE-A0F8-EACFA27593B4}" type="parTrans" cxnId="{498BAEE2-7893-4D7B-95CC-F1C754C0CACB}">
      <dgm:prSet/>
      <dgm:spPr/>
      <dgm:t>
        <a:bodyPr/>
        <a:lstStyle/>
        <a:p>
          <a:endParaRPr lang="en-US" sz="2400"/>
        </a:p>
      </dgm:t>
    </dgm:pt>
    <dgm:pt modelId="{086D19BD-9679-4E1D-AB18-9C674F65C6F7}" type="sibTrans" cxnId="{498BAEE2-7893-4D7B-95CC-F1C754C0CACB}">
      <dgm:prSet/>
      <dgm:spPr/>
      <dgm:t>
        <a:bodyPr/>
        <a:lstStyle/>
        <a:p>
          <a:endParaRPr lang="en-US" sz="2400"/>
        </a:p>
      </dgm:t>
    </dgm:pt>
    <dgm:pt modelId="{6DAD5AF5-2F6C-40CF-B4A4-4535DCB1DE5D}" type="pres">
      <dgm:prSet presAssocID="{C14FF3FB-789E-4041-BAA4-8A5D3EF74394}" presName="hierChild1" presStyleCnt="0">
        <dgm:presLayoutVars>
          <dgm:orgChart val="1"/>
          <dgm:chPref val="1"/>
          <dgm:dir/>
          <dgm:animOne val="branch"/>
          <dgm:animLvl val="lvl"/>
          <dgm:resizeHandles/>
        </dgm:presLayoutVars>
      </dgm:prSet>
      <dgm:spPr/>
    </dgm:pt>
    <dgm:pt modelId="{9E669CAF-C666-4968-9C8A-A75CD735112E}" type="pres">
      <dgm:prSet presAssocID="{8A0FDD62-5ACB-4363-8100-7921DB27FED9}" presName="hierRoot1" presStyleCnt="0">
        <dgm:presLayoutVars>
          <dgm:hierBranch val="init"/>
        </dgm:presLayoutVars>
      </dgm:prSet>
      <dgm:spPr/>
    </dgm:pt>
    <dgm:pt modelId="{C9310B4B-0140-4156-88BB-BB8B405BA2F6}" type="pres">
      <dgm:prSet presAssocID="{8A0FDD62-5ACB-4363-8100-7921DB27FED9}" presName="rootComposite1" presStyleCnt="0"/>
      <dgm:spPr/>
    </dgm:pt>
    <dgm:pt modelId="{9243952B-3833-4F9A-A71B-0A59EE8FED19}" type="pres">
      <dgm:prSet presAssocID="{8A0FDD62-5ACB-4363-8100-7921DB27FED9}" presName="rootText1" presStyleLbl="node0" presStyleIdx="0" presStyleCnt="2">
        <dgm:presLayoutVars>
          <dgm:chPref val="3"/>
        </dgm:presLayoutVars>
      </dgm:prSet>
      <dgm:spPr/>
    </dgm:pt>
    <dgm:pt modelId="{4C951630-26BE-4FC2-B02A-6EABC31BCC02}" type="pres">
      <dgm:prSet presAssocID="{8A0FDD62-5ACB-4363-8100-7921DB27FED9}" presName="rootConnector1" presStyleLbl="node1" presStyleIdx="0" presStyleCnt="0"/>
      <dgm:spPr/>
    </dgm:pt>
    <dgm:pt modelId="{A9CBB20B-D2FF-462D-8365-7D562044133A}" type="pres">
      <dgm:prSet presAssocID="{8A0FDD62-5ACB-4363-8100-7921DB27FED9}" presName="hierChild2" presStyleCnt="0"/>
      <dgm:spPr/>
    </dgm:pt>
    <dgm:pt modelId="{C5E9805B-8734-43E5-87A9-3E4EDE6400A1}" type="pres">
      <dgm:prSet presAssocID="{FE1183B8-299D-4DAE-9761-D4155ED0D626}" presName="Name64" presStyleLbl="parChTrans1D2" presStyleIdx="0" presStyleCnt="4"/>
      <dgm:spPr/>
    </dgm:pt>
    <dgm:pt modelId="{59D565F5-CF79-4EC0-B001-75692E0C55A5}" type="pres">
      <dgm:prSet presAssocID="{9C224AA8-5D6D-439F-A5FF-D80F3FA166E4}" presName="hierRoot2" presStyleCnt="0">
        <dgm:presLayoutVars>
          <dgm:hierBranch val="init"/>
        </dgm:presLayoutVars>
      </dgm:prSet>
      <dgm:spPr/>
    </dgm:pt>
    <dgm:pt modelId="{FD1AFDEF-415B-41D7-A2B3-18097AE78CD0}" type="pres">
      <dgm:prSet presAssocID="{9C224AA8-5D6D-439F-A5FF-D80F3FA166E4}" presName="rootComposite" presStyleCnt="0"/>
      <dgm:spPr/>
    </dgm:pt>
    <dgm:pt modelId="{F6C5896B-E465-4949-89C8-FE4B715A7AA6}" type="pres">
      <dgm:prSet presAssocID="{9C224AA8-5D6D-439F-A5FF-D80F3FA166E4}" presName="rootText" presStyleLbl="node2" presStyleIdx="0" presStyleCnt="4">
        <dgm:presLayoutVars>
          <dgm:chPref val="3"/>
        </dgm:presLayoutVars>
      </dgm:prSet>
      <dgm:spPr/>
    </dgm:pt>
    <dgm:pt modelId="{E545B4FB-CAAE-4F67-8274-077F8989871C}" type="pres">
      <dgm:prSet presAssocID="{9C224AA8-5D6D-439F-A5FF-D80F3FA166E4}" presName="rootConnector" presStyleLbl="node2" presStyleIdx="0" presStyleCnt="4"/>
      <dgm:spPr/>
    </dgm:pt>
    <dgm:pt modelId="{12A0EF90-D8EB-4D76-A8C2-74FEB5F363FC}" type="pres">
      <dgm:prSet presAssocID="{9C224AA8-5D6D-439F-A5FF-D80F3FA166E4}" presName="hierChild4" presStyleCnt="0"/>
      <dgm:spPr/>
    </dgm:pt>
    <dgm:pt modelId="{945B86D7-60E4-41FF-9E22-41E01EACAF57}" type="pres">
      <dgm:prSet presAssocID="{9C224AA8-5D6D-439F-A5FF-D80F3FA166E4}" presName="hierChild5" presStyleCnt="0"/>
      <dgm:spPr/>
    </dgm:pt>
    <dgm:pt modelId="{072208BE-F468-4D92-91D9-C7A5020A5858}" type="pres">
      <dgm:prSet presAssocID="{445E6ECC-BB0F-4772-A31E-5A2DA500E851}" presName="Name64" presStyleLbl="parChTrans1D2" presStyleIdx="1" presStyleCnt="4"/>
      <dgm:spPr/>
    </dgm:pt>
    <dgm:pt modelId="{FE4E211E-805E-4926-9B50-E069108CDC74}" type="pres">
      <dgm:prSet presAssocID="{B487FD67-7267-482B-A536-C6D808E96D9C}" presName="hierRoot2" presStyleCnt="0">
        <dgm:presLayoutVars>
          <dgm:hierBranch val="init"/>
        </dgm:presLayoutVars>
      </dgm:prSet>
      <dgm:spPr/>
    </dgm:pt>
    <dgm:pt modelId="{05677B27-E7DD-4A6A-ACAA-B9350D6719BF}" type="pres">
      <dgm:prSet presAssocID="{B487FD67-7267-482B-A536-C6D808E96D9C}" presName="rootComposite" presStyleCnt="0"/>
      <dgm:spPr/>
    </dgm:pt>
    <dgm:pt modelId="{5F10370A-A9DD-44D6-A47F-F058C24F9C2F}" type="pres">
      <dgm:prSet presAssocID="{B487FD67-7267-482B-A536-C6D808E96D9C}" presName="rootText" presStyleLbl="node2" presStyleIdx="1" presStyleCnt="4">
        <dgm:presLayoutVars>
          <dgm:chPref val="3"/>
        </dgm:presLayoutVars>
      </dgm:prSet>
      <dgm:spPr/>
    </dgm:pt>
    <dgm:pt modelId="{A4C68761-9E3E-4D68-B6DB-BA502EBD0C16}" type="pres">
      <dgm:prSet presAssocID="{B487FD67-7267-482B-A536-C6D808E96D9C}" presName="rootConnector" presStyleLbl="node2" presStyleIdx="1" presStyleCnt="4"/>
      <dgm:spPr/>
    </dgm:pt>
    <dgm:pt modelId="{0C5EFA30-BCFC-439E-B1F2-B68DB79AC200}" type="pres">
      <dgm:prSet presAssocID="{B487FD67-7267-482B-A536-C6D808E96D9C}" presName="hierChild4" presStyleCnt="0"/>
      <dgm:spPr/>
    </dgm:pt>
    <dgm:pt modelId="{FE114DFA-BA97-40C0-9265-F7C1E69247D0}" type="pres">
      <dgm:prSet presAssocID="{B487FD67-7267-482B-A536-C6D808E96D9C}" presName="hierChild5" presStyleCnt="0"/>
      <dgm:spPr/>
    </dgm:pt>
    <dgm:pt modelId="{77BD919E-47EC-450F-A587-C259C150CD11}" type="pres">
      <dgm:prSet presAssocID="{D412B182-939A-4C07-BDA5-CE5C07BC0B2D}" presName="Name64" presStyleLbl="parChTrans1D2" presStyleIdx="2" presStyleCnt="4"/>
      <dgm:spPr/>
    </dgm:pt>
    <dgm:pt modelId="{A461B146-54EF-4F15-AA9B-3B2A6B85524B}" type="pres">
      <dgm:prSet presAssocID="{500687D9-0065-48BF-95F4-F2E85DEA36C5}" presName="hierRoot2" presStyleCnt="0">
        <dgm:presLayoutVars>
          <dgm:hierBranch val="init"/>
        </dgm:presLayoutVars>
      </dgm:prSet>
      <dgm:spPr/>
    </dgm:pt>
    <dgm:pt modelId="{48659850-4E23-4CE8-B3E4-25DB10213B00}" type="pres">
      <dgm:prSet presAssocID="{500687D9-0065-48BF-95F4-F2E85DEA36C5}" presName="rootComposite" presStyleCnt="0"/>
      <dgm:spPr/>
    </dgm:pt>
    <dgm:pt modelId="{69E3A919-74FB-480D-BB89-D9BE39E399E7}" type="pres">
      <dgm:prSet presAssocID="{500687D9-0065-48BF-95F4-F2E85DEA36C5}" presName="rootText" presStyleLbl="node2" presStyleIdx="2" presStyleCnt="4">
        <dgm:presLayoutVars>
          <dgm:chPref val="3"/>
        </dgm:presLayoutVars>
      </dgm:prSet>
      <dgm:spPr/>
    </dgm:pt>
    <dgm:pt modelId="{0240BFF0-FF4F-4C09-943F-D38D8171ED95}" type="pres">
      <dgm:prSet presAssocID="{500687D9-0065-48BF-95F4-F2E85DEA36C5}" presName="rootConnector" presStyleLbl="node2" presStyleIdx="2" presStyleCnt="4"/>
      <dgm:spPr/>
    </dgm:pt>
    <dgm:pt modelId="{0B9A7443-4860-4A0A-A343-BC94640D77DB}" type="pres">
      <dgm:prSet presAssocID="{500687D9-0065-48BF-95F4-F2E85DEA36C5}" presName="hierChild4" presStyleCnt="0"/>
      <dgm:spPr/>
    </dgm:pt>
    <dgm:pt modelId="{EE55C356-ECC5-49DC-82E3-FBD0AC214CCA}" type="pres">
      <dgm:prSet presAssocID="{500687D9-0065-48BF-95F4-F2E85DEA36C5}" presName="hierChild5" presStyleCnt="0"/>
      <dgm:spPr/>
    </dgm:pt>
    <dgm:pt modelId="{6B0F7A21-8A71-4319-AC2E-D81074B65CBC}" type="pres">
      <dgm:prSet presAssocID="{3594EC1A-C28A-40E2-9BA9-E7D01DC610A7}" presName="Name64" presStyleLbl="parChTrans1D2" presStyleIdx="3" presStyleCnt="4"/>
      <dgm:spPr/>
    </dgm:pt>
    <dgm:pt modelId="{9A318E4F-E2D8-4796-BA44-A1238E956757}" type="pres">
      <dgm:prSet presAssocID="{11C854FB-4807-4191-A106-FCE0853A2737}" presName="hierRoot2" presStyleCnt="0">
        <dgm:presLayoutVars>
          <dgm:hierBranch val="init"/>
        </dgm:presLayoutVars>
      </dgm:prSet>
      <dgm:spPr/>
    </dgm:pt>
    <dgm:pt modelId="{80AC5910-FBB1-45A9-ACC3-F8050A7CCCD1}" type="pres">
      <dgm:prSet presAssocID="{11C854FB-4807-4191-A106-FCE0853A2737}" presName="rootComposite" presStyleCnt="0"/>
      <dgm:spPr/>
    </dgm:pt>
    <dgm:pt modelId="{B3171B48-87B5-412F-8372-E3F8BFD01636}" type="pres">
      <dgm:prSet presAssocID="{11C854FB-4807-4191-A106-FCE0853A2737}" presName="rootText" presStyleLbl="node2" presStyleIdx="3" presStyleCnt="4">
        <dgm:presLayoutVars>
          <dgm:chPref val="3"/>
        </dgm:presLayoutVars>
      </dgm:prSet>
      <dgm:spPr/>
    </dgm:pt>
    <dgm:pt modelId="{0B06F98C-C427-494C-A0A1-C26D1053C203}" type="pres">
      <dgm:prSet presAssocID="{11C854FB-4807-4191-A106-FCE0853A2737}" presName="rootConnector" presStyleLbl="node2" presStyleIdx="3" presStyleCnt="4"/>
      <dgm:spPr/>
    </dgm:pt>
    <dgm:pt modelId="{6325D762-2604-42FB-A526-0F0EE7A46B07}" type="pres">
      <dgm:prSet presAssocID="{11C854FB-4807-4191-A106-FCE0853A2737}" presName="hierChild4" presStyleCnt="0"/>
      <dgm:spPr/>
    </dgm:pt>
    <dgm:pt modelId="{335F8B26-6C68-450B-9CDE-CF305CB6D2F4}" type="pres">
      <dgm:prSet presAssocID="{11C854FB-4807-4191-A106-FCE0853A2737}" presName="hierChild5" presStyleCnt="0"/>
      <dgm:spPr/>
    </dgm:pt>
    <dgm:pt modelId="{BB1C3144-AF76-4C1A-AC16-5745FE3D6FF4}" type="pres">
      <dgm:prSet presAssocID="{8A0FDD62-5ACB-4363-8100-7921DB27FED9}" presName="hierChild3" presStyleCnt="0"/>
      <dgm:spPr/>
    </dgm:pt>
    <dgm:pt modelId="{E18B88DC-BC5B-4269-8303-2816E8A33297}" type="pres">
      <dgm:prSet presAssocID="{D09E3D4F-1D7D-42D1-986A-2D072940B2CA}" presName="hierRoot1" presStyleCnt="0">
        <dgm:presLayoutVars>
          <dgm:hierBranch val="init"/>
        </dgm:presLayoutVars>
      </dgm:prSet>
      <dgm:spPr/>
    </dgm:pt>
    <dgm:pt modelId="{7E1EFAEC-C6C5-4489-9136-BD7B0956B289}" type="pres">
      <dgm:prSet presAssocID="{D09E3D4F-1D7D-42D1-986A-2D072940B2CA}" presName="rootComposite1" presStyleCnt="0"/>
      <dgm:spPr/>
    </dgm:pt>
    <dgm:pt modelId="{8F43BE6E-166A-4736-B495-0F0C5F9C5A94}" type="pres">
      <dgm:prSet presAssocID="{D09E3D4F-1D7D-42D1-986A-2D072940B2CA}" presName="rootText1" presStyleLbl="node0" presStyleIdx="1" presStyleCnt="2" custScaleX="220215">
        <dgm:presLayoutVars>
          <dgm:chPref val="3"/>
        </dgm:presLayoutVars>
      </dgm:prSet>
      <dgm:spPr/>
    </dgm:pt>
    <dgm:pt modelId="{65E7425D-55D2-4A95-85AE-4170C0981629}" type="pres">
      <dgm:prSet presAssocID="{D09E3D4F-1D7D-42D1-986A-2D072940B2CA}" presName="rootConnector1" presStyleLbl="node1" presStyleIdx="0" presStyleCnt="0"/>
      <dgm:spPr/>
    </dgm:pt>
    <dgm:pt modelId="{0A91E4F6-AD54-49CF-9C53-9262E286DF5E}" type="pres">
      <dgm:prSet presAssocID="{D09E3D4F-1D7D-42D1-986A-2D072940B2CA}" presName="hierChild2" presStyleCnt="0"/>
      <dgm:spPr/>
    </dgm:pt>
    <dgm:pt modelId="{3AA06DB7-3CF2-4B80-A567-B41E54DCF106}" type="pres">
      <dgm:prSet presAssocID="{D09E3D4F-1D7D-42D1-986A-2D072940B2CA}" presName="hierChild3" presStyleCnt="0"/>
      <dgm:spPr/>
    </dgm:pt>
  </dgm:ptLst>
  <dgm:cxnLst>
    <dgm:cxn modelId="{64557A04-F32A-4FDF-8F5A-BE8516AA6E01}" type="presOf" srcId="{3594EC1A-C28A-40E2-9BA9-E7D01DC610A7}" destId="{6B0F7A21-8A71-4319-AC2E-D81074B65CBC}" srcOrd="0" destOrd="0" presId="urn:microsoft.com/office/officeart/2009/3/layout/HorizontalOrganizationChart"/>
    <dgm:cxn modelId="{FFCB8E0E-83EF-4599-BF13-C986EE976DEB}" srcId="{C14FF3FB-789E-4041-BAA4-8A5D3EF74394}" destId="{8A0FDD62-5ACB-4363-8100-7921DB27FED9}" srcOrd="0" destOrd="0" parTransId="{2E0A18BD-4B57-45A2-B599-17A5236A0DBA}" sibTransId="{95404541-6FCE-499D-B544-6283CA283D12}"/>
    <dgm:cxn modelId="{ED4D9E10-416E-403E-ADBA-09BE16C63D8D}" srcId="{8A0FDD62-5ACB-4363-8100-7921DB27FED9}" destId="{B487FD67-7267-482B-A536-C6D808E96D9C}" srcOrd="1" destOrd="0" parTransId="{445E6ECC-BB0F-4772-A31E-5A2DA500E851}" sibTransId="{4EA9E5A2-9B4B-4D3F-A6ED-250E73837D57}"/>
    <dgm:cxn modelId="{634DAF19-D7E1-4A13-AAE1-0DE3F1B14538}" type="presOf" srcId="{11C854FB-4807-4191-A106-FCE0853A2737}" destId="{B3171B48-87B5-412F-8372-E3F8BFD01636}" srcOrd="0" destOrd="0" presId="urn:microsoft.com/office/officeart/2009/3/layout/HorizontalOrganizationChart"/>
    <dgm:cxn modelId="{E8A0B528-C4D8-4C91-A789-0A0697D95969}" type="presOf" srcId="{11C854FB-4807-4191-A106-FCE0853A2737}" destId="{0B06F98C-C427-494C-A0A1-C26D1053C203}" srcOrd="1" destOrd="0" presId="urn:microsoft.com/office/officeart/2009/3/layout/HorizontalOrganizationChart"/>
    <dgm:cxn modelId="{F4ABB83C-24C7-4711-A232-B64194FD2448}" type="presOf" srcId="{FE1183B8-299D-4DAE-9761-D4155ED0D626}" destId="{C5E9805B-8734-43E5-87A9-3E4EDE6400A1}" srcOrd="0" destOrd="0" presId="urn:microsoft.com/office/officeart/2009/3/layout/HorizontalOrganizationChart"/>
    <dgm:cxn modelId="{27204B5F-1CC0-471D-A850-D419F147704F}" type="presOf" srcId="{D412B182-939A-4C07-BDA5-CE5C07BC0B2D}" destId="{77BD919E-47EC-450F-A587-C259C150CD11}" srcOrd="0" destOrd="0" presId="urn:microsoft.com/office/officeart/2009/3/layout/HorizontalOrganizationChart"/>
    <dgm:cxn modelId="{500DA64C-B97D-468B-8458-53084E7E3F40}" type="presOf" srcId="{500687D9-0065-48BF-95F4-F2E85DEA36C5}" destId="{0240BFF0-FF4F-4C09-943F-D38D8171ED95}" srcOrd="1" destOrd="0" presId="urn:microsoft.com/office/officeart/2009/3/layout/HorizontalOrganizationChart"/>
    <dgm:cxn modelId="{418DDD72-5F93-4278-B9A7-B366FC5F831B}" type="presOf" srcId="{D09E3D4F-1D7D-42D1-986A-2D072940B2CA}" destId="{65E7425D-55D2-4A95-85AE-4170C0981629}" srcOrd="1" destOrd="0" presId="urn:microsoft.com/office/officeart/2009/3/layout/HorizontalOrganizationChart"/>
    <dgm:cxn modelId="{37169C73-803B-4B53-8056-7D86DF425149}" type="presOf" srcId="{D09E3D4F-1D7D-42D1-986A-2D072940B2CA}" destId="{8F43BE6E-166A-4736-B495-0F0C5F9C5A94}" srcOrd="0" destOrd="0" presId="urn:microsoft.com/office/officeart/2009/3/layout/HorizontalOrganizationChart"/>
    <dgm:cxn modelId="{80630C54-088D-44D6-B58F-EEFCC41260FB}" type="presOf" srcId="{B487FD67-7267-482B-A536-C6D808E96D9C}" destId="{A4C68761-9E3E-4D68-B6DB-BA502EBD0C16}" srcOrd="1" destOrd="0" presId="urn:microsoft.com/office/officeart/2009/3/layout/HorizontalOrganizationChart"/>
    <dgm:cxn modelId="{DAB9C179-CF84-4B9B-A240-A23B5E2EABF7}" type="presOf" srcId="{9C224AA8-5D6D-439F-A5FF-D80F3FA166E4}" destId="{E545B4FB-CAAE-4F67-8274-077F8989871C}" srcOrd="1" destOrd="0" presId="urn:microsoft.com/office/officeart/2009/3/layout/HorizontalOrganizationChart"/>
    <dgm:cxn modelId="{3A4A7F7C-3773-44AD-831D-2EEC340A03E6}" type="presOf" srcId="{C14FF3FB-789E-4041-BAA4-8A5D3EF74394}" destId="{6DAD5AF5-2F6C-40CF-B4A4-4535DCB1DE5D}" srcOrd="0" destOrd="0" presId="urn:microsoft.com/office/officeart/2009/3/layout/HorizontalOrganizationChart"/>
    <dgm:cxn modelId="{B5728EA7-77BF-4A44-8D43-F6E7F6B898D8}" type="presOf" srcId="{500687D9-0065-48BF-95F4-F2E85DEA36C5}" destId="{69E3A919-74FB-480D-BB89-D9BE39E399E7}" srcOrd="0" destOrd="0" presId="urn:microsoft.com/office/officeart/2009/3/layout/HorizontalOrganizationChart"/>
    <dgm:cxn modelId="{2AB946AA-81B9-471D-9447-2C92C3DA6716}" type="presOf" srcId="{8A0FDD62-5ACB-4363-8100-7921DB27FED9}" destId="{4C951630-26BE-4FC2-B02A-6EABC31BCC02}" srcOrd="1" destOrd="0" presId="urn:microsoft.com/office/officeart/2009/3/layout/HorizontalOrganizationChart"/>
    <dgm:cxn modelId="{9CB71FB1-4091-4499-A694-E01ECE5458BA}" type="presOf" srcId="{8A0FDD62-5ACB-4363-8100-7921DB27FED9}" destId="{9243952B-3833-4F9A-A71B-0A59EE8FED19}" srcOrd="0" destOrd="0" presId="urn:microsoft.com/office/officeart/2009/3/layout/HorizontalOrganizationChart"/>
    <dgm:cxn modelId="{CD1619B7-958E-47B2-80DA-28F385F85BF6}" type="presOf" srcId="{B487FD67-7267-482B-A536-C6D808E96D9C}" destId="{5F10370A-A9DD-44D6-A47F-F058C24F9C2F}" srcOrd="0" destOrd="0" presId="urn:microsoft.com/office/officeart/2009/3/layout/HorizontalOrganizationChart"/>
    <dgm:cxn modelId="{17A8E6CF-3A06-437C-8D91-FCA2757CAFE6}" srcId="{8A0FDD62-5ACB-4363-8100-7921DB27FED9}" destId="{11C854FB-4807-4191-A106-FCE0853A2737}" srcOrd="3" destOrd="0" parTransId="{3594EC1A-C28A-40E2-9BA9-E7D01DC610A7}" sibTransId="{0B6FC9C1-497E-44B2-BA05-986DBD9831AA}"/>
    <dgm:cxn modelId="{471993E1-B340-4A72-921B-81101BD0227A}" type="presOf" srcId="{9C224AA8-5D6D-439F-A5FF-D80F3FA166E4}" destId="{F6C5896B-E465-4949-89C8-FE4B715A7AA6}" srcOrd="0" destOrd="0" presId="urn:microsoft.com/office/officeart/2009/3/layout/HorizontalOrganizationChart"/>
    <dgm:cxn modelId="{498BAEE2-7893-4D7B-95CC-F1C754C0CACB}" srcId="{C14FF3FB-789E-4041-BAA4-8A5D3EF74394}" destId="{D09E3D4F-1D7D-42D1-986A-2D072940B2CA}" srcOrd="1" destOrd="0" parTransId="{68ACF64D-A3E1-46BE-A0F8-EACFA27593B4}" sibTransId="{086D19BD-9679-4E1D-AB18-9C674F65C6F7}"/>
    <dgm:cxn modelId="{D1621CEF-9F93-4C79-B39F-CBA1E394B3B0}" type="presOf" srcId="{445E6ECC-BB0F-4772-A31E-5A2DA500E851}" destId="{072208BE-F468-4D92-91D9-C7A5020A5858}" srcOrd="0" destOrd="0" presId="urn:microsoft.com/office/officeart/2009/3/layout/HorizontalOrganizationChart"/>
    <dgm:cxn modelId="{E02BB2F0-87BB-483B-91A1-E7038189B78B}" srcId="{8A0FDD62-5ACB-4363-8100-7921DB27FED9}" destId="{9C224AA8-5D6D-439F-A5FF-D80F3FA166E4}" srcOrd="0" destOrd="0" parTransId="{FE1183B8-299D-4DAE-9761-D4155ED0D626}" sibTransId="{46ECC135-E1CD-4BA3-940E-260EB4B089CC}"/>
    <dgm:cxn modelId="{0BF568F5-7425-40FA-80D4-6CBF2F552140}" srcId="{8A0FDD62-5ACB-4363-8100-7921DB27FED9}" destId="{500687D9-0065-48BF-95F4-F2E85DEA36C5}" srcOrd="2" destOrd="0" parTransId="{D412B182-939A-4C07-BDA5-CE5C07BC0B2D}" sibTransId="{39DE803B-29D9-4A2A-A870-BF905220132E}"/>
    <dgm:cxn modelId="{1BBA2148-F184-41BE-A4AA-FF4AE6E11402}" type="presParOf" srcId="{6DAD5AF5-2F6C-40CF-B4A4-4535DCB1DE5D}" destId="{9E669CAF-C666-4968-9C8A-A75CD735112E}" srcOrd="0" destOrd="0" presId="urn:microsoft.com/office/officeart/2009/3/layout/HorizontalOrganizationChart"/>
    <dgm:cxn modelId="{CD4A52A8-BB30-46B1-A09C-FA3E5962EAC3}" type="presParOf" srcId="{9E669CAF-C666-4968-9C8A-A75CD735112E}" destId="{C9310B4B-0140-4156-88BB-BB8B405BA2F6}" srcOrd="0" destOrd="0" presId="urn:microsoft.com/office/officeart/2009/3/layout/HorizontalOrganizationChart"/>
    <dgm:cxn modelId="{00FEEC05-1D06-4F50-9D37-E227647C0275}" type="presParOf" srcId="{C9310B4B-0140-4156-88BB-BB8B405BA2F6}" destId="{9243952B-3833-4F9A-A71B-0A59EE8FED19}" srcOrd="0" destOrd="0" presId="urn:microsoft.com/office/officeart/2009/3/layout/HorizontalOrganizationChart"/>
    <dgm:cxn modelId="{61330E62-BE84-4CF8-B87D-76F69F8989F7}" type="presParOf" srcId="{C9310B4B-0140-4156-88BB-BB8B405BA2F6}" destId="{4C951630-26BE-4FC2-B02A-6EABC31BCC02}" srcOrd="1" destOrd="0" presId="urn:microsoft.com/office/officeart/2009/3/layout/HorizontalOrganizationChart"/>
    <dgm:cxn modelId="{2CE91F4A-E069-4DC6-AEE5-7A68566C91BE}" type="presParOf" srcId="{9E669CAF-C666-4968-9C8A-A75CD735112E}" destId="{A9CBB20B-D2FF-462D-8365-7D562044133A}" srcOrd="1" destOrd="0" presId="urn:microsoft.com/office/officeart/2009/3/layout/HorizontalOrganizationChart"/>
    <dgm:cxn modelId="{38FD33C2-E9ED-421A-AB97-66306F9C9EA4}" type="presParOf" srcId="{A9CBB20B-D2FF-462D-8365-7D562044133A}" destId="{C5E9805B-8734-43E5-87A9-3E4EDE6400A1}" srcOrd="0" destOrd="0" presId="urn:microsoft.com/office/officeart/2009/3/layout/HorizontalOrganizationChart"/>
    <dgm:cxn modelId="{AB331918-CE8E-4BD5-8F39-5A78E4F37DF3}" type="presParOf" srcId="{A9CBB20B-D2FF-462D-8365-7D562044133A}" destId="{59D565F5-CF79-4EC0-B001-75692E0C55A5}" srcOrd="1" destOrd="0" presId="urn:microsoft.com/office/officeart/2009/3/layout/HorizontalOrganizationChart"/>
    <dgm:cxn modelId="{C0A68D2F-44EF-4A10-AB34-46A774F23A22}" type="presParOf" srcId="{59D565F5-CF79-4EC0-B001-75692E0C55A5}" destId="{FD1AFDEF-415B-41D7-A2B3-18097AE78CD0}" srcOrd="0" destOrd="0" presId="urn:microsoft.com/office/officeart/2009/3/layout/HorizontalOrganizationChart"/>
    <dgm:cxn modelId="{C91D4CE7-12AC-4F90-9AFD-D0BE248578DB}" type="presParOf" srcId="{FD1AFDEF-415B-41D7-A2B3-18097AE78CD0}" destId="{F6C5896B-E465-4949-89C8-FE4B715A7AA6}" srcOrd="0" destOrd="0" presId="urn:microsoft.com/office/officeart/2009/3/layout/HorizontalOrganizationChart"/>
    <dgm:cxn modelId="{7D5BFA1F-51B3-46A7-B782-3C218484186E}" type="presParOf" srcId="{FD1AFDEF-415B-41D7-A2B3-18097AE78CD0}" destId="{E545B4FB-CAAE-4F67-8274-077F8989871C}" srcOrd="1" destOrd="0" presId="urn:microsoft.com/office/officeart/2009/3/layout/HorizontalOrganizationChart"/>
    <dgm:cxn modelId="{2DDC45EE-5C4F-471D-B9E6-165EED17ADD7}" type="presParOf" srcId="{59D565F5-CF79-4EC0-B001-75692E0C55A5}" destId="{12A0EF90-D8EB-4D76-A8C2-74FEB5F363FC}" srcOrd="1" destOrd="0" presId="urn:microsoft.com/office/officeart/2009/3/layout/HorizontalOrganizationChart"/>
    <dgm:cxn modelId="{DF3D3A8F-F7E9-4699-A141-CF0E8EA8347E}" type="presParOf" srcId="{59D565F5-CF79-4EC0-B001-75692E0C55A5}" destId="{945B86D7-60E4-41FF-9E22-41E01EACAF57}" srcOrd="2" destOrd="0" presId="urn:microsoft.com/office/officeart/2009/3/layout/HorizontalOrganizationChart"/>
    <dgm:cxn modelId="{41B646CF-43D0-49A0-90B8-A4F42031BB89}" type="presParOf" srcId="{A9CBB20B-D2FF-462D-8365-7D562044133A}" destId="{072208BE-F468-4D92-91D9-C7A5020A5858}" srcOrd="2" destOrd="0" presId="urn:microsoft.com/office/officeart/2009/3/layout/HorizontalOrganizationChart"/>
    <dgm:cxn modelId="{A525406A-0F7B-4113-BEE8-B56386FF1682}" type="presParOf" srcId="{A9CBB20B-D2FF-462D-8365-7D562044133A}" destId="{FE4E211E-805E-4926-9B50-E069108CDC74}" srcOrd="3" destOrd="0" presId="urn:microsoft.com/office/officeart/2009/3/layout/HorizontalOrganizationChart"/>
    <dgm:cxn modelId="{5637D8A9-C7D1-432E-98EE-DF47A1B8E581}" type="presParOf" srcId="{FE4E211E-805E-4926-9B50-E069108CDC74}" destId="{05677B27-E7DD-4A6A-ACAA-B9350D6719BF}" srcOrd="0" destOrd="0" presId="urn:microsoft.com/office/officeart/2009/3/layout/HorizontalOrganizationChart"/>
    <dgm:cxn modelId="{4A5E9A7E-9FD9-4D5B-AB44-6F1DD2825AA4}" type="presParOf" srcId="{05677B27-E7DD-4A6A-ACAA-B9350D6719BF}" destId="{5F10370A-A9DD-44D6-A47F-F058C24F9C2F}" srcOrd="0" destOrd="0" presId="urn:microsoft.com/office/officeart/2009/3/layout/HorizontalOrganizationChart"/>
    <dgm:cxn modelId="{F57B5992-1D67-429B-BF9B-6D8B841EF545}" type="presParOf" srcId="{05677B27-E7DD-4A6A-ACAA-B9350D6719BF}" destId="{A4C68761-9E3E-4D68-B6DB-BA502EBD0C16}" srcOrd="1" destOrd="0" presId="urn:microsoft.com/office/officeart/2009/3/layout/HorizontalOrganizationChart"/>
    <dgm:cxn modelId="{66B15C5B-023A-43A1-8EB0-F8A6B75F74D8}" type="presParOf" srcId="{FE4E211E-805E-4926-9B50-E069108CDC74}" destId="{0C5EFA30-BCFC-439E-B1F2-B68DB79AC200}" srcOrd="1" destOrd="0" presId="urn:microsoft.com/office/officeart/2009/3/layout/HorizontalOrganizationChart"/>
    <dgm:cxn modelId="{B947C541-9009-4D98-9547-EE14F5D16A10}" type="presParOf" srcId="{FE4E211E-805E-4926-9B50-E069108CDC74}" destId="{FE114DFA-BA97-40C0-9265-F7C1E69247D0}" srcOrd="2" destOrd="0" presId="urn:microsoft.com/office/officeart/2009/3/layout/HorizontalOrganizationChart"/>
    <dgm:cxn modelId="{883BE747-5EEB-4CB5-BE31-553541FA473A}" type="presParOf" srcId="{A9CBB20B-D2FF-462D-8365-7D562044133A}" destId="{77BD919E-47EC-450F-A587-C259C150CD11}" srcOrd="4" destOrd="0" presId="urn:microsoft.com/office/officeart/2009/3/layout/HorizontalOrganizationChart"/>
    <dgm:cxn modelId="{2D9EC5A3-2D8B-4BE9-9EF4-930B6B75C677}" type="presParOf" srcId="{A9CBB20B-D2FF-462D-8365-7D562044133A}" destId="{A461B146-54EF-4F15-AA9B-3B2A6B85524B}" srcOrd="5" destOrd="0" presId="urn:microsoft.com/office/officeart/2009/3/layout/HorizontalOrganizationChart"/>
    <dgm:cxn modelId="{99CF503B-EF2E-4958-B5CF-5B8059B0AFF9}" type="presParOf" srcId="{A461B146-54EF-4F15-AA9B-3B2A6B85524B}" destId="{48659850-4E23-4CE8-B3E4-25DB10213B00}" srcOrd="0" destOrd="0" presId="urn:microsoft.com/office/officeart/2009/3/layout/HorizontalOrganizationChart"/>
    <dgm:cxn modelId="{09A0D2CE-E99C-4000-A62A-939A19CB1956}" type="presParOf" srcId="{48659850-4E23-4CE8-B3E4-25DB10213B00}" destId="{69E3A919-74FB-480D-BB89-D9BE39E399E7}" srcOrd="0" destOrd="0" presId="urn:microsoft.com/office/officeart/2009/3/layout/HorizontalOrganizationChart"/>
    <dgm:cxn modelId="{983D0D3C-0BB9-4D1F-AF50-69B826F86D59}" type="presParOf" srcId="{48659850-4E23-4CE8-B3E4-25DB10213B00}" destId="{0240BFF0-FF4F-4C09-943F-D38D8171ED95}" srcOrd="1" destOrd="0" presId="urn:microsoft.com/office/officeart/2009/3/layout/HorizontalOrganizationChart"/>
    <dgm:cxn modelId="{EAA1FA69-59EA-452A-9A14-543F218D4AAD}" type="presParOf" srcId="{A461B146-54EF-4F15-AA9B-3B2A6B85524B}" destId="{0B9A7443-4860-4A0A-A343-BC94640D77DB}" srcOrd="1" destOrd="0" presId="urn:microsoft.com/office/officeart/2009/3/layout/HorizontalOrganizationChart"/>
    <dgm:cxn modelId="{61D964A9-B53E-4B0B-A159-747F1F3508E5}" type="presParOf" srcId="{A461B146-54EF-4F15-AA9B-3B2A6B85524B}" destId="{EE55C356-ECC5-49DC-82E3-FBD0AC214CCA}" srcOrd="2" destOrd="0" presId="urn:microsoft.com/office/officeart/2009/3/layout/HorizontalOrganizationChart"/>
    <dgm:cxn modelId="{5608B8D6-A8F3-4E76-B41E-395586BFE99F}" type="presParOf" srcId="{A9CBB20B-D2FF-462D-8365-7D562044133A}" destId="{6B0F7A21-8A71-4319-AC2E-D81074B65CBC}" srcOrd="6" destOrd="0" presId="urn:microsoft.com/office/officeart/2009/3/layout/HorizontalOrganizationChart"/>
    <dgm:cxn modelId="{C84EB760-A297-40B1-855F-17038CB88F54}" type="presParOf" srcId="{A9CBB20B-D2FF-462D-8365-7D562044133A}" destId="{9A318E4F-E2D8-4796-BA44-A1238E956757}" srcOrd="7" destOrd="0" presId="urn:microsoft.com/office/officeart/2009/3/layout/HorizontalOrganizationChart"/>
    <dgm:cxn modelId="{108DC13D-B7B4-4DB8-9A37-304BD9FD15FE}" type="presParOf" srcId="{9A318E4F-E2D8-4796-BA44-A1238E956757}" destId="{80AC5910-FBB1-45A9-ACC3-F8050A7CCCD1}" srcOrd="0" destOrd="0" presId="urn:microsoft.com/office/officeart/2009/3/layout/HorizontalOrganizationChart"/>
    <dgm:cxn modelId="{9379DFA1-2ACB-4931-A5A3-0041775C2394}" type="presParOf" srcId="{80AC5910-FBB1-45A9-ACC3-F8050A7CCCD1}" destId="{B3171B48-87B5-412F-8372-E3F8BFD01636}" srcOrd="0" destOrd="0" presId="urn:microsoft.com/office/officeart/2009/3/layout/HorizontalOrganizationChart"/>
    <dgm:cxn modelId="{B8D12E00-A2B2-47FC-819B-72511051FC14}" type="presParOf" srcId="{80AC5910-FBB1-45A9-ACC3-F8050A7CCCD1}" destId="{0B06F98C-C427-494C-A0A1-C26D1053C203}" srcOrd="1" destOrd="0" presId="urn:microsoft.com/office/officeart/2009/3/layout/HorizontalOrganizationChart"/>
    <dgm:cxn modelId="{CBD3CA40-F1B2-48B9-B1F2-D73874ED0A11}" type="presParOf" srcId="{9A318E4F-E2D8-4796-BA44-A1238E956757}" destId="{6325D762-2604-42FB-A526-0F0EE7A46B07}" srcOrd="1" destOrd="0" presId="urn:microsoft.com/office/officeart/2009/3/layout/HorizontalOrganizationChart"/>
    <dgm:cxn modelId="{9138CD50-545A-4C75-8CEE-81298912B487}" type="presParOf" srcId="{9A318E4F-E2D8-4796-BA44-A1238E956757}" destId="{335F8B26-6C68-450B-9CDE-CF305CB6D2F4}" srcOrd="2" destOrd="0" presId="urn:microsoft.com/office/officeart/2009/3/layout/HorizontalOrganizationChart"/>
    <dgm:cxn modelId="{2EEB8B91-47BD-4CBB-BF41-68D9D0249310}" type="presParOf" srcId="{9E669CAF-C666-4968-9C8A-A75CD735112E}" destId="{BB1C3144-AF76-4C1A-AC16-5745FE3D6FF4}" srcOrd="2" destOrd="0" presId="urn:microsoft.com/office/officeart/2009/3/layout/HorizontalOrganizationChart"/>
    <dgm:cxn modelId="{955AEF40-4F3F-4537-AF01-8943C55F9F46}" type="presParOf" srcId="{6DAD5AF5-2F6C-40CF-B4A4-4535DCB1DE5D}" destId="{E18B88DC-BC5B-4269-8303-2816E8A33297}" srcOrd="1" destOrd="0" presId="urn:microsoft.com/office/officeart/2009/3/layout/HorizontalOrganizationChart"/>
    <dgm:cxn modelId="{E2C7FD41-5A95-4129-949B-E52C827BCFEE}" type="presParOf" srcId="{E18B88DC-BC5B-4269-8303-2816E8A33297}" destId="{7E1EFAEC-C6C5-4489-9136-BD7B0956B289}" srcOrd="0" destOrd="0" presId="urn:microsoft.com/office/officeart/2009/3/layout/HorizontalOrganizationChart"/>
    <dgm:cxn modelId="{BEDF551C-3DAF-4BD3-8D74-32D5C90B7E44}" type="presParOf" srcId="{7E1EFAEC-C6C5-4489-9136-BD7B0956B289}" destId="{8F43BE6E-166A-4736-B495-0F0C5F9C5A94}" srcOrd="0" destOrd="0" presId="urn:microsoft.com/office/officeart/2009/3/layout/HorizontalOrganizationChart"/>
    <dgm:cxn modelId="{3AF3451C-B360-45D9-87AD-F22BD0B2F8A0}" type="presParOf" srcId="{7E1EFAEC-C6C5-4489-9136-BD7B0956B289}" destId="{65E7425D-55D2-4A95-85AE-4170C0981629}" srcOrd="1" destOrd="0" presId="urn:microsoft.com/office/officeart/2009/3/layout/HorizontalOrganizationChart"/>
    <dgm:cxn modelId="{84F8506D-BB3A-45DD-A804-FF6EF4A34DF4}" type="presParOf" srcId="{E18B88DC-BC5B-4269-8303-2816E8A33297}" destId="{0A91E4F6-AD54-49CF-9C53-9262E286DF5E}" srcOrd="1" destOrd="0" presId="urn:microsoft.com/office/officeart/2009/3/layout/HorizontalOrganizationChart"/>
    <dgm:cxn modelId="{3777CB0E-6951-496D-ABF3-8AE7E90A2F0F}" type="presParOf" srcId="{E18B88DC-BC5B-4269-8303-2816E8A33297}" destId="{3AA06DB7-3CF2-4B80-A567-B41E54DCF106}" srcOrd="2" destOrd="0" presId="urn:microsoft.com/office/officeart/2009/3/layout/HorizontalOrganizationChart"/>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14FF3FB-789E-4041-BAA4-8A5D3EF74394}" type="doc">
      <dgm:prSet loTypeId="urn:microsoft.com/office/officeart/2009/3/layout/HorizontalOrganizationChart" loCatId="hierarchy" qsTypeId="urn:microsoft.com/office/officeart/2005/8/quickstyle/simple1" qsCatId="simple" csTypeId="urn:microsoft.com/office/officeart/2005/8/colors/accent1_2" csCatId="accent1" phldr="1"/>
      <dgm:spPr/>
      <dgm:t>
        <a:bodyPr/>
        <a:lstStyle/>
        <a:p>
          <a:endParaRPr lang="en-US"/>
        </a:p>
      </dgm:t>
    </dgm:pt>
    <dgm:pt modelId="{8A0FDD62-5ACB-4363-8100-7921DB27FED9}">
      <dgm:prSet phldrT="[Text]" custT="1"/>
      <dgm:spPr>
        <a:solidFill>
          <a:schemeClr val="accent6"/>
        </a:solidFill>
      </dgm:spPr>
      <dgm:t>
        <a:bodyPr/>
        <a:lstStyle/>
        <a:p>
          <a:r>
            <a:rPr lang="en-US" sz="1800" dirty="0"/>
            <a:t>Recycling</a:t>
          </a:r>
        </a:p>
      </dgm:t>
    </dgm:pt>
    <dgm:pt modelId="{2E0A18BD-4B57-45A2-B599-17A5236A0DBA}" type="parTrans" cxnId="{FFCB8E0E-83EF-4599-BF13-C986EE976DEB}">
      <dgm:prSet/>
      <dgm:spPr/>
      <dgm:t>
        <a:bodyPr/>
        <a:lstStyle/>
        <a:p>
          <a:endParaRPr lang="en-US" sz="1800"/>
        </a:p>
      </dgm:t>
    </dgm:pt>
    <dgm:pt modelId="{95404541-6FCE-499D-B544-6283CA283D12}" type="sibTrans" cxnId="{FFCB8E0E-83EF-4599-BF13-C986EE976DEB}">
      <dgm:prSet/>
      <dgm:spPr/>
      <dgm:t>
        <a:bodyPr/>
        <a:lstStyle/>
        <a:p>
          <a:endParaRPr lang="en-US" sz="1800"/>
        </a:p>
      </dgm:t>
    </dgm:pt>
    <dgm:pt modelId="{9C224AA8-5D6D-439F-A5FF-D80F3FA166E4}">
      <dgm:prSet phldrT="[Text]" custT="1"/>
      <dgm:spPr>
        <a:solidFill>
          <a:schemeClr val="accent6"/>
        </a:solidFill>
      </dgm:spPr>
      <dgm:t>
        <a:bodyPr/>
        <a:lstStyle/>
        <a:p>
          <a:r>
            <a:rPr lang="en-US" sz="1800" dirty="0"/>
            <a:t>Class I</a:t>
          </a:r>
        </a:p>
      </dgm:t>
    </dgm:pt>
    <dgm:pt modelId="{FE1183B8-299D-4DAE-9761-D4155ED0D626}" type="parTrans" cxnId="{E02BB2F0-87BB-483B-91A1-E7038189B78B}">
      <dgm:prSet/>
      <dgm:spPr/>
      <dgm:t>
        <a:bodyPr/>
        <a:lstStyle/>
        <a:p>
          <a:endParaRPr lang="en-US" sz="1800"/>
        </a:p>
      </dgm:t>
    </dgm:pt>
    <dgm:pt modelId="{46ECC135-E1CD-4BA3-940E-260EB4B089CC}" type="sibTrans" cxnId="{E02BB2F0-87BB-483B-91A1-E7038189B78B}">
      <dgm:prSet/>
      <dgm:spPr/>
      <dgm:t>
        <a:bodyPr/>
        <a:lstStyle/>
        <a:p>
          <a:endParaRPr lang="en-US" sz="1800"/>
        </a:p>
      </dgm:t>
    </dgm:pt>
    <dgm:pt modelId="{D09E3D4F-1D7D-42D1-986A-2D072940B2CA}">
      <dgm:prSet phldrT="[Text]" custT="1"/>
      <dgm:spPr>
        <a:solidFill>
          <a:schemeClr val="accent6"/>
        </a:solidFill>
      </dgm:spPr>
      <dgm:t>
        <a:bodyPr/>
        <a:lstStyle/>
        <a:p>
          <a:r>
            <a:rPr lang="en-US" sz="1800" dirty="0"/>
            <a:t>Organics Processing</a:t>
          </a:r>
        </a:p>
      </dgm:t>
    </dgm:pt>
    <dgm:pt modelId="{68ACF64D-A3E1-46BE-A0F8-EACFA27593B4}" type="parTrans" cxnId="{498BAEE2-7893-4D7B-95CC-F1C754C0CACB}">
      <dgm:prSet/>
      <dgm:spPr/>
      <dgm:t>
        <a:bodyPr/>
        <a:lstStyle/>
        <a:p>
          <a:endParaRPr lang="en-US" sz="1800"/>
        </a:p>
      </dgm:t>
    </dgm:pt>
    <dgm:pt modelId="{086D19BD-9679-4E1D-AB18-9C674F65C6F7}" type="sibTrans" cxnId="{498BAEE2-7893-4D7B-95CC-F1C754C0CACB}">
      <dgm:prSet/>
      <dgm:spPr/>
      <dgm:t>
        <a:bodyPr/>
        <a:lstStyle/>
        <a:p>
          <a:endParaRPr lang="en-US" sz="1800"/>
        </a:p>
      </dgm:t>
    </dgm:pt>
    <dgm:pt modelId="{A63D69D2-ED31-4993-930F-751C45C13CD4}">
      <dgm:prSet phldrT="[Text]" custT="1"/>
      <dgm:spPr>
        <a:solidFill>
          <a:schemeClr val="accent6"/>
        </a:solidFill>
      </dgm:spPr>
      <dgm:t>
        <a:bodyPr/>
        <a:lstStyle/>
        <a:p>
          <a:r>
            <a:rPr lang="en-US" sz="1800" dirty="0"/>
            <a:t>Food Waste &amp; Manure</a:t>
          </a:r>
        </a:p>
      </dgm:t>
    </dgm:pt>
    <dgm:pt modelId="{56CFB6F2-8ADE-4838-A1ED-04DC59B84DF2}" type="parTrans" cxnId="{2DF84CA8-05F6-44B5-B32C-C070F0034577}">
      <dgm:prSet/>
      <dgm:spPr/>
      <dgm:t>
        <a:bodyPr/>
        <a:lstStyle/>
        <a:p>
          <a:endParaRPr lang="en-US" sz="1800"/>
        </a:p>
      </dgm:t>
    </dgm:pt>
    <dgm:pt modelId="{C3A94619-7880-4FE5-9FE3-8CDA03266D62}" type="sibTrans" cxnId="{2DF84CA8-05F6-44B5-B32C-C070F0034577}">
      <dgm:prSet/>
      <dgm:spPr/>
      <dgm:t>
        <a:bodyPr/>
        <a:lstStyle/>
        <a:p>
          <a:endParaRPr lang="en-US" sz="1800"/>
        </a:p>
      </dgm:t>
    </dgm:pt>
    <dgm:pt modelId="{91762AC4-5843-45DA-BD82-07AA1A1B93DC}">
      <dgm:prSet phldrT="[Text]" custT="1"/>
      <dgm:spPr>
        <a:solidFill>
          <a:schemeClr val="accent6"/>
        </a:solidFill>
      </dgm:spPr>
      <dgm:t>
        <a:bodyPr/>
        <a:lstStyle/>
        <a:p>
          <a:r>
            <a:rPr lang="en-US" sz="1800" dirty="0"/>
            <a:t>Yard Trash</a:t>
          </a:r>
        </a:p>
      </dgm:t>
    </dgm:pt>
    <dgm:pt modelId="{44316C2B-8810-4B50-9686-5B8AC20A9943}" type="parTrans" cxnId="{1AAC81B3-3511-4BEE-B020-161368D405A0}">
      <dgm:prSet/>
      <dgm:spPr/>
      <dgm:t>
        <a:bodyPr/>
        <a:lstStyle/>
        <a:p>
          <a:endParaRPr lang="en-US" sz="1800"/>
        </a:p>
      </dgm:t>
    </dgm:pt>
    <dgm:pt modelId="{69F84360-F8FB-4DC2-8AA4-DA39E260F788}" type="sibTrans" cxnId="{1AAC81B3-3511-4BEE-B020-161368D405A0}">
      <dgm:prSet/>
      <dgm:spPr/>
      <dgm:t>
        <a:bodyPr/>
        <a:lstStyle/>
        <a:p>
          <a:endParaRPr lang="en-US" sz="1800"/>
        </a:p>
      </dgm:t>
    </dgm:pt>
    <dgm:pt modelId="{008E733D-A691-43BC-BA5B-9A1FC1EAE70B}">
      <dgm:prSet phldrT="[Text]" custT="1"/>
      <dgm:spPr>
        <a:solidFill>
          <a:schemeClr val="accent6"/>
        </a:solidFill>
      </dgm:spPr>
      <dgm:t>
        <a:bodyPr/>
        <a:lstStyle/>
        <a:p>
          <a:r>
            <a:rPr lang="en-US" sz="1800" dirty="0"/>
            <a:t>Class III/CDD</a:t>
          </a:r>
        </a:p>
      </dgm:t>
    </dgm:pt>
    <dgm:pt modelId="{9B6CE281-A07D-4914-93D2-9572AC8D5A6F}" type="parTrans" cxnId="{AD5298DF-9589-4A56-B320-737BAAF026D5}">
      <dgm:prSet/>
      <dgm:spPr/>
      <dgm:t>
        <a:bodyPr/>
        <a:lstStyle/>
        <a:p>
          <a:endParaRPr lang="en-US" sz="1800"/>
        </a:p>
      </dgm:t>
    </dgm:pt>
    <dgm:pt modelId="{C1D44F35-2DE3-41EF-8668-22EC13345377}" type="sibTrans" cxnId="{AD5298DF-9589-4A56-B320-737BAAF026D5}">
      <dgm:prSet/>
      <dgm:spPr/>
      <dgm:t>
        <a:bodyPr/>
        <a:lstStyle/>
        <a:p>
          <a:endParaRPr lang="en-US" sz="1800"/>
        </a:p>
      </dgm:t>
    </dgm:pt>
    <dgm:pt modelId="{4AF9AEFF-42D1-B740-82E9-C1B79BBA1D1D}">
      <dgm:prSet custT="1"/>
      <dgm:spPr>
        <a:solidFill>
          <a:schemeClr val="accent6"/>
        </a:solidFill>
      </dgm:spPr>
      <dgm:t>
        <a:bodyPr/>
        <a:lstStyle/>
        <a:p>
          <a:r>
            <a:rPr lang="en-US" sz="1800" dirty="0"/>
            <a:t>Used Oil Processing</a:t>
          </a:r>
        </a:p>
      </dgm:t>
    </dgm:pt>
    <dgm:pt modelId="{136DFE82-DD95-9440-99FE-AD1D30173A71}" type="parTrans" cxnId="{DF4C2B5F-7246-F94A-8255-732907A6C824}">
      <dgm:prSet/>
      <dgm:spPr/>
      <dgm:t>
        <a:bodyPr/>
        <a:lstStyle/>
        <a:p>
          <a:endParaRPr lang="en-US" sz="1800"/>
        </a:p>
      </dgm:t>
    </dgm:pt>
    <dgm:pt modelId="{7CA9E5FE-025A-A543-85F9-9D75B8464C49}" type="sibTrans" cxnId="{DF4C2B5F-7246-F94A-8255-732907A6C824}">
      <dgm:prSet/>
      <dgm:spPr/>
      <dgm:t>
        <a:bodyPr/>
        <a:lstStyle/>
        <a:p>
          <a:endParaRPr lang="en-US" sz="1800"/>
        </a:p>
      </dgm:t>
    </dgm:pt>
    <dgm:pt modelId="{99A6F7B8-F459-C049-8C11-CCDD7B940BE5}">
      <dgm:prSet custT="1"/>
      <dgm:spPr>
        <a:solidFill>
          <a:schemeClr val="accent6"/>
        </a:solidFill>
      </dgm:spPr>
      <dgm:t>
        <a:bodyPr/>
        <a:lstStyle/>
        <a:p>
          <a:r>
            <a:rPr lang="en-US" sz="1800" dirty="0"/>
            <a:t>Anaerobic Digestion</a:t>
          </a:r>
        </a:p>
      </dgm:t>
    </dgm:pt>
    <dgm:pt modelId="{4CE8A549-566D-4C42-A09F-87E406049175}" type="parTrans" cxnId="{F63E21A2-8CCE-FA46-BC05-575C278D6DE2}">
      <dgm:prSet/>
      <dgm:spPr/>
      <dgm:t>
        <a:bodyPr/>
        <a:lstStyle/>
        <a:p>
          <a:endParaRPr lang="en-US" sz="1800"/>
        </a:p>
      </dgm:t>
    </dgm:pt>
    <dgm:pt modelId="{880CDBBF-3EE3-1049-BA69-72D0330DC069}" type="sibTrans" cxnId="{F63E21A2-8CCE-FA46-BC05-575C278D6DE2}">
      <dgm:prSet/>
      <dgm:spPr/>
      <dgm:t>
        <a:bodyPr/>
        <a:lstStyle/>
        <a:p>
          <a:endParaRPr lang="en-US" sz="1800"/>
        </a:p>
      </dgm:t>
    </dgm:pt>
    <dgm:pt modelId="{4CC743BE-89B2-7B43-BF58-D59F86D8E5AF}">
      <dgm:prSet custT="1"/>
      <dgm:spPr>
        <a:solidFill>
          <a:schemeClr val="accent6"/>
        </a:solidFill>
      </dgm:spPr>
      <dgm:t>
        <a:bodyPr/>
        <a:lstStyle/>
        <a:p>
          <a:r>
            <a:rPr lang="en-US" sz="1800" dirty="0"/>
            <a:t>HHW</a:t>
          </a:r>
        </a:p>
      </dgm:t>
    </dgm:pt>
    <dgm:pt modelId="{6FCB5090-C78A-4A40-B1E1-D95882A618A4}" type="parTrans" cxnId="{005F93D0-0F40-B244-93EB-B7486C7FF021}">
      <dgm:prSet/>
      <dgm:spPr/>
      <dgm:t>
        <a:bodyPr/>
        <a:lstStyle/>
        <a:p>
          <a:endParaRPr lang="en-US" sz="1800"/>
        </a:p>
      </dgm:t>
    </dgm:pt>
    <dgm:pt modelId="{DDD58D91-D3F1-CF45-A967-235059630097}" type="sibTrans" cxnId="{005F93D0-0F40-B244-93EB-B7486C7FF021}">
      <dgm:prSet/>
      <dgm:spPr/>
      <dgm:t>
        <a:bodyPr/>
        <a:lstStyle/>
        <a:p>
          <a:endParaRPr lang="en-US" sz="1800"/>
        </a:p>
      </dgm:t>
    </dgm:pt>
    <dgm:pt modelId="{6DAD5AF5-2F6C-40CF-B4A4-4535DCB1DE5D}" type="pres">
      <dgm:prSet presAssocID="{C14FF3FB-789E-4041-BAA4-8A5D3EF74394}" presName="hierChild1" presStyleCnt="0">
        <dgm:presLayoutVars>
          <dgm:orgChart val="1"/>
          <dgm:chPref val="1"/>
          <dgm:dir/>
          <dgm:animOne val="branch"/>
          <dgm:animLvl val="lvl"/>
          <dgm:resizeHandles/>
        </dgm:presLayoutVars>
      </dgm:prSet>
      <dgm:spPr/>
    </dgm:pt>
    <dgm:pt modelId="{9E669CAF-C666-4968-9C8A-A75CD735112E}" type="pres">
      <dgm:prSet presAssocID="{8A0FDD62-5ACB-4363-8100-7921DB27FED9}" presName="hierRoot1" presStyleCnt="0">
        <dgm:presLayoutVars>
          <dgm:hierBranch val="init"/>
        </dgm:presLayoutVars>
      </dgm:prSet>
      <dgm:spPr/>
    </dgm:pt>
    <dgm:pt modelId="{C9310B4B-0140-4156-88BB-BB8B405BA2F6}" type="pres">
      <dgm:prSet presAssocID="{8A0FDD62-5ACB-4363-8100-7921DB27FED9}" presName="rootComposite1" presStyleCnt="0"/>
      <dgm:spPr/>
    </dgm:pt>
    <dgm:pt modelId="{9243952B-3833-4F9A-A71B-0A59EE8FED19}" type="pres">
      <dgm:prSet presAssocID="{8A0FDD62-5ACB-4363-8100-7921DB27FED9}" presName="rootText1" presStyleLbl="node0" presStyleIdx="0" presStyleCnt="4" custLinFactNeighborX="-108" custLinFactNeighborY="9627">
        <dgm:presLayoutVars>
          <dgm:chPref val="3"/>
        </dgm:presLayoutVars>
      </dgm:prSet>
      <dgm:spPr/>
    </dgm:pt>
    <dgm:pt modelId="{4C951630-26BE-4FC2-B02A-6EABC31BCC02}" type="pres">
      <dgm:prSet presAssocID="{8A0FDD62-5ACB-4363-8100-7921DB27FED9}" presName="rootConnector1" presStyleLbl="node1" presStyleIdx="0" presStyleCnt="0"/>
      <dgm:spPr/>
    </dgm:pt>
    <dgm:pt modelId="{A9CBB20B-D2FF-462D-8365-7D562044133A}" type="pres">
      <dgm:prSet presAssocID="{8A0FDD62-5ACB-4363-8100-7921DB27FED9}" presName="hierChild2" presStyleCnt="0"/>
      <dgm:spPr/>
    </dgm:pt>
    <dgm:pt modelId="{C5E9805B-8734-43E5-87A9-3E4EDE6400A1}" type="pres">
      <dgm:prSet presAssocID="{FE1183B8-299D-4DAE-9761-D4155ED0D626}" presName="Name64" presStyleLbl="parChTrans1D2" presStyleIdx="0" presStyleCnt="5"/>
      <dgm:spPr/>
    </dgm:pt>
    <dgm:pt modelId="{59D565F5-CF79-4EC0-B001-75692E0C55A5}" type="pres">
      <dgm:prSet presAssocID="{9C224AA8-5D6D-439F-A5FF-D80F3FA166E4}" presName="hierRoot2" presStyleCnt="0">
        <dgm:presLayoutVars>
          <dgm:hierBranch val="init"/>
        </dgm:presLayoutVars>
      </dgm:prSet>
      <dgm:spPr/>
    </dgm:pt>
    <dgm:pt modelId="{FD1AFDEF-415B-41D7-A2B3-18097AE78CD0}" type="pres">
      <dgm:prSet presAssocID="{9C224AA8-5D6D-439F-A5FF-D80F3FA166E4}" presName="rootComposite" presStyleCnt="0"/>
      <dgm:spPr/>
    </dgm:pt>
    <dgm:pt modelId="{F6C5896B-E465-4949-89C8-FE4B715A7AA6}" type="pres">
      <dgm:prSet presAssocID="{9C224AA8-5D6D-439F-A5FF-D80F3FA166E4}" presName="rootText" presStyleLbl="node2" presStyleIdx="0" presStyleCnt="5" custLinFactNeighborY="9627">
        <dgm:presLayoutVars>
          <dgm:chPref val="3"/>
        </dgm:presLayoutVars>
      </dgm:prSet>
      <dgm:spPr/>
    </dgm:pt>
    <dgm:pt modelId="{E545B4FB-CAAE-4F67-8274-077F8989871C}" type="pres">
      <dgm:prSet presAssocID="{9C224AA8-5D6D-439F-A5FF-D80F3FA166E4}" presName="rootConnector" presStyleLbl="node2" presStyleIdx="0" presStyleCnt="5"/>
      <dgm:spPr/>
    </dgm:pt>
    <dgm:pt modelId="{12A0EF90-D8EB-4D76-A8C2-74FEB5F363FC}" type="pres">
      <dgm:prSet presAssocID="{9C224AA8-5D6D-439F-A5FF-D80F3FA166E4}" presName="hierChild4" presStyleCnt="0"/>
      <dgm:spPr/>
    </dgm:pt>
    <dgm:pt modelId="{945B86D7-60E4-41FF-9E22-41E01EACAF57}" type="pres">
      <dgm:prSet presAssocID="{9C224AA8-5D6D-439F-A5FF-D80F3FA166E4}" presName="hierChild5" presStyleCnt="0"/>
      <dgm:spPr/>
    </dgm:pt>
    <dgm:pt modelId="{128DFF0E-9219-4A5D-9DC2-F45043BFED9C}" type="pres">
      <dgm:prSet presAssocID="{9B6CE281-A07D-4914-93D2-9572AC8D5A6F}" presName="Name64" presStyleLbl="parChTrans1D2" presStyleIdx="1" presStyleCnt="5"/>
      <dgm:spPr/>
    </dgm:pt>
    <dgm:pt modelId="{FAA8B00E-FFCD-4593-8064-8429CF84817D}" type="pres">
      <dgm:prSet presAssocID="{008E733D-A691-43BC-BA5B-9A1FC1EAE70B}" presName="hierRoot2" presStyleCnt="0">
        <dgm:presLayoutVars>
          <dgm:hierBranch val="init"/>
        </dgm:presLayoutVars>
      </dgm:prSet>
      <dgm:spPr/>
    </dgm:pt>
    <dgm:pt modelId="{4791B7BC-7EE6-4C28-B1A7-F15C8A55C61B}" type="pres">
      <dgm:prSet presAssocID="{008E733D-A691-43BC-BA5B-9A1FC1EAE70B}" presName="rootComposite" presStyleCnt="0"/>
      <dgm:spPr/>
    </dgm:pt>
    <dgm:pt modelId="{7912A520-6302-4FA0-B726-5F1C79158053}" type="pres">
      <dgm:prSet presAssocID="{008E733D-A691-43BC-BA5B-9A1FC1EAE70B}" presName="rootText" presStyleLbl="node2" presStyleIdx="1" presStyleCnt="5" custLinFactNeighborY="9627">
        <dgm:presLayoutVars>
          <dgm:chPref val="3"/>
        </dgm:presLayoutVars>
      </dgm:prSet>
      <dgm:spPr/>
    </dgm:pt>
    <dgm:pt modelId="{B94DF8A1-A875-4807-9162-20A5A5F20602}" type="pres">
      <dgm:prSet presAssocID="{008E733D-A691-43BC-BA5B-9A1FC1EAE70B}" presName="rootConnector" presStyleLbl="node2" presStyleIdx="1" presStyleCnt="5"/>
      <dgm:spPr/>
    </dgm:pt>
    <dgm:pt modelId="{6D2B7FA0-C8F7-4BB1-A24B-5867C359A830}" type="pres">
      <dgm:prSet presAssocID="{008E733D-A691-43BC-BA5B-9A1FC1EAE70B}" presName="hierChild4" presStyleCnt="0"/>
      <dgm:spPr/>
    </dgm:pt>
    <dgm:pt modelId="{9E8D2733-07A7-4B55-AECD-D0F401EC67DB}" type="pres">
      <dgm:prSet presAssocID="{008E733D-A691-43BC-BA5B-9A1FC1EAE70B}" presName="hierChild5" presStyleCnt="0"/>
      <dgm:spPr/>
    </dgm:pt>
    <dgm:pt modelId="{BB1C3144-AF76-4C1A-AC16-5745FE3D6FF4}" type="pres">
      <dgm:prSet presAssocID="{8A0FDD62-5ACB-4363-8100-7921DB27FED9}" presName="hierChild3" presStyleCnt="0"/>
      <dgm:spPr/>
    </dgm:pt>
    <dgm:pt modelId="{E18B88DC-BC5B-4269-8303-2816E8A33297}" type="pres">
      <dgm:prSet presAssocID="{D09E3D4F-1D7D-42D1-986A-2D072940B2CA}" presName="hierRoot1" presStyleCnt="0">
        <dgm:presLayoutVars>
          <dgm:hierBranch val="init"/>
        </dgm:presLayoutVars>
      </dgm:prSet>
      <dgm:spPr/>
    </dgm:pt>
    <dgm:pt modelId="{7E1EFAEC-C6C5-4489-9136-BD7B0956B289}" type="pres">
      <dgm:prSet presAssocID="{D09E3D4F-1D7D-42D1-986A-2D072940B2CA}" presName="rootComposite1" presStyleCnt="0"/>
      <dgm:spPr/>
    </dgm:pt>
    <dgm:pt modelId="{8F43BE6E-166A-4736-B495-0F0C5F9C5A94}" type="pres">
      <dgm:prSet presAssocID="{D09E3D4F-1D7D-42D1-986A-2D072940B2CA}" presName="rootText1" presStyleLbl="node0" presStyleIdx="1" presStyleCnt="4" custScaleY="193739">
        <dgm:presLayoutVars>
          <dgm:chPref val="3"/>
        </dgm:presLayoutVars>
      </dgm:prSet>
      <dgm:spPr/>
    </dgm:pt>
    <dgm:pt modelId="{65E7425D-55D2-4A95-85AE-4170C0981629}" type="pres">
      <dgm:prSet presAssocID="{D09E3D4F-1D7D-42D1-986A-2D072940B2CA}" presName="rootConnector1" presStyleLbl="node1" presStyleIdx="0" presStyleCnt="0"/>
      <dgm:spPr/>
    </dgm:pt>
    <dgm:pt modelId="{0A91E4F6-AD54-49CF-9C53-9262E286DF5E}" type="pres">
      <dgm:prSet presAssocID="{D09E3D4F-1D7D-42D1-986A-2D072940B2CA}" presName="hierChild2" presStyleCnt="0"/>
      <dgm:spPr/>
    </dgm:pt>
    <dgm:pt modelId="{3C8331C7-B13D-4AF7-A323-1B1603B58B0E}" type="pres">
      <dgm:prSet presAssocID="{56CFB6F2-8ADE-4838-A1ED-04DC59B84DF2}" presName="Name64" presStyleLbl="parChTrans1D2" presStyleIdx="2" presStyleCnt="5"/>
      <dgm:spPr/>
    </dgm:pt>
    <dgm:pt modelId="{B92978FC-A8E3-4BC5-983D-A951B513D496}" type="pres">
      <dgm:prSet presAssocID="{A63D69D2-ED31-4993-930F-751C45C13CD4}" presName="hierRoot2" presStyleCnt="0">
        <dgm:presLayoutVars>
          <dgm:hierBranch val="init"/>
        </dgm:presLayoutVars>
      </dgm:prSet>
      <dgm:spPr/>
    </dgm:pt>
    <dgm:pt modelId="{BCE6459C-EE48-41D9-B74E-BEC9785A15BD}" type="pres">
      <dgm:prSet presAssocID="{A63D69D2-ED31-4993-930F-751C45C13CD4}" presName="rootComposite" presStyleCnt="0"/>
      <dgm:spPr/>
    </dgm:pt>
    <dgm:pt modelId="{B633B50C-55B7-4080-8A5D-DD9EE7F65740}" type="pres">
      <dgm:prSet presAssocID="{A63D69D2-ED31-4993-930F-751C45C13CD4}" presName="rootText" presStyleLbl="node2" presStyleIdx="2" presStyleCnt="5" custScaleY="183604" custLinFactNeighborY="9627">
        <dgm:presLayoutVars>
          <dgm:chPref val="3"/>
        </dgm:presLayoutVars>
      </dgm:prSet>
      <dgm:spPr/>
    </dgm:pt>
    <dgm:pt modelId="{BCAEF62C-2B92-4445-AEF0-05B432CBDEDE}" type="pres">
      <dgm:prSet presAssocID="{A63D69D2-ED31-4993-930F-751C45C13CD4}" presName="rootConnector" presStyleLbl="node2" presStyleIdx="2" presStyleCnt="5"/>
      <dgm:spPr/>
    </dgm:pt>
    <dgm:pt modelId="{85D17B27-E6A5-4A40-B9C1-320A246A7E32}" type="pres">
      <dgm:prSet presAssocID="{A63D69D2-ED31-4993-930F-751C45C13CD4}" presName="hierChild4" presStyleCnt="0"/>
      <dgm:spPr/>
    </dgm:pt>
    <dgm:pt modelId="{009D29F9-C5F4-4601-953B-F2A1F0EC73B1}" type="pres">
      <dgm:prSet presAssocID="{A63D69D2-ED31-4993-930F-751C45C13CD4}" presName="hierChild5" presStyleCnt="0"/>
      <dgm:spPr/>
    </dgm:pt>
    <dgm:pt modelId="{4E1287EB-C0CC-4C9B-8503-F8372D7BE22A}" type="pres">
      <dgm:prSet presAssocID="{44316C2B-8810-4B50-9686-5B8AC20A9943}" presName="Name64" presStyleLbl="parChTrans1D2" presStyleIdx="3" presStyleCnt="5"/>
      <dgm:spPr/>
    </dgm:pt>
    <dgm:pt modelId="{30BCAA1C-BC25-46FB-975C-8FC930EF37D0}" type="pres">
      <dgm:prSet presAssocID="{91762AC4-5843-45DA-BD82-07AA1A1B93DC}" presName="hierRoot2" presStyleCnt="0">
        <dgm:presLayoutVars>
          <dgm:hierBranch val="init"/>
        </dgm:presLayoutVars>
      </dgm:prSet>
      <dgm:spPr/>
    </dgm:pt>
    <dgm:pt modelId="{6641C33A-4F6C-4E1C-8D18-646008060B9F}" type="pres">
      <dgm:prSet presAssocID="{91762AC4-5843-45DA-BD82-07AA1A1B93DC}" presName="rootComposite" presStyleCnt="0"/>
      <dgm:spPr/>
    </dgm:pt>
    <dgm:pt modelId="{F8970BD3-839A-4C82-84BD-B0A41A6A9807}" type="pres">
      <dgm:prSet presAssocID="{91762AC4-5843-45DA-BD82-07AA1A1B93DC}" presName="rootText" presStyleLbl="node2" presStyleIdx="3" presStyleCnt="5" custLinFactNeighborY="9627">
        <dgm:presLayoutVars>
          <dgm:chPref val="3"/>
        </dgm:presLayoutVars>
      </dgm:prSet>
      <dgm:spPr/>
    </dgm:pt>
    <dgm:pt modelId="{240D1101-2E34-40E6-BD15-AE5CAEF83A68}" type="pres">
      <dgm:prSet presAssocID="{91762AC4-5843-45DA-BD82-07AA1A1B93DC}" presName="rootConnector" presStyleLbl="node2" presStyleIdx="3" presStyleCnt="5"/>
      <dgm:spPr/>
    </dgm:pt>
    <dgm:pt modelId="{E0095A6F-32CE-4B3E-BA2B-7B435D2E0C1B}" type="pres">
      <dgm:prSet presAssocID="{91762AC4-5843-45DA-BD82-07AA1A1B93DC}" presName="hierChild4" presStyleCnt="0"/>
      <dgm:spPr/>
    </dgm:pt>
    <dgm:pt modelId="{0B7ED1C2-376D-49B3-9285-F308DEBA2294}" type="pres">
      <dgm:prSet presAssocID="{91762AC4-5843-45DA-BD82-07AA1A1B93DC}" presName="hierChild5" presStyleCnt="0"/>
      <dgm:spPr/>
    </dgm:pt>
    <dgm:pt modelId="{97D80550-4753-414D-9E2C-29E87CC202F1}" type="pres">
      <dgm:prSet presAssocID="{4CE8A549-566D-4C42-A09F-87E406049175}" presName="Name64" presStyleLbl="parChTrans1D2" presStyleIdx="4" presStyleCnt="5"/>
      <dgm:spPr/>
    </dgm:pt>
    <dgm:pt modelId="{AFBDD29A-F995-7942-816C-A971466B6455}" type="pres">
      <dgm:prSet presAssocID="{99A6F7B8-F459-C049-8C11-CCDD7B940BE5}" presName="hierRoot2" presStyleCnt="0">
        <dgm:presLayoutVars>
          <dgm:hierBranch val="init"/>
        </dgm:presLayoutVars>
      </dgm:prSet>
      <dgm:spPr/>
    </dgm:pt>
    <dgm:pt modelId="{B7B45292-BDF8-124E-BDB4-0352C7C47D67}" type="pres">
      <dgm:prSet presAssocID="{99A6F7B8-F459-C049-8C11-CCDD7B940BE5}" presName="rootComposite" presStyleCnt="0"/>
      <dgm:spPr/>
    </dgm:pt>
    <dgm:pt modelId="{C517AAD2-5580-C644-8C97-234B421E295B}" type="pres">
      <dgm:prSet presAssocID="{99A6F7B8-F459-C049-8C11-CCDD7B940BE5}" presName="rootText" presStyleLbl="node2" presStyleIdx="4" presStyleCnt="5" custScaleY="172050">
        <dgm:presLayoutVars>
          <dgm:chPref val="3"/>
        </dgm:presLayoutVars>
      </dgm:prSet>
      <dgm:spPr/>
    </dgm:pt>
    <dgm:pt modelId="{AE3B0388-2463-EF47-AFC2-5437291EF998}" type="pres">
      <dgm:prSet presAssocID="{99A6F7B8-F459-C049-8C11-CCDD7B940BE5}" presName="rootConnector" presStyleLbl="node2" presStyleIdx="4" presStyleCnt="5"/>
      <dgm:spPr/>
    </dgm:pt>
    <dgm:pt modelId="{1D002B0A-C78F-3E48-8C25-35AA92CAD96F}" type="pres">
      <dgm:prSet presAssocID="{99A6F7B8-F459-C049-8C11-CCDD7B940BE5}" presName="hierChild4" presStyleCnt="0"/>
      <dgm:spPr/>
    </dgm:pt>
    <dgm:pt modelId="{B0C7CB86-8280-C041-9FE8-BF2844EBC949}" type="pres">
      <dgm:prSet presAssocID="{99A6F7B8-F459-C049-8C11-CCDD7B940BE5}" presName="hierChild5" presStyleCnt="0"/>
      <dgm:spPr/>
    </dgm:pt>
    <dgm:pt modelId="{3AA06DB7-3CF2-4B80-A567-B41E54DCF106}" type="pres">
      <dgm:prSet presAssocID="{D09E3D4F-1D7D-42D1-986A-2D072940B2CA}" presName="hierChild3" presStyleCnt="0"/>
      <dgm:spPr/>
    </dgm:pt>
    <dgm:pt modelId="{23C114B1-B44D-274C-ACD6-335C344B8881}" type="pres">
      <dgm:prSet presAssocID="{4AF9AEFF-42D1-B740-82E9-C1B79BBA1D1D}" presName="hierRoot1" presStyleCnt="0">
        <dgm:presLayoutVars>
          <dgm:hierBranch val="init"/>
        </dgm:presLayoutVars>
      </dgm:prSet>
      <dgm:spPr/>
    </dgm:pt>
    <dgm:pt modelId="{3A5DF050-98B2-A44B-9D94-394A589761C7}" type="pres">
      <dgm:prSet presAssocID="{4AF9AEFF-42D1-B740-82E9-C1B79BBA1D1D}" presName="rootComposite1" presStyleCnt="0"/>
      <dgm:spPr/>
    </dgm:pt>
    <dgm:pt modelId="{3EA02441-E62E-C24E-A4DF-460F53CDBD20}" type="pres">
      <dgm:prSet presAssocID="{4AF9AEFF-42D1-B740-82E9-C1B79BBA1D1D}" presName="rootText1" presStyleLbl="node0" presStyleIdx="2" presStyleCnt="4" custScaleX="220215">
        <dgm:presLayoutVars>
          <dgm:chPref val="3"/>
        </dgm:presLayoutVars>
      </dgm:prSet>
      <dgm:spPr/>
    </dgm:pt>
    <dgm:pt modelId="{03B6B337-FD0F-8F46-B2A3-A49AE23D70A9}" type="pres">
      <dgm:prSet presAssocID="{4AF9AEFF-42D1-B740-82E9-C1B79BBA1D1D}" presName="rootConnector1" presStyleLbl="node1" presStyleIdx="0" presStyleCnt="0"/>
      <dgm:spPr/>
    </dgm:pt>
    <dgm:pt modelId="{DE1717D0-2F56-2147-8E6D-2E4A6D170743}" type="pres">
      <dgm:prSet presAssocID="{4AF9AEFF-42D1-B740-82E9-C1B79BBA1D1D}" presName="hierChild2" presStyleCnt="0"/>
      <dgm:spPr/>
    </dgm:pt>
    <dgm:pt modelId="{369D3ECE-AB07-3143-A203-76E48C3520DF}" type="pres">
      <dgm:prSet presAssocID="{4AF9AEFF-42D1-B740-82E9-C1B79BBA1D1D}" presName="hierChild3" presStyleCnt="0"/>
      <dgm:spPr/>
    </dgm:pt>
    <dgm:pt modelId="{130F00FC-FAB4-FC48-8F3A-C00C60F773F6}" type="pres">
      <dgm:prSet presAssocID="{4CC743BE-89B2-7B43-BF58-D59F86D8E5AF}" presName="hierRoot1" presStyleCnt="0">
        <dgm:presLayoutVars>
          <dgm:hierBranch val="init"/>
        </dgm:presLayoutVars>
      </dgm:prSet>
      <dgm:spPr/>
    </dgm:pt>
    <dgm:pt modelId="{CAC83379-269E-5741-8414-E5ED31DF00E5}" type="pres">
      <dgm:prSet presAssocID="{4CC743BE-89B2-7B43-BF58-D59F86D8E5AF}" presName="rootComposite1" presStyleCnt="0"/>
      <dgm:spPr/>
    </dgm:pt>
    <dgm:pt modelId="{A0471F14-CFB3-8449-8997-79C53AE48F72}" type="pres">
      <dgm:prSet presAssocID="{4CC743BE-89B2-7B43-BF58-D59F86D8E5AF}" presName="rootText1" presStyleLbl="node0" presStyleIdx="3" presStyleCnt="4" custScaleX="220215">
        <dgm:presLayoutVars>
          <dgm:chPref val="3"/>
        </dgm:presLayoutVars>
      </dgm:prSet>
      <dgm:spPr/>
    </dgm:pt>
    <dgm:pt modelId="{20E2811A-1241-1C43-8D08-396FBA25036F}" type="pres">
      <dgm:prSet presAssocID="{4CC743BE-89B2-7B43-BF58-D59F86D8E5AF}" presName="rootConnector1" presStyleLbl="node1" presStyleIdx="0" presStyleCnt="0"/>
      <dgm:spPr/>
    </dgm:pt>
    <dgm:pt modelId="{EDCA2F9E-F17A-3E45-80B8-679DF2787438}" type="pres">
      <dgm:prSet presAssocID="{4CC743BE-89B2-7B43-BF58-D59F86D8E5AF}" presName="hierChild2" presStyleCnt="0"/>
      <dgm:spPr/>
    </dgm:pt>
    <dgm:pt modelId="{81A7C4EA-C53A-3A4F-B2EC-E0CE77B8741F}" type="pres">
      <dgm:prSet presAssocID="{4CC743BE-89B2-7B43-BF58-D59F86D8E5AF}" presName="hierChild3" presStyleCnt="0"/>
      <dgm:spPr/>
    </dgm:pt>
  </dgm:ptLst>
  <dgm:cxnLst>
    <dgm:cxn modelId="{FFCB8E0E-83EF-4599-BF13-C986EE976DEB}" srcId="{C14FF3FB-789E-4041-BAA4-8A5D3EF74394}" destId="{8A0FDD62-5ACB-4363-8100-7921DB27FED9}" srcOrd="0" destOrd="0" parTransId="{2E0A18BD-4B57-45A2-B599-17A5236A0DBA}" sibTransId="{95404541-6FCE-499D-B544-6283CA283D12}"/>
    <dgm:cxn modelId="{BEC3980F-6EFA-3B4C-B0F5-406E4A0F5D23}" type="presOf" srcId="{99A6F7B8-F459-C049-8C11-CCDD7B940BE5}" destId="{C517AAD2-5580-C644-8C97-234B421E295B}" srcOrd="0" destOrd="0" presId="urn:microsoft.com/office/officeart/2009/3/layout/HorizontalOrganizationChart"/>
    <dgm:cxn modelId="{1BFC2014-0346-4085-A372-634EDC4246C7}" type="presOf" srcId="{008E733D-A691-43BC-BA5B-9A1FC1EAE70B}" destId="{7912A520-6302-4FA0-B726-5F1C79158053}" srcOrd="0" destOrd="0" presId="urn:microsoft.com/office/officeart/2009/3/layout/HorizontalOrganizationChart"/>
    <dgm:cxn modelId="{4EC2F718-0E10-4255-80DA-B31FD988F7FE}" type="presOf" srcId="{A63D69D2-ED31-4993-930F-751C45C13CD4}" destId="{BCAEF62C-2B92-4445-AEF0-05B432CBDEDE}" srcOrd="1" destOrd="0" presId="urn:microsoft.com/office/officeart/2009/3/layout/HorizontalOrganizationChart"/>
    <dgm:cxn modelId="{E457742C-253D-5D41-B628-8E3215250C26}" type="presOf" srcId="{4CC743BE-89B2-7B43-BF58-D59F86D8E5AF}" destId="{20E2811A-1241-1C43-8D08-396FBA25036F}" srcOrd="1" destOrd="0" presId="urn:microsoft.com/office/officeart/2009/3/layout/HorizontalOrganizationChart"/>
    <dgm:cxn modelId="{F4ABB83C-24C7-4711-A232-B64194FD2448}" type="presOf" srcId="{FE1183B8-299D-4DAE-9761-D4155ED0D626}" destId="{C5E9805B-8734-43E5-87A9-3E4EDE6400A1}" srcOrd="0" destOrd="0" presId="urn:microsoft.com/office/officeart/2009/3/layout/HorizontalOrganizationChart"/>
    <dgm:cxn modelId="{F85C7F5B-9BC1-4931-B469-45AFB800FF9A}" type="presOf" srcId="{A63D69D2-ED31-4993-930F-751C45C13CD4}" destId="{B633B50C-55B7-4080-8A5D-DD9EE7F65740}" srcOrd="0" destOrd="0" presId="urn:microsoft.com/office/officeart/2009/3/layout/HorizontalOrganizationChart"/>
    <dgm:cxn modelId="{DF4C2B5F-7246-F94A-8255-732907A6C824}" srcId="{C14FF3FB-789E-4041-BAA4-8A5D3EF74394}" destId="{4AF9AEFF-42D1-B740-82E9-C1B79BBA1D1D}" srcOrd="2" destOrd="0" parTransId="{136DFE82-DD95-9440-99FE-AD1D30173A71}" sibTransId="{7CA9E5FE-025A-A543-85F9-9D75B8464C49}"/>
    <dgm:cxn modelId="{D00B0B62-966B-4BC1-812E-4461A799A4F6}" type="presOf" srcId="{9B6CE281-A07D-4914-93D2-9572AC8D5A6F}" destId="{128DFF0E-9219-4A5D-9DC2-F45043BFED9C}" srcOrd="0" destOrd="0" presId="urn:microsoft.com/office/officeart/2009/3/layout/HorizontalOrganizationChart"/>
    <dgm:cxn modelId="{B57D786E-BC9E-C849-8C6F-B2E7F76C7E06}" type="presOf" srcId="{4CC743BE-89B2-7B43-BF58-D59F86D8E5AF}" destId="{A0471F14-CFB3-8449-8997-79C53AE48F72}" srcOrd="0" destOrd="0" presId="urn:microsoft.com/office/officeart/2009/3/layout/HorizontalOrganizationChart"/>
    <dgm:cxn modelId="{2BEC1470-7626-6643-BE17-A1EC90A007AE}" type="presOf" srcId="{4AF9AEFF-42D1-B740-82E9-C1B79BBA1D1D}" destId="{03B6B337-FD0F-8F46-B2A3-A49AE23D70A9}" srcOrd="1" destOrd="0" presId="urn:microsoft.com/office/officeart/2009/3/layout/HorizontalOrganizationChart"/>
    <dgm:cxn modelId="{418DDD72-5F93-4278-B9A7-B366FC5F831B}" type="presOf" srcId="{D09E3D4F-1D7D-42D1-986A-2D072940B2CA}" destId="{65E7425D-55D2-4A95-85AE-4170C0981629}" srcOrd="1" destOrd="0" presId="urn:microsoft.com/office/officeart/2009/3/layout/HorizontalOrganizationChart"/>
    <dgm:cxn modelId="{37169C73-803B-4B53-8056-7D86DF425149}" type="presOf" srcId="{D09E3D4F-1D7D-42D1-986A-2D072940B2CA}" destId="{8F43BE6E-166A-4736-B495-0F0C5F9C5A94}" srcOrd="0" destOrd="0" presId="urn:microsoft.com/office/officeart/2009/3/layout/HorizontalOrganizationChart"/>
    <dgm:cxn modelId="{EBE61E78-7C4C-8941-9AB5-46E2FCEC82E1}" type="presOf" srcId="{4AF9AEFF-42D1-B740-82E9-C1B79BBA1D1D}" destId="{3EA02441-E62E-C24E-A4DF-460F53CDBD20}" srcOrd="0" destOrd="0" presId="urn:microsoft.com/office/officeart/2009/3/layout/HorizontalOrganizationChart"/>
    <dgm:cxn modelId="{DAB9C179-CF84-4B9B-A240-A23B5E2EABF7}" type="presOf" srcId="{9C224AA8-5D6D-439F-A5FF-D80F3FA166E4}" destId="{E545B4FB-CAAE-4F67-8274-077F8989871C}" srcOrd="1" destOrd="0" presId="urn:microsoft.com/office/officeart/2009/3/layout/HorizontalOrganizationChart"/>
    <dgm:cxn modelId="{3A4A7F7C-3773-44AD-831D-2EEC340A03E6}" type="presOf" srcId="{C14FF3FB-789E-4041-BAA4-8A5D3EF74394}" destId="{6DAD5AF5-2F6C-40CF-B4A4-4535DCB1DE5D}" srcOrd="0" destOrd="0" presId="urn:microsoft.com/office/officeart/2009/3/layout/HorizontalOrganizationChart"/>
    <dgm:cxn modelId="{82C1FF81-201C-4ADF-A1A9-A5FC6A205E06}" type="presOf" srcId="{008E733D-A691-43BC-BA5B-9A1FC1EAE70B}" destId="{B94DF8A1-A875-4807-9162-20A5A5F20602}" srcOrd="1" destOrd="0" presId="urn:microsoft.com/office/officeart/2009/3/layout/HorizontalOrganizationChart"/>
    <dgm:cxn modelId="{3E6FF197-5C51-BA42-84F2-283924AFBBEC}" type="presOf" srcId="{99A6F7B8-F459-C049-8C11-CCDD7B940BE5}" destId="{AE3B0388-2463-EF47-AFC2-5437291EF998}" srcOrd="1" destOrd="0" presId="urn:microsoft.com/office/officeart/2009/3/layout/HorizontalOrganizationChart"/>
    <dgm:cxn modelId="{F63E21A2-8CCE-FA46-BC05-575C278D6DE2}" srcId="{D09E3D4F-1D7D-42D1-986A-2D072940B2CA}" destId="{99A6F7B8-F459-C049-8C11-CCDD7B940BE5}" srcOrd="2" destOrd="0" parTransId="{4CE8A549-566D-4C42-A09F-87E406049175}" sibTransId="{880CDBBF-3EE3-1049-BA69-72D0330DC069}"/>
    <dgm:cxn modelId="{75F13DA4-FA2F-45CE-98D6-21A7FC633828}" type="presOf" srcId="{91762AC4-5843-45DA-BD82-07AA1A1B93DC}" destId="{F8970BD3-839A-4C82-84BD-B0A41A6A9807}" srcOrd="0" destOrd="0" presId="urn:microsoft.com/office/officeart/2009/3/layout/HorizontalOrganizationChart"/>
    <dgm:cxn modelId="{0BBCF1A4-D106-5F47-AE99-00FCA6F17C0C}" type="presOf" srcId="{4CE8A549-566D-4C42-A09F-87E406049175}" destId="{97D80550-4753-414D-9E2C-29E87CC202F1}" srcOrd="0" destOrd="0" presId="urn:microsoft.com/office/officeart/2009/3/layout/HorizontalOrganizationChart"/>
    <dgm:cxn modelId="{2DF84CA8-05F6-44B5-B32C-C070F0034577}" srcId="{D09E3D4F-1D7D-42D1-986A-2D072940B2CA}" destId="{A63D69D2-ED31-4993-930F-751C45C13CD4}" srcOrd="0" destOrd="0" parTransId="{56CFB6F2-8ADE-4838-A1ED-04DC59B84DF2}" sibTransId="{C3A94619-7880-4FE5-9FE3-8CDA03266D62}"/>
    <dgm:cxn modelId="{2AB946AA-81B9-471D-9447-2C92C3DA6716}" type="presOf" srcId="{8A0FDD62-5ACB-4363-8100-7921DB27FED9}" destId="{4C951630-26BE-4FC2-B02A-6EABC31BCC02}" srcOrd="1" destOrd="0" presId="urn:microsoft.com/office/officeart/2009/3/layout/HorizontalOrganizationChart"/>
    <dgm:cxn modelId="{9CB71FB1-4091-4499-A694-E01ECE5458BA}" type="presOf" srcId="{8A0FDD62-5ACB-4363-8100-7921DB27FED9}" destId="{9243952B-3833-4F9A-A71B-0A59EE8FED19}" srcOrd="0" destOrd="0" presId="urn:microsoft.com/office/officeart/2009/3/layout/HorizontalOrganizationChart"/>
    <dgm:cxn modelId="{1AAC81B3-3511-4BEE-B020-161368D405A0}" srcId="{D09E3D4F-1D7D-42D1-986A-2D072940B2CA}" destId="{91762AC4-5843-45DA-BD82-07AA1A1B93DC}" srcOrd="1" destOrd="0" parTransId="{44316C2B-8810-4B50-9686-5B8AC20A9943}" sibTransId="{69F84360-F8FB-4DC2-8AA4-DA39E260F788}"/>
    <dgm:cxn modelId="{3906FFB6-8A5C-4D36-979B-0E1D1A1CD3FD}" type="presOf" srcId="{56CFB6F2-8ADE-4838-A1ED-04DC59B84DF2}" destId="{3C8331C7-B13D-4AF7-A323-1B1603B58B0E}" srcOrd="0" destOrd="0" presId="urn:microsoft.com/office/officeart/2009/3/layout/HorizontalOrganizationChart"/>
    <dgm:cxn modelId="{014BABC1-0E51-4069-80CD-AE6B55BB3A4A}" type="presOf" srcId="{91762AC4-5843-45DA-BD82-07AA1A1B93DC}" destId="{240D1101-2E34-40E6-BD15-AE5CAEF83A68}" srcOrd="1" destOrd="0" presId="urn:microsoft.com/office/officeart/2009/3/layout/HorizontalOrganizationChart"/>
    <dgm:cxn modelId="{005F93D0-0F40-B244-93EB-B7486C7FF021}" srcId="{C14FF3FB-789E-4041-BAA4-8A5D3EF74394}" destId="{4CC743BE-89B2-7B43-BF58-D59F86D8E5AF}" srcOrd="3" destOrd="0" parTransId="{6FCB5090-C78A-4A40-B1E1-D95882A618A4}" sibTransId="{DDD58D91-D3F1-CF45-A967-235059630097}"/>
    <dgm:cxn modelId="{49920FD5-87B7-4F99-ACE4-0498AF7B821F}" type="presOf" srcId="{44316C2B-8810-4B50-9686-5B8AC20A9943}" destId="{4E1287EB-C0CC-4C9B-8503-F8372D7BE22A}" srcOrd="0" destOrd="0" presId="urn:microsoft.com/office/officeart/2009/3/layout/HorizontalOrganizationChart"/>
    <dgm:cxn modelId="{AD5298DF-9589-4A56-B320-737BAAF026D5}" srcId="{8A0FDD62-5ACB-4363-8100-7921DB27FED9}" destId="{008E733D-A691-43BC-BA5B-9A1FC1EAE70B}" srcOrd="1" destOrd="0" parTransId="{9B6CE281-A07D-4914-93D2-9572AC8D5A6F}" sibTransId="{C1D44F35-2DE3-41EF-8668-22EC13345377}"/>
    <dgm:cxn modelId="{471993E1-B340-4A72-921B-81101BD0227A}" type="presOf" srcId="{9C224AA8-5D6D-439F-A5FF-D80F3FA166E4}" destId="{F6C5896B-E465-4949-89C8-FE4B715A7AA6}" srcOrd="0" destOrd="0" presId="urn:microsoft.com/office/officeart/2009/3/layout/HorizontalOrganizationChart"/>
    <dgm:cxn modelId="{498BAEE2-7893-4D7B-95CC-F1C754C0CACB}" srcId="{C14FF3FB-789E-4041-BAA4-8A5D3EF74394}" destId="{D09E3D4F-1D7D-42D1-986A-2D072940B2CA}" srcOrd="1" destOrd="0" parTransId="{68ACF64D-A3E1-46BE-A0F8-EACFA27593B4}" sibTransId="{086D19BD-9679-4E1D-AB18-9C674F65C6F7}"/>
    <dgm:cxn modelId="{E02BB2F0-87BB-483B-91A1-E7038189B78B}" srcId="{8A0FDD62-5ACB-4363-8100-7921DB27FED9}" destId="{9C224AA8-5D6D-439F-A5FF-D80F3FA166E4}" srcOrd="0" destOrd="0" parTransId="{FE1183B8-299D-4DAE-9761-D4155ED0D626}" sibTransId="{46ECC135-E1CD-4BA3-940E-260EB4B089CC}"/>
    <dgm:cxn modelId="{1BBA2148-F184-41BE-A4AA-FF4AE6E11402}" type="presParOf" srcId="{6DAD5AF5-2F6C-40CF-B4A4-4535DCB1DE5D}" destId="{9E669CAF-C666-4968-9C8A-A75CD735112E}" srcOrd="0" destOrd="0" presId="urn:microsoft.com/office/officeart/2009/3/layout/HorizontalOrganizationChart"/>
    <dgm:cxn modelId="{CD4A52A8-BB30-46B1-A09C-FA3E5962EAC3}" type="presParOf" srcId="{9E669CAF-C666-4968-9C8A-A75CD735112E}" destId="{C9310B4B-0140-4156-88BB-BB8B405BA2F6}" srcOrd="0" destOrd="0" presId="urn:microsoft.com/office/officeart/2009/3/layout/HorizontalOrganizationChart"/>
    <dgm:cxn modelId="{00FEEC05-1D06-4F50-9D37-E227647C0275}" type="presParOf" srcId="{C9310B4B-0140-4156-88BB-BB8B405BA2F6}" destId="{9243952B-3833-4F9A-A71B-0A59EE8FED19}" srcOrd="0" destOrd="0" presId="urn:microsoft.com/office/officeart/2009/3/layout/HorizontalOrganizationChart"/>
    <dgm:cxn modelId="{61330E62-BE84-4CF8-B87D-76F69F8989F7}" type="presParOf" srcId="{C9310B4B-0140-4156-88BB-BB8B405BA2F6}" destId="{4C951630-26BE-4FC2-B02A-6EABC31BCC02}" srcOrd="1" destOrd="0" presId="urn:microsoft.com/office/officeart/2009/3/layout/HorizontalOrganizationChart"/>
    <dgm:cxn modelId="{2CE91F4A-E069-4DC6-AEE5-7A68566C91BE}" type="presParOf" srcId="{9E669CAF-C666-4968-9C8A-A75CD735112E}" destId="{A9CBB20B-D2FF-462D-8365-7D562044133A}" srcOrd="1" destOrd="0" presId="urn:microsoft.com/office/officeart/2009/3/layout/HorizontalOrganizationChart"/>
    <dgm:cxn modelId="{38FD33C2-E9ED-421A-AB97-66306F9C9EA4}" type="presParOf" srcId="{A9CBB20B-D2FF-462D-8365-7D562044133A}" destId="{C5E9805B-8734-43E5-87A9-3E4EDE6400A1}" srcOrd="0" destOrd="0" presId="urn:microsoft.com/office/officeart/2009/3/layout/HorizontalOrganizationChart"/>
    <dgm:cxn modelId="{AB331918-CE8E-4BD5-8F39-5A78E4F37DF3}" type="presParOf" srcId="{A9CBB20B-D2FF-462D-8365-7D562044133A}" destId="{59D565F5-CF79-4EC0-B001-75692E0C55A5}" srcOrd="1" destOrd="0" presId="urn:microsoft.com/office/officeart/2009/3/layout/HorizontalOrganizationChart"/>
    <dgm:cxn modelId="{C0A68D2F-44EF-4A10-AB34-46A774F23A22}" type="presParOf" srcId="{59D565F5-CF79-4EC0-B001-75692E0C55A5}" destId="{FD1AFDEF-415B-41D7-A2B3-18097AE78CD0}" srcOrd="0" destOrd="0" presId="urn:microsoft.com/office/officeart/2009/3/layout/HorizontalOrganizationChart"/>
    <dgm:cxn modelId="{C91D4CE7-12AC-4F90-9AFD-D0BE248578DB}" type="presParOf" srcId="{FD1AFDEF-415B-41D7-A2B3-18097AE78CD0}" destId="{F6C5896B-E465-4949-89C8-FE4B715A7AA6}" srcOrd="0" destOrd="0" presId="urn:microsoft.com/office/officeart/2009/3/layout/HorizontalOrganizationChart"/>
    <dgm:cxn modelId="{7D5BFA1F-51B3-46A7-B782-3C218484186E}" type="presParOf" srcId="{FD1AFDEF-415B-41D7-A2B3-18097AE78CD0}" destId="{E545B4FB-CAAE-4F67-8274-077F8989871C}" srcOrd="1" destOrd="0" presId="urn:microsoft.com/office/officeart/2009/3/layout/HorizontalOrganizationChart"/>
    <dgm:cxn modelId="{2DDC45EE-5C4F-471D-B9E6-165EED17ADD7}" type="presParOf" srcId="{59D565F5-CF79-4EC0-B001-75692E0C55A5}" destId="{12A0EF90-D8EB-4D76-A8C2-74FEB5F363FC}" srcOrd="1" destOrd="0" presId="urn:microsoft.com/office/officeart/2009/3/layout/HorizontalOrganizationChart"/>
    <dgm:cxn modelId="{DF3D3A8F-F7E9-4699-A141-CF0E8EA8347E}" type="presParOf" srcId="{59D565F5-CF79-4EC0-B001-75692E0C55A5}" destId="{945B86D7-60E4-41FF-9E22-41E01EACAF57}" srcOrd="2" destOrd="0" presId="urn:microsoft.com/office/officeart/2009/3/layout/HorizontalOrganizationChart"/>
    <dgm:cxn modelId="{570AB87B-F212-470D-AAFE-0007CE7D9C98}" type="presParOf" srcId="{A9CBB20B-D2FF-462D-8365-7D562044133A}" destId="{128DFF0E-9219-4A5D-9DC2-F45043BFED9C}" srcOrd="2" destOrd="0" presId="urn:microsoft.com/office/officeart/2009/3/layout/HorizontalOrganizationChart"/>
    <dgm:cxn modelId="{AB377DF9-02DB-4A1B-9A6F-8D5CBF15E237}" type="presParOf" srcId="{A9CBB20B-D2FF-462D-8365-7D562044133A}" destId="{FAA8B00E-FFCD-4593-8064-8429CF84817D}" srcOrd="3" destOrd="0" presId="urn:microsoft.com/office/officeart/2009/3/layout/HorizontalOrganizationChart"/>
    <dgm:cxn modelId="{F0E35F52-E630-46F5-8602-6A637DC64B33}" type="presParOf" srcId="{FAA8B00E-FFCD-4593-8064-8429CF84817D}" destId="{4791B7BC-7EE6-4C28-B1A7-F15C8A55C61B}" srcOrd="0" destOrd="0" presId="urn:microsoft.com/office/officeart/2009/3/layout/HorizontalOrganizationChart"/>
    <dgm:cxn modelId="{8B4D615B-562E-48AF-84CF-0BAE577EBD31}" type="presParOf" srcId="{4791B7BC-7EE6-4C28-B1A7-F15C8A55C61B}" destId="{7912A520-6302-4FA0-B726-5F1C79158053}" srcOrd="0" destOrd="0" presId="urn:microsoft.com/office/officeart/2009/3/layout/HorizontalOrganizationChart"/>
    <dgm:cxn modelId="{3CE242D1-49EE-49F4-BE6F-B7ACD5DF6847}" type="presParOf" srcId="{4791B7BC-7EE6-4C28-B1A7-F15C8A55C61B}" destId="{B94DF8A1-A875-4807-9162-20A5A5F20602}" srcOrd="1" destOrd="0" presId="urn:microsoft.com/office/officeart/2009/3/layout/HorizontalOrganizationChart"/>
    <dgm:cxn modelId="{027A58EE-77C3-445F-97ED-EDBA31F8036C}" type="presParOf" srcId="{FAA8B00E-FFCD-4593-8064-8429CF84817D}" destId="{6D2B7FA0-C8F7-4BB1-A24B-5867C359A830}" srcOrd="1" destOrd="0" presId="urn:microsoft.com/office/officeart/2009/3/layout/HorizontalOrganizationChart"/>
    <dgm:cxn modelId="{35187DFD-FEA4-47C8-B1B8-F9E10844464F}" type="presParOf" srcId="{FAA8B00E-FFCD-4593-8064-8429CF84817D}" destId="{9E8D2733-07A7-4B55-AECD-D0F401EC67DB}" srcOrd="2" destOrd="0" presId="urn:microsoft.com/office/officeart/2009/3/layout/HorizontalOrganizationChart"/>
    <dgm:cxn modelId="{2EEB8B91-47BD-4CBB-BF41-68D9D0249310}" type="presParOf" srcId="{9E669CAF-C666-4968-9C8A-A75CD735112E}" destId="{BB1C3144-AF76-4C1A-AC16-5745FE3D6FF4}" srcOrd="2" destOrd="0" presId="urn:microsoft.com/office/officeart/2009/3/layout/HorizontalOrganizationChart"/>
    <dgm:cxn modelId="{955AEF40-4F3F-4537-AF01-8943C55F9F46}" type="presParOf" srcId="{6DAD5AF5-2F6C-40CF-B4A4-4535DCB1DE5D}" destId="{E18B88DC-BC5B-4269-8303-2816E8A33297}" srcOrd="1" destOrd="0" presId="urn:microsoft.com/office/officeart/2009/3/layout/HorizontalOrganizationChart"/>
    <dgm:cxn modelId="{E2C7FD41-5A95-4129-949B-E52C827BCFEE}" type="presParOf" srcId="{E18B88DC-BC5B-4269-8303-2816E8A33297}" destId="{7E1EFAEC-C6C5-4489-9136-BD7B0956B289}" srcOrd="0" destOrd="0" presId="urn:microsoft.com/office/officeart/2009/3/layout/HorizontalOrganizationChart"/>
    <dgm:cxn modelId="{BEDF551C-3DAF-4BD3-8D74-32D5C90B7E44}" type="presParOf" srcId="{7E1EFAEC-C6C5-4489-9136-BD7B0956B289}" destId="{8F43BE6E-166A-4736-B495-0F0C5F9C5A94}" srcOrd="0" destOrd="0" presId="urn:microsoft.com/office/officeart/2009/3/layout/HorizontalOrganizationChart"/>
    <dgm:cxn modelId="{3AF3451C-B360-45D9-87AD-F22BD0B2F8A0}" type="presParOf" srcId="{7E1EFAEC-C6C5-4489-9136-BD7B0956B289}" destId="{65E7425D-55D2-4A95-85AE-4170C0981629}" srcOrd="1" destOrd="0" presId="urn:microsoft.com/office/officeart/2009/3/layout/HorizontalOrganizationChart"/>
    <dgm:cxn modelId="{84F8506D-BB3A-45DD-A804-FF6EF4A34DF4}" type="presParOf" srcId="{E18B88DC-BC5B-4269-8303-2816E8A33297}" destId="{0A91E4F6-AD54-49CF-9C53-9262E286DF5E}" srcOrd="1" destOrd="0" presId="urn:microsoft.com/office/officeart/2009/3/layout/HorizontalOrganizationChart"/>
    <dgm:cxn modelId="{6C56CFF5-6BE4-4FD0-917A-B1F908753DEA}" type="presParOf" srcId="{0A91E4F6-AD54-49CF-9C53-9262E286DF5E}" destId="{3C8331C7-B13D-4AF7-A323-1B1603B58B0E}" srcOrd="0" destOrd="0" presId="urn:microsoft.com/office/officeart/2009/3/layout/HorizontalOrganizationChart"/>
    <dgm:cxn modelId="{40B7F0CC-6AB5-4F6E-AF7C-EE9FFC84E04F}" type="presParOf" srcId="{0A91E4F6-AD54-49CF-9C53-9262E286DF5E}" destId="{B92978FC-A8E3-4BC5-983D-A951B513D496}" srcOrd="1" destOrd="0" presId="urn:microsoft.com/office/officeart/2009/3/layout/HorizontalOrganizationChart"/>
    <dgm:cxn modelId="{AAFE19FC-A7D2-45AE-AC56-DD5FBB83E39A}" type="presParOf" srcId="{B92978FC-A8E3-4BC5-983D-A951B513D496}" destId="{BCE6459C-EE48-41D9-B74E-BEC9785A15BD}" srcOrd="0" destOrd="0" presId="urn:microsoft.com/office/officeart/2009/3/layout/HorizontalOrganizationChart"/>
    <dgm:cxn modelId="{9F5890F7-0D57-45A2-BAD9-9FBB3B2476BC}" type="presParOf" srcId="{BCE6459C-EE48-41D9-B74E-BEC9785A15BD}" destId="{B633B50C-55B7-4080-8A5D-DD9EE7F65740}" srcOrd="0" destOrd="0" presId="urn:microsoft.com/office/officeart/2009/3/layout/HorizontalOrganizationChart"/>
    <dgm:cxn modelId="{A7F795A8-0DD5-42E3-A9ED-1325D6DC1215}" type="presParOf" srcId="{BCE6459C-EE48-41D9-B74E-BEC9785A15BD}" destId="{BCAEF62C-2B92-4445-AEF0-05B432CBDEDE}" srcOrd="1" destOrd="0" presId="urn:microsoft.com/office/officeart/2009/3/layout/HorizontalOrganizationChart"/>
    <dgm:cxn modelId="{7A5AAA12-D2CE-43F1-B8EF-98656DE7EBDE}" type="presParOf" srcId="{B92978FC-A8E3-4BC5-983D-A951B513D496}" destId="{85D17B27-E6A5-4A40-B9C1-320A246A7E32}" srcOrd="1" destOrd="0" presId="urn:microsoft.com/office/officeart/2009/3/layout/HorizontalOrganizationChart"/>
    <dgm:cxn modelId="{F1E9E4F9-78A6-42E8-B570-4DAB2549CA24}" type="presParOf" srcId="{B92978FC-A8E3-4BC5-983D-A951B513D496}" destId="{009D29F9-C5F4-4601-953B-F2A1F0EC73B1}" srcOrd="2" destOrd="0" presId="urn:microsoft.com/office/officeart/2009/3/layout/HorizontalOrganizationChart"/>
    <dgm:cxn modelId="{379614FD-7BAD-4FF5-B45A-0F91817B4635}" type="presParOf" srcId="{0A91E4F6-AD54-49CF-9C53-9262E286DF5E}" destId="{4E1287EB-C0CC-4C9B-8503-F8372D7BE22A}" srcOrd="2" destOrd="0" presId="urn:microsoft.com/office/officeart/2009/3/layout/HorizontalOrganizationChart"/>
    <dgm:cxn modelId="{28902B3C-7AC7-44C7-A2C0-1652103DDF83}" type="presParOf" srcId="{0A91E4F6-AD54-49CF-9C53-9262E286DF5E}" destId="{30BCAA1C-BC25-46FB-975C-8FC930EF37D0}" srcOrd="3" destOrd="0" presId="urn:microsoft.com/office/officeart/2009/3/layout/HorizontalOrganizationChart"/>
    <dgm:cxn modelId="{787DEEA4-6EF7-45C0-906E-6EC1AFC6D7DA}" type="presParOf" srcId="{30BCAA1C-BC25-46FB-975C-8FC930EF37D0}" destId="{6641C33A-4F6C-4E1C-8D18-646008060B9F}" srcOrd="0" destOrd="0" presId="urn:microsoft.com/office/officeart/2009/3/layout/HorizontalOrganizationChart"/>
    <dgm:cxn modelId="{80D4E7DA-FC11-481E-B016-E8D455910CCA}" type="presParOf" srcId="{6641C33A-4F6C-4E1C-8D18-646008060B9F}" destId="{F8970BD3-839A-4C82-84BD-B0A41A6A9807}" srcOrd="0" destOrd="0" presId="urn:microsoft.com/office/officeart/2009/3/layout/HorizontalOrganizationChart"/>
    <dgm:cxn modelId="{4A84F124-55EE-4507-8A93-4FE308F64D1B}" type="presParOf" srcId="{6641C33A-4F6C-4E1C-8D18-646008060B9F}" destId="{240D1101-2E34-40E6-BD15-AE5CAEF83A68}" srcOrd="1" destOrd="0" presId="urn:microsoft.com/office/officeart/2009/3/layout/HorizontalOrganizationChart"/>
    <dgm:cxn modelId="{8F60F114-CE00-4D39-A890-478F832DCF52}" type="presParOf" srcId="{30BCAA1C-BC25-46FB-975C-8FC930EF37D0}" destId="{E0095A6F-32CE-4B3E-BA2B-7B435D2E0C1B}" srcOrd="1" destOrd="0" presId="urn:microsoft.com/office/officeart/2009/3/layout/HorizontalOrganizationChart"/>
    <dgm:cxn modelId="{F604783F-B22D-41DA-BC46-EA5CA0910368}" type="presParOf" srcId="{30BCAA1C-BC25-46FB-975C-8FC930EF37D0}" destId="{0B7ED1C2-376D-49B3-9285-F308DEBA2294}" srcOrd="2" destOrd="0" presId="urn:microsoft.com/office/officeart/2009/3/layout/HorizontalOrganizationChart"/>
    <dgm:cxn modelId="{D9E50B7F-37E9-A541-AC10-FC33CA870B40}" type="presParOf" srcId="{0A91E4F6-AD54-49CF-9C53-9262E286DF5E}" destId="{97D80550-4753-414D-9E2C-29E87CC202F1}" srcOrd="4" destOrd="0" presId="urn:microsoft.com/office/officeart/2009/3/layout/HorizontalOrganizationChart"/>
    <dgm:cxn modelId="{0A8C5D3A-4A2C-0C46-844A-4253898FDBBD}" type="presParOf" srcId="{0A91E4F6-AD54-49CF-9C53-9262E286DF5E}" destId="{AFBDD29A-F995-7942-816C-A971466B6455}" srcOrd="5" destOrd="0" presId="urn:microsoft.com/office/officeart/2009/3/layout/HorizontalOrganizationChart"/>
    <dgm:cxn modelId="{535CBBB2-91A8-5448-A113-EB481EB96411}" type="presParOf" srcId="{AFBDD29A-F995-7942-816C-A971466B6455}" destId="{B7B45292-BDF8-124E-BDB4-0352C7C47D67}" srcOrd="0" destOrd="0" presId="urn:microsoft.com/office/officeart/2009/3/layout/HorizontalOrganizationChart"/>
    <dgm:cxn modelId="{42F43251-624B-4445-B2D3-689B8C5860D7}" type="presParOf" srcId="{B7B45292-BDF8-124E-BDB4-0352C7C47D67}" destId="{C517AAD2-5580-C644-8C97-234B421E295B}" srcOrd="0" destOrd="0" presId="urn:microsoft.com/office/officeart/2009/3/layout/HorizontalOrganizationChart"/>
    <dgm:cxn modelId="{8E7F28CB-87AA-9440-AA2D-E46873466702}" type="presParOf" srcId="{B7B45292-BDF8-124E-BDB4-0352C7C47D67}" destId="{AE3B0388-2463-EF47-AFC2-5437291EF998}" srcOrd="1" destOrd="0" presId="urn:microsoft.com/office/officeart/2009/3/layout/HorizontalOrganizationChart"/>
    <dgm:cxn modelId="{D12C27B0-C126-DE46-B3E2-7A48DE61374A}" type="presParOf" srcId="{AFBDD29A-F995-7942-816C-A971466B6455}" destId="{1D002B0A-C78F-3E48-8C25-35AA92CAD96F}" srcOrd="1" destOrd="0" presId="urn:microsoft.com/office/officeart/2009/3/layout/HorizontalOrganizationChart"/>
    <dgm:cxn modelId="{825F1641-1B08-3D48-BBC1-FFB0AC6B9E4F}" type="presParOf" srcId="{AFBDD29A-F995-7942-816C-A971466B6455}" destId="{B0C7CB86-8280-C041-9FE8-BF2844EBC949}" srcOrd="2" destOrd="0" presId="urn:microsoft.com/office/officeart/2009/3/layout/HorizontalOrganizationChart"/>
    <dgm:cxn modelId="{3777CB0E-6951-496D-ABF3-8AE7E90A2F0F}" type="presParOf" srcId="{E18B88DC-BC5B-4269-8303-2816E8A33297}" destId="{3AA06DB7-3CF2-4B80-A567-B41E54DCF106}" srcOrd="2" destOrd="0" presId="urn:microsoft.com/office/officeart/2009/3/layout/HorizontalOrganizationChart"/>
    <dgm:cxn modelId="{66BEB029-6BBE-894F-AC08-16E06128AED3}" type="presParOf" srcId="{6DAD5AF5-2F6C-40CF-B4A4-4535DCB1DE5D}" destId="{23C114B1-B44D-274C-ACD6-335C344B8881}" srcOrd="2" destOrd="0" presId="urn:microsoft.com/office/officeart/2009/3/layout/HorizontalOrganizationChart"/>
    <dgm:cxn modelId="{FEEF7B8D-1EDD-2540-9416-6EAC069FE475}" type="presParOf" srcId="{23C114B1-B44D-274C-ACD6-335C344B8881}" destId="{3A5DF050-98B2-A44B-9D94-394A589761C7}" srcOrd="0" destOrd="0" presId="urn:microsoft.com/office/officeart/2009/3/layout/HorizontalOrganizationChart"/>
    <dgm:cxn modelId="{D1553FB0-C4DC-4D4F-A5A8-F7D246B928FD}" type="presParOf" srcId="{3A5DF050-98B2-A44B-9D94-394A589761C7}" destId="{3EA02441-E62E-C24E-A4DF-460F53CDBD20}" srcOrd="0" destOrd="0" presId="urn:microsoft.com/office/officeart/2009/3/layout/HorizontalOrganizationChart"/>
    <dgm:cxn modelId="{418FA2CA-E58B-314D-99DC-264F1B850378}" type="presParOf" srcId="{3A5DF050-98B2-A44B-9D94-394A589761C7}" destId="{03B6B337-FD0F-8F46-B2A3-A49AE23D70A9}" srcOrd="1" destOrd="0" presId="urn:microsoft.com/office/officeart/2009/3/layout/HorizontalOrganizationChart"/>
    <dgm:cxn modelId="{50D0E0B7-0FE0-7047-8E7A-8DB9DCFE92A3}" type="presParOf" srcId="{23C114B1-B44D-274C-ACD6-335C344B8881}" destId="{DE1717D0-2F56-2147-8E6D-2E4A6D170743}" srcOrd="1" destOrd="0" presId="urn:microsoft.com/office/officeart/2009/3/layout/HorizontalOrganizationChart"/>
    <dgm:cxn modelId="{F6024C63-812F-8C45-B1FD-0597965B651A}" type="presParOf" srcId="{23C114B1-B44D-274C-ACD6-335C344B8881}" destId="{369D3ECE-AB07-3143-A203-76E48C3520DF}" srcOrd="2" destOrd="0" presId="urn:microsoft.com/office/officeart/2009/3/layout/HorizontalOrganizationChart"/>
    <dgm:cxn modelId="{1A4C4011-44B0-4F45-86C6-BD6AFA0178CF}" type="presParOf" srcId="{6DAD5AF5-2F6C-40CF-B4A4-4535DCB1DE5D}" destId="{130F00FC-FAB4-FC48-8F3A-C00C60F773F6}" srcOrd="3" destOrd="0" presId="urn:microsoft.com/office/officeart/2009/3/layout/HorizontalOrganizationChart"/>
    <dgm:cxn modelId="{3070607D-DD41-1242-A6D3-37C1DD87B860}" type="presParOf" srcId="{130F00FC-FAB4-FC48-8F3A-C00C60F773F6}" destId="{CAC83379-269E-5741-8414-E5ED31DF00E5}" srcOrd="0" destOrd="0" presId="urn:microsoft.com/office/officeart/2009/3/layout/HorizontalOrganizationChart"/>
    <dgm:cxn modelId="{FD1C7F6C-38D4-2D4D-91C5-90F969F6BB64}" type="presParOf" srcId="{CAC83379-269E-5741-8414-E5ED31DF00E5}" destId="{A0471F14-CFB3-8449-8997-79C53AE48F72}" srcOrd="0" destOrd="0" presId="urn:microsoft.com/office/officeart/2009/3/layout/HorizontalOrganizationChart"/>
    <dgm:cxn modelId="{28398A17-AE25-9B4E-B8FA-453F275235A3}" type="presParOf" srcId="{CAC83379-269E-5741-8414-E5ED31DF00E5}" destId="{20E2811A-1241-1C43-8D08-396FBA25036F}" srcOrd="1" destOrd="0" presId="urn:microsoft.com/office/officeart/2009/3/layout/HorizontalOrganizationChart"/>
    <dgm:cxn modelId="{8BC4B408-F08D-1A4E-A4EE-E1EFB9E9E9F4}" type="presParOf" srcId="{130F00FC-FAB4-FC48-8F3A-C00C60F773F6}" destId="{EDCA2F9E-F17A-3E45-80B8-679DF2787438}" srcOrd="1" destOrd="0" presId="urn:microsoft.com/office/officeart/2009/3/layout/HorizontalOrganizationChart"/>
    <dgm:cxn modelId="{57E05CD6-E599-C645-8689-3E5CA0544D86}" type="presParOf" srcId="{130F00FC-FAB4-FC48-8F3A-C00C60F773F6}" destId="{81A7C4EA-C53A-3A4F-B2EC-E0CE77B8741F}" srcOrd="2" destOrd="0" presId="urn:microsoft.com/office/officeart/2009/3/layout/HorizontalOrganizationChart"/>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C14FF3FB-789E-4041-BAA4-8A5D3EF74394}" type="doc">
      <dgm:prSet loTypeId="urn:microsoft.com/office/officeart/2009/3/layout/HorizontalOrganizationChart" loCatId="hierarchy" qsTypeId="urn:microsoft.com/office/officeart/2005/8/quickstyle/simple1" qsCatId="simple" csTypeId="urn:microsoft.com/office/officeart/2005/8/colors/accent1_2" csCatId="accent1" phldr="1"/>
      <dgm:spPr/>
      <dgm:t>
        <a:bodyPr/>
        <a:lstStyle/>
        <a:p>
          <a:endParaRPr lang="en-US"/>
        </a:p>
      </dgm:t>
    </dgm:pt>
    <dgm:pt modelId="{8A0FDD62-5ACB-4363-8100-7921DB27FED9}">
      <dgm:prSet phldrT="[Text]" custT="1"/>
      <dgm:spPr>
        <a:solidFill>
          <a:schemeClr val="accent6"/>
        </a:solidFill>
      </dgm:spPr>
      <dgm:t>
        <a:bodyPr/>
        <a:lstStyle/>
        <a:p>
          <a:r>
            <a:rPr lang="en-US" sz="1800" dirty="0"/>
            <a:t>Recycling</a:t>
          </a:r>
        </a:p>
      </dgm:t>
    </dgm:pt>
    <dgm:pt modelId="{2E0A18BD-4B57-45A2-B599-17A5236A0DBA}" type="parTrans" cxnId="{FFCB8E0E-83EF-4599-BF13-C986EE976DEB}">
      <dgm:prSet/>
      <dgm:spPr/>
      <dgm:t>
        <a:bodyPr/>
        <a:lstStyle/>
        <a:p>
          <a:endParaRPr lang="en-US" sz="1800"/>
        </a:p>
      </dgm:t>
    </dgm:pt>
    <dgm:pt modelId="{95404541-6FCE-499D-B544-6283CA283D12}" type="sibTrans" cxnId="{FFCB8E0E-83EF-4599-BF13-C986EE976DEB}">
      <dgm:prSet/>
      <dgm:spPr/>
      <dgm:t>
        <a:bodyPr/>
        <a:lstStyle/>
        <a:p>
          <a:endParaRPr lang="en-US" sz="1800"/>
        </a:p>
      </dgm:t>
    </dgm:pt>
    <dgm:pt modelId="{9C224AA8-5D6D-439F-A5FF-D80F3FA166E4}">
      <dgm:prSet phldrT="[Text]" custT="1"/>
      <dgm:spPr>
        <a:solidFill>
          <a:schemeClr val="accent6"/>
        </a:solidFill>
      </dgm:spPr>
      <dgm:t>
        <a:bodyPr/>
        <a:lstStyle/>
        <a:p>
          <a:r>
            <a:rPr lang="en-US" sz="1800" dirty="0"/>
            <a:t>Class I</a:t>
          </a:r>
        </a:p>
      </dgm:t>
    </dgm:pt>
    <dgm:pt modelId="{FE1183B8-299D-4DAE-9761-D4155ED0D626}" type="parTrans" cxnId="{E02BB2F0-87BB-483B-91A1-E7038189B78B}">
      <dgm:prSet/>
      <dgm:spPr/>
      <dgm:t>
        <a:bodyPr/>
        <a:lstStyle/>
        <a:p>
          <a:endParaRPr lang="en-US" sz="1800"/>
        </a:p>
      </dgm:t>
    </dgm:pt>
    <dgm:pt modelId="{46ECC135-E1CD-4BA3-940E-260EB4B089CC}" type="sibTrans" cxnId="{E02BB2F0-87BB-483B-91A1-E7038189B78B}">
      <dgm:prSet/>
      <dgm:spPr/>
      <dgm:t>
        <a:bodyPr/>
        <a:lstStyle/>
        <a:p>
          <a:endParaRPr lang="en-US" sz="1800"/>
        </a:p>
      </dgm:t>
    </dgm:pt>
    <dgm:pt modelId="{D09E3D4F-1D7D-42D1-986A-2D072940B2CA}">
      <dgm:prSet phldrT="[Text]" custT="1"/>
      <dgm:spPr>
        <a:solidFill>
          <a:schemeClr val="accent6"/>
        </a:solidFill>
      </dgm:spPr>
      <dgm:t>
        <a:bodyPr/>
        <a:lstStyle/>
        <a:p>
          <a:r>
            <a:rPr lang="en-US" sz="1800" dirty="0"/>
            <a:t>Organics Processing</a:t>
          </a:r>
        </a:p>
      </dgm:t>
    </dgm:pt>
    <dgm:pt modelId="{68ACF64D-A3E1-46BE-A0F8-EACFA27593B4}" type="parTrans" cxnId="{498BAEE2-7893-4D7B-95CC-F1C754C0CACB}">
      <dgm:prSet/>
      <dgm:spPr/>
      <dgm:t>
        <a:bodyPr/>
        <a:lstStyle/>
        <a:p>
          <a:endParaRPr lang="en-US" sz="1800"/>
        </a:p>
      </dgm:t>
    </dgm:pt>
    <dgm:pt modelId="{086D19BD-9679-4E1D-AB18-9C674F65C6F7}" type="sibTrans" cxnId="{498BAEE2-7893-4D7B-95CC-F1C754C0CACB}">
      <dgm:prSet/>
      <dgm:spPr/>
      <dgm:t>
        <a:bodyPr/>
        <a:lstStyle/>
        <a:p>
          <a:endParaRPr lang="en-US" sz="1800"/>
        </a:p>
      </dgm:t>
    </dgm:pt>
    <dgm:pt modelId="{A63D69D2-ED31-4993-930F-751C45C13CD4}">
      <dgm:prSet phldrT="[Text]" custT="1"/>
      <dgm:spPr>
        <a:solidFill>
          <a:schemeClr val="accent6"/>
        </a:solidFill>
      </dgm:spPr>
      <dgm:t>
        <a:bodyPr/>
        <a:lstStyle/>
        <a:p>
          <a:r>
            <a:rPr lang="en-US" sz="1800" dirty="0"/>
            <a:t>Food Waste &amp; Manure</a:t>
          </a:r>
        </a:p>
      </dgm:t>
    </dgm:pt>
    <dgm:pt modelId="{56CFB6F2-8ADE-4838-A1ED-04DC59B84DF2}" type="parTrans" cxnId="{2DF84CA8-05F6-44B5-B32C-C070F0034577}">
      <dgm:prSet/>
      <dgm:spPr/>
      <dgm:t>
        <a:bodyPr/>
        <a:lstStyle/>
        <a:p>
          <a:endParaRPr lang="en-US" sz="1800"/>
        </a:p>
      </dgm:t>
    </dgm:pt>
    <dgm:pt modelId="{C3A94619-7880-4FE5-9FE3-8CDA03266D62}" type="sibTrans" cxnId="{2DF84CA8-05F6-44B5-B32C-C070F0034577}">
      <dgm:prSet/>
      <dgm:spPr/>
      <dgm:t>
        <a:bodyPr/>
        <a:lstStyle/>
        <a:p>
          <a:endParaRPr lang="en-US" sz="1800"/>
        </a:p>
      </dgm:t>
    </dgm:pt>
    <dgm:pt modelId="{91762AC4-5843-45DA-BD82-07AA1A1B93DC}">
      <dgm:prSet phldrT="[Text]" custT="1"/>
      <dgm:spPr>
        <a:solidFill>
          <a:schemeClr val="accent6"/>
        </a:solidFill>
      </dgm:spPr>
      <dgm:t>
        <a:bodyPr/>
        <a:lstStyle/>
        <a:p>
          <a:r>
            <a:rPr lang="en-US" sz="1800" dirty="0"/>
            <a:t>Yard Trash</a:t>
          </a:r>
        </a:p>
      </dgm:t>
    </dgm:pt>
    <dgm:pt modelId="{44316C2B-8810-4B50-9686-5B8AC20A9943}" type="parTrans" cxnId="{1AAC81B3-3511-4BEE-B020-161368D405A0}">
      <dgm:prSet/>
      <dgm:spPr/>
      <dgm:t>
        <a:bodyPr/>
        <a:lstStyle/>
        <a:p>
          <a:endParaRPr lang="en-US" sz="1800"/>
        </a:p>
      </dgm:t>
    </dgm:pt>
    <dgm:pt modelId="{69F84360-F8FB-4DC2-8AA4-DA39E260F788}" type="sibTrans" cxnId="{1AAC81B3-3511-4BEE-B020-161368D405A0}">
      <dgm:prSet/>
      <dgm:spPr/>
      <dgm:t>
        <a:bodyPr/>
        <a:lstStyle/>
        <a:p>
          <a:endParaRPr lang="en-US" sz="1800"/>
        </a:p>
      </dgm:t>
    </dgm:pt>
    <dgm:pt modelId="{008E733D-A691-43BC-BA5B-9A1FC1EAE70B}">
      <dgm:prSet phldrT="[Text]" custT="1"/>
      <dgm:spPr>
        <a:solidFill>
          <a:schemeClr val="accent6"/>
        </a:solidFill>
      </dgm:spPr>
      <dgm:t>
        <a:bodyPr/>
        <a:lstStyle/>
        <a:p>
          <a:r>
            <a:rPr lang="en-US" sz="1800" dirty="0"/>
            <a:t>Class III/CDD</a:t>
          </a:r>
        </a:p>
      </dgm:t>
    </dgm:pt>
    <dgm:pt modelId="{9B6CE281-A07D-4914-93D2-9572AC8D5A6F}" type="parTrans" cxnId="{AD5298DF-9589-4A56-B320-737BAAF026D5}">
      <dgm:prSet/>
      <dgm:spPr/>
      <dgm:t>
        <a:bodyPr/>
        <a:lstStyle/>
        <a:p>
          <a:endParaRPr lang="en-US" sz="1800"/>
        </a:p>
      </dgm:t>
    </dgm:pt>
    <dgm:pt modelId="{C1D44F35-2DE3-41EF-8668-22EC13345377}" type="sibTrans" cxnId="{AD5298DF-9589-4A56-B320-737BAAF026D5}">
      <dgm:prSet/>
      <dgm:spPr/>
      <dgm:t>
        <a:bodyPr/>
        <a:lstStyle/>
        <a:p>
          <a:endParaRPr lang="en-US" sz="1800"/>
        </a:p>
      </dgm:t>
    </dgm:pt>
    <dgm:pt modelId="{4AF9AEFF-42D1-B740-82E9-C1B79BBA1D1D}">
      <dgm:prSet custT="1"/>
      <dgm:spPr>
        <a:solidFill>
          <a:schemeClr val="accent6"/>
        </a:solidFill>
      </dgm:spPr>
      <dgm:t>
        <a:bodyPr/>
        <a:lstStyle/>
        <a:p>
          <a:r>
            <a:rPr lang="en-US" sz="1800" dirty="0"/>
            <a:t>Used Oil Processing</a:t>
          </a:r>
        </a:p>
      </dgm:t>
    </dgm:pt>
    <dgm:pt modelId="{136DFE82-DD95-9440-99FE-AD1D30173A71}" type="parTrans" cxnId="{DF4C2B5F-7246-F94A-8255-732907A6C824}">
      <dgm:prSet/>
      <dgm:spPr/>
      <dgm:t>
        <a:bodyPr/>
        <a:lstStyle/>
        <a:p>
          <a:endParaRPr lang="en-US" sz="1800"/>
        </a:p>
      </dgm:t>
    </dgm:pt>
    <dgm:pt modelId="{7CA9E5FE-025A-A543-85F9-9D75B8464C49}" type="sibTrans" cxnId="{DF4C2B5F-7246-F94A-8255-732907A6C824}">
      <dgm:prSet/>
      <dgm:spPr/>
      <dgm:t>
        <a:bodyPr/>
        <a:lstStyle/>
        <a:p>
          <a:endParaRPr lang="en-US" sz="1800"/>
        </a:p>
      </dgm:t>
    </dgm:pt>
    <dgm:pt modelId="{99A6F7B8-F459-C049-8C11-CCDD7B940BE5}">
      <dgm:prSet custT="1"/>
      <dgm:spPr>
        <a:solidFill>
          <a:schemeClr val="accent6"/>
        </a:solidFill>
      </dgm:spPr>
      <dgm:t>
        <a:bodyPr/>
        <a:lstStyle/>
        <a:p>
          <a:r>
            <a:rPr lang="en-US" sz="1800" dirty="0"/>
            <a:t>Anaerobic Digestion</a:t>
          </a:r>
        </a:p>
      </dgm:t>
    </dgm:pt>
    <dgm:pt modelId="{4CE8A549-566D-4C42-A09F-87E406049175}" type="parTrans" cxnId="{F63E21A2-8CCE-FA46-BC05-575C278D6DE2}">
      <dgm:prSet/>
      <dgm:spPr/>
      <dgm:t>
        <a:bodyPr/>
        <a:lstStyle/>
        <a:p>
          <a:endParaRPr lang="en-US" sz="1800"/>
        </a:p>
      </dgm:t>
    </dgm:pt>
    <dgm:pt modelId="{880CDBBF-3EE3-1049-BA69-72D0330DC069}" type="sibTrans" cxnId="{F63E21A2-8CCE-FA46-BC05-575C278D6DE2}">
      <dgm:prSet/>
      <dgm:spPr/>
      <dgm:t>
        <a:bodyPr/>
        <a:lstStyle/>
        <a:p>
          <a:endParaRPr lang="en-US" sz="1800"/>
        </a:p>
      </dgm:t>
    </dgm:pt>
    <dgm:pt modelId="{4CC743BE-89B2-7B43-BF58-D59F86D8E5AF}">
      <dgm:prSet custT="1"/>
      <dgm:spPr>
        <a:solidFill>
          <a:schemeClr val="accent6"/>
        </a:solidFill>
      </dgm:spPr>
      <dgm:t>
        <a:bodyPr/>
        <a:lstStyle/>
        <a:p>
          <a:r>
            <a:rPr lang="en-US" sz="1800" dirty="0"/>
            <a:t>HHW</a:t>
          </a:r>
        </a:p>
      </dgm:t>
    </dgm:pt>
    <dgm:pt modelId="{6FCB5090-C78A-4A40-B1E1-D95882A618A4}" type="parTrans" cxnId="{005F93D0-0F40-B244-93EB-B7486C7FF021}">
      <dgm:prSet/>
      <dgm:spPr/>
      <dgm:t>
        <a:bodyPr/>
        <a:lstStyle/>
        <a:p>
          <a:endParaRPr lang="en-US" sz="1800"/>
        </a:p>
      </dgm:t>
    </dgm:pt>
    <dgm:pt modelId="{DDD58D91-D3F1-CF45-A967-235059630097}" type="sibTrans" cxnId="{005F93D0-0F40-B244-93EB-B7486C7FF021}">
      <dgm:prSet/>
      <dgm:spPr/>
      <dgm:t>
        <a:bodyPr/>
        <a:lstStyle/>
        <a:p>
          <a:endParaRPr lang="en-US" sz="1800"/>
        </a:p>
      </dgm:t>
    </dgm:pt>
    <dgm:pt modelId="{6DAD5AF5-2F6C-40CF-B4A4-4535DCB1DE5D}" type="pres">
      <dgm:prSet presAssocID="{C14FF3FB-789E-4041-BAA4-8A5D3EF74394}" presName="hierChild1" presStyleCnt="0">
        <dgm:presLayoutVars>
          <dgm:orgChart val="1"/>
          <dgm:chPref val="1"/>
          <dgm:dir/>
          <dgm:animOne val="branch"/>
          <dgm:animLvl val="lvl"/>
          <dgm:resizeHandles/>
        </dgm:presLayoutVars>
      </dgm:prSet>
      <dgm:spPr/>
    </dgm:pt>
    <dgm:pt modelId="{9E669CAF-C666-4968-9C8A-A75CD735112E}" type="pres">
      <dgm:prSet presAssocID="{8A0FDD62-5ACB-4363-8100-7921DB27FED9}" presName="hierRoot1" presStyleCnt="0">
        <dgm:presLayoutVars>
          <dgm:hierBranch val="init"/>
        </dgm:presLayoutVars>
      </dgm:prSet>
      <dgm:spPr/>
    </dgm:pt>
    <dgm:pt modelId="{C9310B4B-0140-4156-88BB-BB8B405BA2F6}" type="pres">
      <dgm:prSet presAssocID="{8A0FDD62-5ACB-4363-8100-7921DB27FED9}" presName="rootComposite1" presStyleCnt="0"/>
      <dgm:spPr/>
    </dgm:pt>
    <dgm:pt modelId="{9243952B-3833-4F9A-A71B-0A59EE8FED19}" type="pres">
      <dgm:prSet presAssocID="{8A0FDD62-5ACB-4363-8100-7921DB27FED9}" presName="rootText1" presStyleLbl="node0" presStyleIdx="0" presStyleCnt="4" custLinFactNeighborX="-108" custLinFactNeighborY="9627">
        <dgm:presLayoutVars>
          <dgm:chPref val="3"/>
        </dgm:presLayoutVars>
      </dgm:prSet>
      <dgm:spPr/>
    </dgm:pt>
    <dgm:pt modelId="{4C951630-26BE-4FC2-B02A-6EABC31BCC02}" type="pres">
      <dgm:prSet presAssocID="{8A0FDD62-5ACB-4363-8100-7921DB27FED9}" presName="rootConnector1" presStyleLbl="node1" presStyleIdx="0" presStyleCnt="0"/>
      <dgm:spPr/>
    </dgm:pt>
    <dgm:pt modelId="{A9CBB20B-D2FF-462D-8365-7D562044133A}" type="pres">
      <dgm:prSet presAssocID="{8A0FDD62-5ACB-4363-8100-7921DB27FED9}" presName="hierChild2" presStyleCnt="0"/>
      <dgm:spPr/>
    </dgm:pt>
    <dgm:pt modelId="{C5E9805B-8734-43E5-87A9-3E4EDE6400A1}" type="pres">
      <dgm:prSet presAssocID="{FE1183B8-299D-4DAE-9761-D4155ED0D626}" presName="Name64" presStyleLbl="parChTrans1D2" presStyleIdx="0" presStyleCnt="5"/>
      <dgm:spPr/>
    </dgm:pt>
    <dgm:pt modelId="{59D565F5-CF79-4EC0-B001-75692E0C55A5}" type="pres">
      <dgm:prSet presAssocID="{9C224AA8-5D6D-439F-A5FF-D80F3FA166E4}" presName="hierRoot2" presStyleCnt="0">
        <dgm:presLayoutVars>
          <dgm:hierBranch val="init"/>
        </dgm:presLayoutVars>
      </dgm:prSet>
      <dgm:spPr/>
    </dgm:pt>
    <dgm:pt modelId="{FD1AFDEF-415B-41D7-A2B3-18097AE78CD0}" type="pres">
      <dgm:prSet presAssocID="{9C224AA8-5D6D-439F-A5FF-D80F3FA166E4}" presName="rootComposite" presStyleCnt="0"/>
      <dgm:spPr/>
    </dgm:pt>
    <dgm:pt modelId="{F6C5896B-E465-4949-89C8-FE4B715A7AA6}" type="pres">
      <dgm:prSet presAssocID="{9C224AA8-5D6D-439F-A5FF-D80F3FA166E4}" presName="rootText" presStyleLbl="node2" presStyleIdx="0" presStyleCnt="5" custLinFactNeighborY="9627">
        <dgm:presLayoutVars>
          <dgm:chPref val="3"/>
        </dgm:presLayoutVars>
      </dgm:prSet>
      <dgm:spPr/>
    </dgm:pt>
    <dgm:pt modelId="{E545B4FB-CAAE-4F67-8274-077F8989871C}" type="pres">
      <dgm:prSet presAssocID="{9C224AA8-5D6D-439F-A5FF-D80F3FA166E4}" presName="rootConnector" presStyleLbl="node2" presStyleIdx="0" presStyleCnt="5"/>
      <dgm:spPr/>
    </dgm:pt>
    <dgm:pt modelId="{12A0EF90-D8EB-4D76-A8C2-74FEB5F363FC}" type="pres">
      <dgm:prSet presAssocID="{9C224AA8-5D6D-439F-A5FF-D80F3FA166E4}" presName="hierChild4" presStyleCnt="0"/>
      <dgm:spPr/>
    </dgm:pt>
    <dgm:pt modelId="{945B86D7-60E4-41FF-9E22-41E01EACAF57}" type="pres">
      <dgm:prSet presAssocID="{9C224AA8-5D6D-439F-A5FF-D80F3FA166E4}" presName="hierChild5" presStyleCnt="0"/>
      <dgm:spPr/>
    </dgm:pt>
    <dgm:pt modelId="{128DFF0E-9219-4A5D-9DC2-F45043BFED9C}" type="pres">
      <dgm:prSet presAssocID="{9B6CE281-A07D-4914-93D2-9572AC8D5A6F}" presName="Name64" presStyleLbl="parChTrans1D2" presStyleIdx="1" presStyleCnt="5"/>
      <dgm:spPr/>
    </dgm:pt>
    <dgm:pt modelId="{FAA8B00E-FFCD-4593-8064-8429CF84817D}" type="pres">
      <dgm:prSet presAssocID="{008E733D-A691-43BC-BA5B-9A1FC1EAE70B}" presName="hierRoot2" presStyleCnt="0">
        <dgm:presLayoutVars>
          <dgm:hierBranch val="init"/>
        </dgm:presLayoutVars>
      </dgm:prSet>
      <dgm:spPr/>
    </dgm:pt>
    <dgm:pt modelId="{4791B7BC-7EE6-4C28-B1A7-F15C8A55C61B}" type="pres">
      <dgm:prSet presAssocID="{008E733D-A691-43BC-BA5B-9A1FC1EAE70B}" presName="rootComposite" presStyleCnt="0"/>
      <dgm:spPr/>
    </dgm:pt>
    <dgm:pt modelId="{7912A520-6302-4FA0-B726-5F1C79158053}" type="pres">
      <dgm:prSet presAssocID="{008E733D-A691-43BC-BA5B-9A1FC1EAE70B}" presName="rootText" presStyleLbl="node2" presStyleIdx="1" presStyleCnt="5" custLinFactNeighborY="9627">
        <dgm:presLayoutVars>
          <dgm:chPref val="3"/>
        </dgm:presLayoutVars>
      </dgm:prSet>
      <dgm:spPr/>
    </dgm:pt>
    <dgm:pt modelId="{B94DF8A1-A875-4807-9162-20A5A5F20602}" type="pres">
      <dgm:prSet presAssocID="{008E733D-A691-43BC-BA5B-9A1FC1EAE70B}" presName="rootConnector" presStyleLbl="node2" presStyleIdx="1" presStyleCnt="5"/>
      <dgm:spPr/>
    </dgm:pt>
    <dgm:pt modelId="{6D2B7FA0-C8F7-4BB1-A24B-5867C359A830}" type="pres">
      <dgm:prSet presAssocID="{008E733D-A691-43BC-BA5B-9A1FC1EAE70B}" presName="hierChild4" presStyleCnt="0"/>
      <dgm:spPr/>
    </dgm:pt>
    <dgm:pt modelId="{9E8D2733-07A7-4B55-AECD-D0F401EC67DB}" type="pres">
      <dgm:prSet presAssocID="{008E733D-A691-43BC-BA5B-9A1FC1EAE70B}" presName="hierChild5" presStyleCnt="0"/>
      <dgm:spPr/>
    </dgm:pt>
    <dgm:pt modelId="{BB1C3144-AF76-4C1A-AC16-5745FE3D6FF4}" type="pres">
      <dgm:prSet presAssocID="{8A0FDD62-5ACB-4363-8100-7921DB27FED9}" presName="hierChild3" presStyleCnt="0"/>
      <dgm:spPr/>
    </dgm:pt>
    <dgm:pt modelId="{E18B88DC-BC5B-4269-8303-2816E8A33297}" type="pres">
      <dgm:prSet presAssocID="{D09E3D4F-1D7D-42D1-986A-2D072940B2CA}" presName="hierRoot1" presStyleCnt="0">
        <dgm:presLayoutVars>
          <dgm:hierBranch val="init"/>
        </dgm:presLayoutVars>
      </dgm:prSet>
      <dgm:spPr/>
    </dgm:pt>
    <dgm:pt modelId="{7E1EFAEC-C6C5-4489-9136-BD7B0956B289}" type="pres">
      <dgm:prSet presAssocID="{D09E3D4F-1D7D-42D1-986A-2D072940B2CA}" presName="rootComposite1" presStyleCnt="0"/>
      <dgm:spPr/>
    </dgm:pt>
    <dgm:pt modelId="{8F43BE6E-166A-4736-B495-0F0C5F9C5A94}" type="pres">
      <dgm:prSet presAssocID="{D09E3D4F-1D7D-42D1-986A-2D072940B2CA}" presName="rootText1" presStyleLbl="node0" presStyleIdx="1" presStyleCnt="4" custScaleY="193739">
        <dgm:presLayoutVars>
          <dgm:chPref val="3"/>
        </dgm:presLayoutVars>
      </dgm:prSet>
      <dgm:spPr/>
    </dgm:pt>
    <dgm:pt modelId="{65E7425D-55D2-4A95-85AE-4170C0981629}" type="pres">
      <dgm:prSet presAssocID="{D09E3D4F-1D7D-42D1-986A-2D072940B2CA}" presName="rootConnector1" presStyleLbl="node1" presStyleIdx="0" presStyleCnt="0"/>
      <dgm:spPr/>
    </dgm:pt>
    <dgm:pt modelId="{0A91E4F6-AD54-49CF-9C53-9262E286DF5E}" type="pres">
      <dgm:prSet presAssocID="{D09E3D4F-1D7D-42D1-986A-2D072940B2CA}" presName="hierChild2" presStyleCnt="0"/>
      <dgm:spPr/>
    </dgm:pt>
    <dgm:pt modelId="{3C8331C7-B13D-4AF7-A323-1B1603B58B0E}" type="pres">
      <dgm:prSet presAssocID="{56CFB6F2-8ADE-4838-A1ED-04DC59B84DF2}" presName="Name64" presStyleLbl="parChTrans1D2" presStyleIdx="2" presStyleCnt="5"/>
      <dgm:spPr/>
    </dgm:pt>
    <dgm:pt modelId="{B92978FC-A8E3-4BC5-983D-A951B513D496}" type="pres">
      <dgm:prSet presAssocID="{A63D69D2-ED31-4993-930F-751C45C13CD4}" presName="hierRoot2" presStyleCnt="0">
        <dgm:presLayoutVars>
          <dgm:hierBranch val="init"/>
        </dgm:presLayoutVars>
      </dgm:prSet>
      <dgm:spPr/>
    </dgm:pt>
    <dgm:pt modelId="{BCE6459C-EE48-41D9-B74E-BEC9785A15BD}" type="pres">
      <dgm:prSet presAssocID="{A63D69D2-ED31-4993-930F-751C45C13CD4}" presName="rootComposite" presStyleCnt="0"/>
      <dgm:spPr/>
    </dgm:pt>
    <dgm:pt modelId="{B633B50C-55B7-4080-8A5D-DD9EE7F65740}" type="pres">
      <dgm:prSet presAssocID="{A63D69D2-ED31-4993-930F-751C45C13CD4}" presName="rootText" presStyleLbl="node2" presStyleIdx="2" presStyleCnt="5" custScaleY="183604" custLinFactNeighborY="9627">
        <dgm:presLayoutVars>
          <dgm:chPref val="3"/>
        </dgm:presLayoutVars>
      </dgm:prSet>
      <dgm:spPr/>
    </dgm:pt>
    <dgm:pt modelId="{BCAEF62C-2B92-4445-AEF0-05B432CBDEDE}" type="pres">
      <dgm:prSet presAssocID="{A63D69D2-ED31-4993-930F-751C45C13CD4}" presName="rootConnector" presStyleLbl="node2" presStyleIdx="2" presStyleCnt="5"/>
      <dgm:spPr/>
    </dgm:pt>
    <dgm:pt modelId="{85D17B27-E6A5-4A40-B9C1-320A246A7E32}" type="pres">
      <dgm:prSet presAssocID="{A63D69D2-ED31-4993-930F-751C45C13CD4}" presName="hierChild4" presStyleCnt="0"/>
      <dgm:spPr/>
    </dgm:pt>
    <dgm:pt modelId="{009D29F9-C5F4-4601-953B-F2A1F0EC73B1}" type="pres">
      <dgm:prSet presAssocID="{A63D69D2-ED31-4993-930F-751C45C13CD4}" presName="hierChild5" presStyleCnt="0"/>
      <dgm:spPr/>
    </dgm:pt>
    <dgm:pt modelId="{4E1287EB-C0CC-4C9B-8503-F8372D7BE22A}" type="pres">
      <dgm:prSet presAssocID="{44316C2B-8810-4B50-9686-5B8AC20A9943}" presName="Name64" presStyleLbl="parChTrans1D2" presStyleIdx="3" presStyleCnt="5"/>
      <dgm:spPr/>
    </dgm:pt>
    <dgm:pt modelId="{30BCAA1C-BC25-46FB-975C-8FC930EF37D0}" type="pres">
      <dgm:prSet presAssocID="{91762AC4-5843-45DA-BD82-07AA1A1B93DC}" presName="hierRoot2" presStyleCnt="0">
        <dgm:presLayoutVars>
          <dgm:hierBranch val="init"/>
        </dgm:presLayoutVars>
      </dgm:prSet>
      <dgm:spPr/>
    </dgm:pt>
    <dgm:pt modelId="{6641C33A-4F6C-4E1C-8D18-646008060B9F}" type="pres">
      <dgm:prSet presAssocID="{91762AC4-5843-45DA-BD82-07AA1A1B93DC}" presName="rootComposite" presStyleCnt="0"/>
      <dgm:spPr/>
    </dgm:pt>
    <dgm:pt modelId="{F8970BD3-839A-4C82-84BD-B0A41A6A9807}" type="pres">
      <dgm:prSet presAssocID="{91762AC4-5843-45DA-BD82-07AA1A1B93DC}" presName="rootText" presStyleLbl="node2" presStyleIdx="3" presStyleCnt="5" custLinFactNeighborY="9627">
        <dgm:presLayoutVars>
          <dgm:chPref val="3"/>
        </dgm:presLayoutVars>
      </dgm:prSet>
      <dgm:spPr/>
    </dgm:pt>
    <dgm:pt modelId="{240D1101-2E34-40E6-BD15-AE5CAEF83A68}" type="pres">
      <dgm:prSet presAssocID="{91762AC4-5843-45DA-BD82-07AA1A1B93DC}" presName="rootConnector" presStyleLbl="node2" presStyleIdx="3" presStyleCnt="5"/>
      <dgm:spPr/>
    </dgm:pt>
    <dgm:pt modelId="{E0095A6F-32CE-4B3E-BA2B-7B435D2E0C1B}" type="pres">
      <dgm:prSet presAssocID="{91762AC4-5843-45DA-BD82-07AA1A1B93DC}" presName="hierChild4" presStyleCnt="0"/>
      <dgm:spPr/>
    </dgm:pt>
    <dgm:pt modelId="{0B7ED1C2-376D-49B3-9285-F308DEBA2294}" type="pres">
      <dgm:prSet presAssocID="{91762AC4-5843-45DA-BD82-07AA1A1B93DC}" presName="hierChild5" presStyleCnt="0"/>
      <dgm:spPr/>
    </dgm:pt>
    <dgm:pt modelId="{97D80550-4753-414D-9E2C-29E87CC202F1}" type="pres">
      <dgm:prSet presAssocID="{4CE8A549-566D-4C42-A09F-87E406049175}" presName="Name64" presStyleLbl="parChTrans1D2" presStyleIdx="4" presStyleCnt="5"/>
      <dgm:spPr/>
    </dgm:pt>
    <dgm:pt modelId="{AFBDD29A-F995-7942-816C-A971466B6455}" type="pres">
      <dgm:prSet presAssocID="{99A6F7B8-F459-C049-8C11-CCDD7B940BE5}" presName="hierRoot2" presStyleCnt="0">
        <dgm:presLayoutVars>
          <dgm:hierBranch val="init"/>
        </dgm:presLayoutVars>
      </dgm:prSet>
      <dgm:spPr/>
    </dgm:pt>
    <dgm:pt modelId="{B7B45292-BDF8-124E-BDB4-0352C7C47D67}" type="pres">
      <dgm:prSet presAssocID="{99A6F7B8-F459-C049-8C11-CCDD7B940BE5}" presName="rootComposite" presStyleCnt="0"/>
      <dgm:spPr/>
    </dgm:pt>
    <dgm:pt modelId="{C517AAD2-5580-C644-8C97-234B421E295B}" type="pres">
      <dgm:prSet presAssocID="{99A6F7B8-F459-C049-8C11-CCDD7B940BE5}" presName="rootText" presStyleLbl="node2" presStyleIdx="4" presStyleCnt="5" custScaleY="172050">
        <dgm:presLayoutVars>
          <dgm:chPref val="3"/>
        </dgm:presLayoutVars>
      </dgm:prSet>
      <dgm:spPr/>
    </dgm:pt>
    <dgm:pt modelId="{AE3B0388-2463-EF47-AFC2-5437291EF998}" type="pres">
      <dgm:prSet presAssocID="{99A6F7B8-F459-C049-8C11-CCDD7B940BE5}" presName="rootConnector" presStyleLbl="node2" presStyleIdx="4" presStyleCnt="5"/>
      <dgm:spPr/>
    </dgm:pt>
    <dgm:pt modelId="{1D002B0A-C78F-3E48-8C25-35AA92CAD96F}" type="pres">
      <dgm:prSet presAssocID="{99A6F7B8-F459-C049-8C11-CCDD7B940BE5}" presName="hierChild4" presStyleCnt="0"/>
      <dgm:spPr/>
    </dgm:pt>
    <dgm:pt modelId="{B0C7CB86-8280-C041-9FE8-BF2844EBC949}" type="pres">
      <dgm:prSet presAssocID="{99A6F7B8-F459-C049-8C11-CCDD7B940BE5}" presName="hierChild5" presStyleCnt="0"/>
      <dgm:spPr/>
    </dgm:pt>
    <dgm:pt modelId="{3AA06DB7-3CF2-4B80-A567-B41E54DCF106}" type="pres">
      <dgm:prSet presAssocID="{D09E3D4F-1D7D-42D1-986A-2D072940B2CA}" presName="hierChild3" presStyleCnt="0"/>
      <dgm:spPr/>
    </dgm:pt>
    <dgm:pt modelId="{23C114B1-B44D-274C-ACD6-335C344B8881}" type="pres">
      <dgm:prSet presAssocID="{4AF9AEFF-42D1-B740-82E9-C1B79BBA1D1D}" presName="hierRoot1" presStyleCnt="0">
        <dgm:presLayoutVars>
          <dgm:hierBranch val="init"/>
        </dgm:presLayoutVars>
      </dgm:prSet>
      <dgm:spPr/>
    </dgm:pt>
    <dgm:pt modelId="{3A5DF050-98B2-A44B-9D94-394A589761C7}" type="pres">
      <dgm:prSet presAssocID="{4AF9AEFF-42D1-B740-82E9-C1B79BBA1D1D}" presName="rootComposite1" presStyleCnt="0"/>
      <dgm:spPr/>
    </dgm:pt>
    <dgm:pt modelId="{3EA02441-E62E-C24E-A4DF-460F53CDBD20}" type="pres">
      <dgm:prSet presAssocID="{4AF9AEFF-42D1-B740-82E9-C1B79BBA1D1D}" presName="rootText1" presStyleLbl="node0" presStyleIdx="2" presStyleCnt="4" custScaleX="220215">
        <dgm:presLayoutVars>
          <dgm:chPref val="3"/>
        </dgm:presLayoutVars>
      </dgm:prSet>
      <dgm:spPr/>
    </dgm:pt>
    <dgm:pt modelId="{03B6B337-FD0F-8F46-B2A3-A49AE23D70A9}" type="pres">
      <dgm:prSet presAssocID="{4AF9AEFF-42D1-B740-82E9-C1B79BBA1D1D}" presName="rootConnector1" presStyleLbl="node1" presStyleIdx="0" presStyleCnt="0"/>
      <dgm:spPr/>
    </dgm:pt>
    <dgm:pt modelId="{DE1717D0-2F56-2147-8E6D-2E4A6D170743}" type="pres">
      <dgm:prSet presAssocID="{4AF9AEFF-42D1-B740-82E9-C1B79BBA1D1D}" presName="hierChild2" presStyleCnt="0"/>
      <dgm:spPr/>
    </dgm:pt>
    <dgm:pt modelId="{369D3ECE-AB07-3143-A203-76E48C3520DF}" type="pres">
      <dgm:prSet presAssocID="{4AF9AEFF-42D1-B740-82E9-C1B79BBA1D1D}" presName="hierChild3" presStyleCnt="0"/>
      <dgm:spPr/>
    </dgm:pt>
    <dgm:pt modelId="{130F00FC-FAB4-FC48-8F3A-C00C60F773F6}" type="pres">
      <dgm:prSet presAssocID="{4CC743BE-89B2-7B43-BF58-D59F86D8E5AF}" presName="hierRoot1" presStyleCnt="0">
        <dgm:presLayoutVars>
          <dgm:hierBranch val="init"/>
        </dgm:presLayoutVars>
      </dgm:prSet>
      <dgm:spPr/>
    </dgm:pt>
    <dgm:pt modelId="{CAC83379-269E-5741-8414-E5ED31DF00E5}" type="pres">
      <dgm:prSet presAssocID="{4CC743BE-89B2-7B43-BF58-D59F86D8E5AF}" presName="rootComposite1" presStyleCnt="0"/>
      <dgm:spPr/>
    </dgm:pt>
    <dgm:pt modelId="{A0471F14-CFB3-8449-8997-79C53AE48F72}" type="pres">
      <dgm:prSet presAssocID="{4CC743BE-89B2-7B43-BF58-D59F86D8E5AF}" presName="rootText1" presStyleLbl="node0" presStyleIdx="3" presStyleCnt="4" custScaleX="220215">
        <dgm:presLayoutVars>
          <dgm:chPref val="3"/>
        </dgm:presLayoutVars>
      </dgm:prSet>
      <dgm:spPr/>
    </dgm:pt>
    <dgm:pt modelId="{20E2811A-1241-1C43-8D08-396FBA25036F}" type="pres">
      <dgm:prSet presAssocID="{4CC743BE-89B2-7B43-BF58-D59F86D8E5AF}" presName="rootConnector1" presStyleLbl="node1" presStyleIdx="0" presStyleCnt="0"/>
      <dgm:spPr/>
    </dgm:pt>
    <dgm:pt modelId="{EDCA2F9E-F17A-3E45-80B8-679DF2787438}" type="pres">
      <dgm:prSet presAssocID="{4CC743BE-89B2-7B43-BF58-D59F86D8E5AF}" presName="hierChild2" presStyleCnt="0"/>
      <dgm:spPr/>
    </dgm:pt>
    <dgm:pt modelId="{81A7C4EA-C53A-3A4F-B2EC-E0CE77B8741F}" type="pres">
      <dgm:prSet presAssocID="{4CC743BE-89B2-7B43-BF58-D59F86D8E5AF}" presName="hierChild3" presStyleCnt="0"/>
      <dgm:spPr/>
    </dgm:pt>
  </dgm:ptLst>
  <dgm:cxnLst>
    <dgm:cxn modelId="{FFCB8E0E-83EF-4599-BF13-C986EE976DEB}" srcId="{C14FF3FB-789E-4041-BAA4-8A5D3EF74394}" destId="{8A0FDD62-5ACB-4363-8100-7921DB27FED9}" srcOrd="0" destOrd="0" parTransId="{2E0A18BD-4B57-45A2-B599-17A5236A0DBA}" sibTransId="{95404541-6FCE-499D-B544-6283CA283D12}"/>
    <dgm:cxn modelId="{BEC3980F-6EFA-3B4C-B0F5-406E4A0F5D23}" type="presOf" srcId="{99A6F7B8-F459-C049-8C11-CCDD7B940BE5}" destId="{C517AAD2-5580-C644-8C97-234B421E295B}" srcOrd="0" destOrd="0" presId="urn:microsoft.com/office/officeart/2009/3/layout/HorizontalOrganizationChart"/>
    <dgm:cxn modelId="{1BFC2014-0346-4085-A372-634EDC4246C7}" type="presOf" srcId="{008E733D-A691-43BC-BA5B-9A1FC1EAE70B}" destId="{7912A520-6302-4FA0-B726-5F1C79158053}" srcOrd="0" destOrd="0" presId="urn:microsoft.com/office/officeart/2009/3/layout/HorizontalOrganizationChart"/>
    <dgm:cxn modelId="{4EC2F718-0E10-4255-80DA-B31FD988F7FE}" type="presOf" srcId="{A63D69D2-ED31-4993-930F-751C45C13CD4}" destId="{BCAEF62C-2B92-4445-AEF0-05B432CBDEDE}" srcOrd="1" destOrd="0" presId="urn:microsoft.com/office/officeart/2009/3/layout/HorizontalOrganizationChart"/>
    <dgm:cxn modelId="{E457742C-253D-5D41-B628-8E3215250C26}" type="presOf" srcId="{4CC743BE-89B2-7B43-BF58-D59F86D8E5AF}" destId="{20E2811A-1241-1C43-8D08-396FBA25036F}" srcOrd="1" destOrd="0" presId="urn:microsoft.com/office/officeart/2009/3/layout/HorizontalOrganizationChart"/>
    <dgm:cxn modelId="{F4ABB83C-24C7-4711-A232-B64194FD2448}" type="presOf" srcId="{FE1183B8-299D-4DAE-9761-D4155ED0D626}" destId="{C5E9805B-8734-43E5-87A9-3E4EDE6400A1}" srcOrd="0" destOrd="0" presId="urn:microsoft.com/office/officeart/2009/3/layout/HorizontalOrganizationChart"/>
    <dgm:cxn modelId="{F85C7F5B-9BC1-4931-B469-45AFB800FF9A}" type="presOf" srcId="{A63D69D2-ED31-4993-930F-751C45C13CD4}" destId="{B633B50C-55B7-4080-8A5D-DD9EE7F65740}" srcOrd="0" destOrd="0" presId="urn:microsoft.com/office/officeart/2009/3/layout/HorizontalOrganizationChart"/>
    <dgm:cxn modelId="{DF4C2B5F-7246-F94A-8255-732907A6C824}" srcId="{C14FF3FB-789E-4041-BAA4-8A5D3EF74394}" destId="{4AF9AEFF-42D1-B740-82E9-C1B79BBA1D1D}" srcOrd="2" destOrd="0" parTransId="{136DFE82-DD95-9440-99FE-AD1D30173A71}" sibTransId="{7CA9E5FE-025A-A543-85F9-9D75B8464C49}"/>
    <dgm:cxn modelId="{D00B0B62-966B-4BC1-812E-4461A799A4F6}" type="presOf" srcId="{9B6CE281-A07D-4914-93D2-9572AC8D5A6F}" destId="{128DFF0E-9219-4A5D-9DC2-F45043BFED9C}" srcOrd="0" destOrd="0" presId="urn:microsoft.com/office/officeart/2009/3/layout/HorizontalOrganizationChart"/>
    <dgm:cxn modelId="{B57D786E-BC9E-C849-8C6F-B2E7F76C7E06}" type="presOf" srcId="{4CC743BE-89B2-7B43-BF58-D59F86D8E5AF}" destId="{A0471F14-CFB3-8449-8997-79C53AE48F72}" srcOrd="0" destOrd="0" presId="urn:microsoft.com/office/officeart/2009/3/layout/HorizontalOrganizationChart"/>
    <dgm:cxn modelId="{2BEC1470-7626-6643-BE17-A1EC90A007AE}" type="presOf" srcId="{4AF9AEFF-42D1-B740-82E9-C1B79BBA1D1D}" destId="{03B6B337-FD0F-8F46-B2A3-A49AE23D70A9}" srcOrd="1" destOrd="0" presId="urn:microsoft.com/office/officeart/2009/3/layout/HorizontalOrganizationChart"/>
    <dgm:cxn modelId="{418DDD72-5F93-4278-B9A7-B366FC5F831B}" type="presOf" srcId="{D09E3D4F-1D7D-42D1-986A-2D072940B2CA}" destId="{65E7425D-55D2-4A95-85AE-4170C0981629}" srcOrd="1" destOrd="0" presId="urn:microsoft.com/office/officeart/2009/3/layout/HorizontalOrganizationChart"/>
    <dgm:cxn modelId="{37169C73-803B-4B53-8056-7D86DF425149}" type="presOf" srcId="{D09E3D4F-1D7D-42D1-986A-2D072940B2CA}" destId="{8F43BE6E-166A-4736-B495-0F0C5F9C5A94}" srcOrd="0" destOrd="0" presId="urn:microsoft.com/office/officeart/2009/3/layout/HorizontalOrganizationChart"/>
    <dgm:cxn modelId="{EBE61E78-7C4C-8941-9AB5-46E2FCEC82E1}" type="presOf" srcId="{4AF9AEFF-42D1-B740-82E9-C1B79BBA1D1D}" destId="{3EA02441-E62E-C24E-A4DF-460F53CDBD20}" srcOrd="0" destOrd="0" presId="urn:microsoft.com/office/officeart/2009/3/layout/HorizontalOrganizationChart"/>
    <dgm:cxn modelId="{DAB9C179-CF84-4B9B-A240-A23B5E2EABF7}" type="presOf" srcId="{9C224AA8-5D6D-439F-A5FF-D80F3FA166E4}" destId="{E545B4FB-CAAE-4F67-8274-077F8989871C}" srcOrd="1" destOrd="0" presId="urn:microsoft.com/office/officeart/2009/3/layout/HorizontalOrganizationChart"/>
    <dgm:cxn modelId="{3A4A7F7C-3773-44AD-831D-2EEC340A03E6}" type="presOf" srcId="{C14FF3FB-789E-4041-BAA4-8A5D3EF74394}" destId="{6DAD5AF5-2F6C-40CF-B4A4-4535DCB1DE5D}" srcOrd="0" destOrd="0" presId="urn:microsoft.com/office/officeart/2009/3/layout/HorizontalOrganizationChart"/>
    <dgm:cxn modelId="{82C1FF81-201C-4ADF-A1A9-A5FC6A205E06}" type="presOf" srcId="{008E733D-A691-43BC-BA5B-9A1FC1EAE70B}" destId="{B94DF8A1-A875-4807-9162-20A5A5F20602}" srcOrd="1" destOrd="0" presId="urn:microsoft.com/office/officeart/2009/3/layout/HorizontalOrganizationChart"/>
    <dgm:cxn modelId="{3E6FF197-5C51-BA42-84F2-283924AFBBEC}" type="presOf" srcId="{99A6F7B8-F459-C049-8C11-CCDD7B940BE5}" destId="{AE3B0388-2463-EF47-AFC2-5437291EF998}" srcOrd="1" destOrd="0" presId="urn:microsoft.com/office/officeart/2009/3/layout/HorizontalOrganizationChart"/>
    <dgm:cxn modelId="{F63E21A2-8CCE-FA46-BC05-575C278D6DE2}" srcId="{D09E3D4F-1D7D-42D1-986A-2D072940B2CA}" destId="{99A6F7B8-F459-C049-8C11-CCDD7B940BE5}" srcOrd="2" destOrd="0" parTransId="{4CE8A549-566D-4C42-A09F-87E406049175}" sibTransId="{880CDBBF-3EE3-1049-BA69-72D0330DC069}"/>
    <dgm:cxn modelId="{75F13DA4-FA2F-45CE-98D6-21A7FC633828}" type="presOf" srcId="{91762AC4-5843-45DA-BD82-07AA1A1B93DC}" destId="{F8970BD3-839A-4C82-84BD-B0A41A6A9807}" srcOrd="0" destOrd="0" presId="urn:microsoft.com/office/officeart/2009/3/layout/HorizontalOrganizationChart"/>
    <dgm:cxn modelId="{0BBCF1A4-D106-5F47-AE99-00FCA6F17C0C}" type="presOf" srcId="{4CE8A549-566D-4C42-A09F-87E406049175}" destId="{97D80550-4753-414D-9E2C-29E87CC202F1}" srcOrd="0" destOrd="0" presId="urn:microsoft.com/office/officeart/2009/3/layout/HorizontalOrganizationChart"/>
    <dgm:cxn modelId="{2DF84CA8-05F6-44B5-B32C-C070F0034577}" srcId="{D09E3D4F-1D7D-42D1-986A-2D072940B2CA}" destId="{A63D69D2-ED31-4993-930F-751C45C13CD4}" srcOrd="0" destOrd="0" parTransId="{56CFB6F2-8ADE-4838-A1ED-04DC59B84DF2}" sibTransId="{C3A94619-7880-4FE5-9FE3-8CDA03266D62}"/>
    <dgm:cxn modelId="{2AB946AA-81B9-471D-9447-2C92C3DA6716}" type="presOf" srcId="{8A0FDD62-5ACB-4363-8100-7921DB27FED9}" destId="{4C951630-26BE-4FC2-B02A-6EABC31BCC02}" srcOrd="1" destOrd="0" presId="urn:microsoft.com/office/officeart/2009/3/layout/HorizontalOrganizationChart"/>
    <dgm:cxn modelId="{9CB71FB1-4091-4499-A694-E01ECE5458BA}" type="presOf" srcId="{8A0FDD62-5ACB-4363-8100-7921DB27FED9}" destId="{9243952B-3833-4F9A-A71B-0A59EE8FED19}" srcOrd="0" destOrd="0" presId="urn:microsoft.com/office/officeart/2009/3/layout/HorizontalOrganizationChart"/>
    <dgm:cxn modelId="{1AAC81B3-3511-4BEE-B020-161368D405A0}" srcId="{D09E3D4F-1D7D-42D1-986A-2D072940B2CA}" destId="{91762AC4-5843-45DA-BD82-07AA1A1B93DC}" srcOrd="1" destOrd="0" parTransId="{44316C2B-8810-4B50-9686-5B8AC20A9943}" sibTransId="{69F84360-F8FB-4DC2-8AA4-DA39E260F788}"/>
    <dgm:cxn modelId="{3906FFB6-8A5C-4D36-979B-0E1D1A1CD3FD}" type="presOf" srcId="{56CFB6F2-8ADE-4838-A1ED-04DC59B84DF2}" destId="{3C8331C7-B13D-4AF7-A323-1B1603B58B0E}" srcOrd="0" destOrd="0" presId="urn:microsoft.com/office/officeart/2009/3/layout/HorizontalOrganizationChart"/>
    <dgm:cxn modelId="{014BABC1-0E51-4069-80CD-AE6B55BB3A4A}" type="presOf" srcId="{91762AC4-5843-45DA-BD82-07AA1A1B93DC}" destId="{240D1101-2E34-40E6-BD15-AE5CAEF83A68}" srcOrd="1" destOrd="0" presId="urn:microsoft.com/office/officeart/2009/3/layout/HorizontalOrganizationChart"/>
    <dgm:cxn modelId="{005F93D0-0F40-B244-93EB-B7486C7FF021}" srcId="{C14FF3FB-789E-4041-BAA4-8A5D3EF74394}" destId="{4CC743BE-89B2-7B43-BF58-D59F86D8E5AF}" srcOrd="3" destOrd="0" parTransId="{6FCB5090-C78A-4A40-B1E1-D95882A618A4}" sibTransId="{DDD58D91-D3F1-CF45-A967-235059630097}"/>
    <dgm:cxn modelId="{49920FD5-87B7-4F99-ACE4-0498AF7B821F}" type="presOf" srcId="{44316C2B-8810-4B50-9686-5B8AC20A9943}" destId="{4E1287EB-C0CC-4C9B-8503-F8372D7BE22A}" srcOrd="0" destOrd="0" presId="urn:microsoft.com/office/officeart/2009/3/layout/HorizontalOrganizationChart"/>
    <dgm:cxn modelId="{AD5298DF-9589-4A56-B320-737BAAF026D5}" srcId="{8A0FDD62-5ACB-4363-8100-7921DB27FED9}" destId="{008E733D-A691-43BC-BA5B-9A1FC1EAE70B}" srcOrd="1" destOrd="0" parTransId="{9B6CE281-A07D-4914-93D2-9572AC8D5A6F}" sibTransId="{C1D44F35-2DE3-41EF-8668-22EC13345377}"/>
    <dgm:cxn modelId="{471993E1-B340-4A72-921B-81101BD0227A}" type="presOf" srcId="{9C224AA8-5D6D-439F-A5FF-D80F3FA166E4}" destId="{F6C5896B-E465-4949-89C8-FE4B715A7AA6}" srcOrd="0" destOrd="0" presId="urn:microsoft.com/office/officeart/2009/3/layout/HorizontalOrganizationChart"/>
    <dgm:cxn modelId="{498BAEE2-7893-4D7B-95CC-F1C754C0CACB}" srcId="{C14FF3FB-789E-4041-BAA4-8A5D3EF74394}" destId="{D09E3D4F-1D7D-42D1-986A-2D072940B2CA}" srcOrd="1" destOrd="0" parTransId="{68ACF64D-A3E1-46BE-A0F8-EACFA27593B4}" sibTransId="{086D19BD-9679-4E1D-AB18-9C674F65C6F7}"/>
    <dgm:cxn modelId="{E02BB2F0-87BB-483B-91A1-E7038189B78B}" srcId="{8A0FDD62-5ACB-4363-8100-7921DB27FED9}" destId="{9C224AA8-5D6D-439F-A5FF-D80F3FA166E4}" srcOrd="0" destOrd="0" parTransId="{FE1183B8-299D-4DAE-9761-D4155ED0D626}" sibTransId="{46ECC135-E1CD-4BA3-940E-260EB4B089CC}"/>
    <dgm:cxn modelId="{1BBA2148-F184-41BE-A4AA-FF4AE6E11402}" type="presParOf" srcId="{6DAD5AF5-2F6C-40CF-B4A4-4535DCB1DE5D}" destId="{9E669CAF-C666-4968-9C8A-A75CD735112E}" srcOrd="0" destOrd="0" presId="urn:microsoft.com/office/officeart/2009/3/layout/HorizontalOrganizationChart"/>
    <dgm:cxn modelId="{CD4A52A8-BB30-46B1-A09C-FA3E5962EAC3}" type="presParOf" srcId="{9E669CAF-C666-4968-9C8A-A75CD735112E}" destId="{C9310B4B-0140-4156-88BB-BB8B405BA2F6}" srcOrd="0" destOrd="0" presId="urn:microsoft.com/office/officeart/2009/3/layout/HorizontalOrganizationChart"/>
    <dgm:cxn modelId="{00FEEC05-1D06-4F50-9D37-E227647C0275}" type="presParOf" srcId="{C9310B4B-0140-4156-88BB-BB8B405BA2F6}" destId="{9243952B-3833-4F9A-A71B-0A59EE8FED19}" srcOrd="0" destOrd="0" presId="urn:microsoft.com/office/officeart/2009/3/layout/HorizontalOrganizationChart"/>
    <dgm:cxn modelId="{61330E62-BE84-4CF8-B87D-76F69F8989F7}" type="presParOf" srcId="{C9310B4B-0140-4156-88BB-BB8B405BA2F6}" destId="{4C951630-26BE-4FC2-B02A-6EABC31BCC02}" srcOrd="1" destOrd="0" presId="urn:microsoft.com/office/officeart/2009/3/layout/HorizontalOrganizationChart"/>
    <dgm:cxn modelId="{2CE91F4A-E069-4DC6-AEE5-7A68566C91BE}" type="presParOf" srcId="{9E669CAF-C666-4968-9C8A-A75CD735112E}" destId="{A9CBB20B-D2FF-462D-8365-7D562044133A}" srcOrd="1" destOrd="0" presId="urn:microsoft.com/office/officeart/2009/3/layout/HorizontalOrganizationChart"/>
    <dgm:cxn modelId="{38FD33C2-E9ED-421A-AB97-66306F9C9EA4}" type="presParOf" srcId="{A9CBB20B-D2FF-462D-8365-7D562044133A}" destId="{C5E9805B-8734-43E5-87A9-3E4EDE6400A1}" srcOrd="0" destOrd="0" presId="urn:microsoft.com/office/officeart/2009/3/layout/HorizontalOrganizationChart"/>
    <dgm:cxn modelId="{AB331918-CE8E-4BD5-8F39-5A78E4F37DF3}" type="presParOf" srcId="{A9CBB20B-D2FF-462D-8365-7D562044133A}" destId="{59D565F5-CF79-4EC0-B001-75692E0C55A5}" srcOrd="1" destOrd="0" presId="urn:microsoft.com/office/officeart/2009/3/layout/HorizontalOrganizationChart"/>
    <dgm:cxn modelId="{C0A68D2F-44EF-4A10-AB34-46A774F23A22}" type="presParOf" srcId="{59D565F5-CF79-4EC0-B001-75692E0C55A5}" destId="{FD1AFDEF-415B-41D7-A2B3-18097AE78CD0}" srcOrd="0" destOrd="0" presId="urn:microsoft.com/office/officeart/2009/3/layout/HorizontalOrganizationChart"/>
    <dgm:cxn modelId="{C91D4CE7-12AC-4F90-9AFD-D0BE248578DB}" type="presParOf" srcId="{FD1AFDEF-415B-41D7-A2B3-18097AE78CD0}" destId="{F6C5896B-E465-4949-89C8-FE4B715A7AA6}" srcOrd="0" destOrd="0" presId="urn:microsoft.com/office/officeart/2009/3/layout/HorizontalOrganizationChart"/>
    <dgm:cxn modelId="{7D5BFA1F-51B3-46A7-B782-3C218484186E}" type="presParOf" srcId="{FD1AFDEF-415B-41D7-A2B3-18097AE78CD0}" destId="{E545B4FB-CAAE-4F67-8274-077F8989871C}" srcOrd="1" destOrd="0" presId="urn:microsoft.com/office/officeart/2009/3/layout/HorizontalOrganizationChart"/>
    <dgm:cxn modelId="{2DDC45EE-5C4F-471D-B9E6-165EED17ADD7}" type="presParOf" srcId="{59D565F5-CF79-4EC0-B001-75692E0C55A5}" destId="{12A0EF90-D8EB-4D76-A8C2-74FEB5F363FC}" srcOrd="1" destOrd="0" presId="urn:microsoft.com/office/officeart/2009/3/layout/HorizontalOrganizationChart"/>
    <dgm:cxn modelId="{DF3D3A8F-F7E9-4699-A141-CF0E8EA8347E}" type="presParOf" srcId="{59D565F5-CF79-4EC0-B001-75692E0C55A5}" destId="{945B86D7-60E4-41FF-9E22-41E01EACAF57}" srcOrd="2" destOrd="0" presId="urn:microsoft.com/office/officeart/2009/3/layout/HorizontalOrganizationChart"/>
    <dgm:cxn modelId="{570AB87B-F212-470D-AAFE-0007CE7D9C98}" type="presParOf" srcId="{A9CBB20B-D2FF-462D-8365-7D562044133A}" destId="{128DFF0E-9219-4A5D-9DC2-F45043BFED9C}" srcOrd="2" destOrd="0" presId="urn:microsoft.com/office/officeart/2009/3/layout/HorizontalOrganizationChart"/>
    <dgm:cxn modelId="{AB377DF9-02DB-4A1B-9A6F-8D5CBF15E237}" type="presParOf" srcId="{A9CBB20B-D2FF-462D-8365-7D562044133A}" destId="{FAA8B00E-FFCD-4593-8064-8429CF84817D}" srcOrd="3" destOrd="0" presId="urn:microsoft.com/office/officeart/2009/3/layout/HorizontalOrganizationChart"/>
    <dgm:cxn modelId="{F0E35F52-E630-46F5-8602-6A637DC64B33}" type="presParOf" srcId="{FAA8B00E-FFCD-4593-8064-8429CF84817D}" destId="{4791B7BC-7EE6-4C28-B1A7-F15C8A55C61B}" srcOrd="0" destOrd="0" presId="urn:microsoft.com/office/officeart/2009/3/layout/HorizontalOrganizationChart"/>
    <dgm:cxn modelId="{8B4D615B-562E-48AF-84CF-0BAE577EBD31}" type="presParOf" srcId="{4791B7BC-7EE6-4C28-B1A7-F15C8A55C61B}" destId="{7912A520-6302-4FA0-B726-5F1C79158053}" srcOrd="0" destOrd="0" presId="urn:microsoft.com/office/officeart/2009/3/layout/HorizontalOrganizationChart"/>
    <dgm:cxn modelId="{3CE242D1-49EE-49F4-BE6F-B7ACD5DF6847}" type="presParOf" srcId="{4791B7BC-7EE6-4C28-B1A7-F15C8A55C61B}" destId="{B94DF8A1-A875-4807-9162-20A5A5F20602}" srcOrd="1" destOrd="0" presId="urn:microsoft.com/office/officeart/2009/3/layout/HorizontalOrganizationChart"/>
    <dgm:cxn modelId="{027A58EE-77C3-445F-97ED-EDBA31F8036C}" type="presParOf" srcId="{FAA8B00E-FFCD-4593-8064-8429CF84817D}" destId="{6D2B7FA0-C8F7-4BB1-A24B-5867C359A830}" srcOrd="1" destOrd="0" presId="urn:microsoft.com/office/officeart/2009/3/layout/HorizontalOrganizationChart"/>
    <dgm:cxn modelId="{35187DFD-FEA4-47C8-B1B8-F9E10844464F}" type="presParOf" srcId="{FAA8B00E-FFCD-4593-8064-8429CF84817D}" destId="{9E8D2733-07A7-4B55-AECD-D0F401EC67DB}" srcOrd="2" destOrd="0" presId="urn:microsoft.com/office/officeart/2009/3/layout/HorizontalOrganizationChart"/>
    <dgm:cxn modelId="{2EEB8B91-47BD-4CBB-BF41-68D9D0249310}" type="presParOf" srcId="{9E669CAF-C666-4968-9C8A-A75CD735112E}" destId="{BB1C3144-AF76-4C1A-AC16-5745FE3D6FF4}" srcOrd="2" destOrd="0" presId="urn:microsoft.com/office/officeart/2009/3/layout/HorizontalOrganizationChart"/>
    <dgm:cxn modelId="{955AEF40-4F3F-4537-AF01-8943C55F9F46}" type="presParOf" srcId="{6DAD5AF5-2F6C-40CF-B4A4-4535DCB1DE5D}" destId="{E18B88DC-BC5B-4269-8303-2816E8A33297}" srcOrd="1" destOrd="0" presId="urn:microsoft.com/office/officeart/2009/3/layout/HorizontalOrganizationChart"/>
    <dgm:cxn modelId="{E2C7FD41-5A95-4129-949B-E52C827BCFEE}" type="presParOf" srcId="{E18B88DC-BC5B-4269-8303-2816E8A33297}" destId="{7E1EFAEC-C6C5-4489-9136-BD7B0956B289}" srcOrd="0" destOrd="0" presId="urn:microsoft.com/office/officeart/2009/3/layout/HorizontalOrganizationChart"/>
    <dgm:cxn modelId="{BEDF551C-3DAF-4BD3-8D74-32D5C90B7E44}" type="presParOf" srcId="{7E1EFAEC-C6C5-4489-9136-BD7B0956B289}" destId="{8F43BE6E-166A-4736-B495-0F0C5F9C5A94}" srcOrd="0" destOrd="0" presId="urn:microsoft.com/office/officeart/2009/3/layout/HorizontalOrganizationChart"/>
    <dgm:cxn modelId="{3AF3451C-B360-45D9-87AD-F22BD0B2F8A0}" type="presParOf" srcId="{7E1EFAEC-C6C5-4489-9136-BD7B0956B289}" destId="{65E7425D-55D2-4A95-85AE-4170C0981629}" srcOrd="1" destOrd="0" presId="urn:microsoft.com/office/officeart/2009/3/layout/HorizontalOrganizationChart"/>
    <dgm:cxn modelId="{84F8506D-BB3A-45DD-A804-FF6EF4A34DF4}" type="presParOf" srcId="{E18B88DC-BC5B-4269-8303-2816E8A33297}" destId="{0A91E4F6-AD54-49CF-9C53-9262E286DF5E}" srcOrd="1" destOrd="0" presId="urn:microsoft.com/office/officeart/2009/3/layout/HorizontalOrganizationChart"/>
    <dgm:cxn modelId="{6C56CFF5-6BE4-4FD0-917A-B1F908753DEA}" type="presParOf" srcId="{0A91E4F6-AD54-49CF-9C53-9262E286DF5E}" destId="{3C8331C7-B13D-4AF7-A323-1B1603B58B0E}" srcOrd="0" destOrd="0" presId="urn:microsoft.com/office/officeart/2009/3/layout/HorizontalOrganizationChart"/>
    <dgm:cxn modelId="{40B7F0CC-6AB5-4F6E-AF7C-EE9FFC84E04F}" type="presParOf" srcId="{0A91E4F6-AD54-49CF-9C53-9262E286DF5E}" destId="{B92978FC-A8E3-4BC5-983D-A951B513D496}" srcOrd="1" destOrd="0" presId="urn:microsoft.com/office/officeart/2009/3/layout/HorizontalOrganizationChart"/>
    <dgm:cxn modelId="{AAFE19FC-A7D2-45AE-AC56-DD5FBB83E39A}" type="presParOf" srcId="{B92978FC-A8E3-4BC5-983D-A951B513D496}" destId="{BCE6459C-EE48-41D9-B74E-BEC9785A15BD}" srcOrd="0" destOrd="0" presId="urn:microsoft.com/office/officeart/2009/3/layout/HorizontalOrganizationChart"/>
    <dgm:cxn modelId="{9F5890F7-0D57-45A2-BAD9-9FBB3B2476BC}" type="presParOf" srcId="{BCE6459C-EE48-41D9-B74E-BEC9785A15BD}" destId="{B633B50C-55B7-4080-8A5D-DD9EE7F65740}" srcOrd="0" destOrd="0" presId="urn:microsoft.com/office/officeart/2009/3/layout/HorizontalOrganizationChart"/>
    <dgm:cxn modelId="{A7F795A8-0DD5-42E3-A9ED-1325D6DC1215}" type="presParOf" srcId="{BCE6459C-EE48-41D9-B74E-BEC9785A15BD}" destId="{BCAEF62C-2B92-4445-AEF0-05B432CBDEDE}" srcOrd="1" destOrd="0" presId="urn:microsoft.com/office/officeart/2009/3/layout/HorizontalOrganizationChart"/>
    <dgm:cxn modelId="{7A5AAA12-D2CE-43F1-B8EF-98656DE7EBDE}" type="presParOf" srcId="{B92978FC-A8E3-4BC5-983D-A951B513D496}" destId="{85D17B27-E6A5-4A40-B9C1-320A246A7E32}" srcOrd="1" destOrd="0" presId="urn:microsoft.com/office/officeart/2009/3/layout/HorizontalOrganizationChart"/>
    <dgm:cxn modelId="{F1E9E4F9-78A6-42E8-B570-4DAB2549CA24}" type="presParOf" srcId="{B92978FC-A8E3-4BC5-983D-A951B513D496}" destId="{009D29F9-C5F4-4601-953B-F2A1F0EC73B1}" srcOrd="2" destOrd="0" presId="urn:microsoft.com/office/officeart/2009/3/layout/HorizontalOrganizationChart"/>
    <dgm:cxn modelId="{379614FD-7BAD-4FF5-B45A-0F91817B4635}" type="presParOf" srcId="{0A91E4F6-AD54-49CF-9C53-9262E286DF5E}" destId="{4E1287EB-C0CC-4C9B-8503-F8372D7BE22A}" srcOrd="2" destOrd="0" presId="urn:microsoft.com/office/officeart/2009/3/layout/HorizontalOrganizationChart"/>
    <dgm:cxn modelId="{28902B3C-7AC7-44C7-A2C0-1652103DDF83}" type="presParOf" srcId="{0A91E4F6-AD54-49CF-9C53-9262E286DF5E}" destId="{30BCAA1C-BC25-46FB-975C-8FC930EF37D0}" srcOrd="3" destOrd="0" presId="urn:microsoft.com/office/officeart/2009/3/layout/HorizontalOrganizationChart"/>
    <dgm:cxn modelId="{787DEEA4-6EF7-45C0-906E-6EC1AFC6D7DA}" type="presParOf" srcId="{30BCAA1C-BC25-46FB-975C-8FC930EF37D0}" destId="{6641C33A-4F6C-4E1C-8D18-646008060B9F}" srcOrd="0" destOrd="0" presId="urn:microsoft.com/office/officeart/2009/3/layout/HorizontalOrganizationChart"/>
    <dgm:cxn modelId="{80D4E7DA-FC11-481E-B016-E8D455910CCA}" type="presParOf" srcId="{6641C33A-4F6C-4E1C-8D18-646008060B9F}" destId="{F8970BD3-839A-4C82-84BD-B0A41A6A9807}" srcOrd="0" destOrd="0" presId="urn:microsoft.com/office/officeart/2009/3/layout/HorizontalOrganizationChart"/>
    <dgm:cxn modelId="{4A84F124-55EE-4507-8A93-4FE308F64D1B}" type="presParOf" srcId="{6641C33A-4F6C-4E1C-8D18-646008060B9F}" destId="{240D1101-2E34-40E6-BD15-AE5CAEF83A68}" srcOrd="1" destOrd="0" presId="urn:microsoft.com/office/officeart/2009/3/layout/HorizontalOrganizationChart"/>
    <dgm:cxn modelId="{8F60F114-CE00-4D39-A890-478F832DCF52}" type="presParOf" srcId="{30BCAA1C-BC25-46FB-975C-8FC930EF37D0}" destId="{E0095A6F-32CE-4B3E-BA2B-7B435D2E0C1B}" srcOrd="1" destOrd="0" presId="urn:microsoft.com/office/officeart/2009/3/layout/HorizontalOrganizationChart"/>
    <dgm:cxn modelId="{F604783F-B22D-41DA-BC46-EA5CA0910368}" type="presParOf" srcId="{30BCAA1C-BC25-46FB-975C-8FC930EF37D0}" destId="{0B7ED1C2-376D-49B3-9285-F308DEBA2294}" srcOrd="2" destOrd="0" presId="urn:microsoft.com/office/officeart/2009/3/layout/HorizontalOrganizationChart"/>
    <dgm:cxn modelId="{D9E50B7F-37E9-A541-AC10-FC33CA870B40}" type="presParOf" srcId="{0A91E4F6-AD54-49CF-9C53-9262E286DF5E}" destId="{97D80550-4753-414D-9E2C-29E87CC202F1}" srcOrd="4" destOrd="0" presId="urn:microsoft.com/office/officeart/2009/3/layout/HorizontalOrganizationChart"/>
    <dgm:cxn modelId="{0A8C5D3A-4A2C-0C46-844A-4253898FDBBD}" type="presParOf" srcId="{0A91E4F6-AD54-49CF-9C53-9262E286DF5E}" destId="{AFBDD29A-F995-7942-816C-A971466B6455}" srcOrd="5" destOrd="0" presId="urn:microsoft.com/office/officeart/2009/3/layout/HorizontalOrganizationChart"/>
    <dgm:cxn modelId="{535CBBB2-91A8-5448-A113-EB481EB96411}" type="presParOf" srcId="{AFBDD29A-F995-7942-816C-A971466B6455}" destId="{B7B45292-BDF8-124E-BDB4-0352C7C47D67}" srcOrd="0" destOrd="0" presId="urn:microsoft.com/office/officeart/2009/3/layout/HorizontalOrganizationChart"/>
    <dgm:cxn modelId="{42F43251-624B-4445-B2D3-689B8C5860D7}" type="presParOf" srcId="{B7B45292-BDF8-124E-BDB4-0352C7C47D67}" destId="{C517AAD2-5580-C644-8C97-234B421E295B}" srcOrd="0" destOrd="0" presId="urn:microsoft.com/office/officeart/2009/3/layout/HorizontalOrganizationChart"/>
    <dgm:cxn modelId="{8E7F28CB-87AA-9440-AA2D-E46873466702}" type="presParOf" srcId="{B7B45292-BDF8-124E-BDB4-0352C7C47D67}" destId="{AE3B0388-2463-EF47-AFC2-5437291EF998}" srcOrd="1" destOrd="0" presId="urn:microsoft.com/office/officeart/2009/3/layout/HorizontalOrganizationChart"/>
    <dgm:cxn modelId="{D12C27B0-C126-DE46-B3E2-7A48DE61374A}" type="presParOf" srcId="{AFBDD29A-F995-7942-816C-A971466B6455}" destId="{1D002B0A-C78F-3E48-8C25-35AA92CAD96F}" srcOrd="1" destOrd="0" presId="urn:microsoft.com/office/officeart/2009/3/layout/HorizontalOrganizationChart"/>
    <dgm:cxn modelId="{825F1641-1B08-3D48-BBC1-FFB0AC6B9E4F}" type="presParOf" srcId="{AFBDD29A-F995-7942-816C-A971466B6455}" destId="{B0C7CB86-8280-C041-9FE8-BF2844EBC949}" srcOrd="2" destOrd="0" presId="urn:microsoft.com/office/officeart/2009/3/layout/HorizontalOrganizationChart"/>
    <dgm:cxn modelId="{3777CB0E-6951-496D-ABF3-8AE7E90A2F0F}" type="presParOf" srcId="{E18B88DC-BC5B-4269-8303-2816E8A33297}" destId="{3AA06DB7-3CF2-4B80-A567-B41E54DCF106}" srcOrd="2" destOrd="0" presId="urn:microsoft.com/office/officeart/2009/3/layout/HorizontalOrganizationChart"/>
    <dgm:cxn modelId="{66BEB029-6BBE-894F-AC08-16E06128AED3}" type="presParOf" srcId="{6DAD5AF5-2F6C-40CF-B4A4-4535DCB1DE5D}" destId="{23C114B1-B44D-274C-ACD6-335C344B8881}" srcOrd="2" destOrd="0" presId="urn:microsoft.com/office/officeart/2009/3/layout/HorizontalOrganizationChart"/>
    <dgm:cxn modelId="{FEEF7B8D-1EDD-2540-9416-6EAC069FE475}" type="presParOf" srcId="{23C114B1-B44D-274C-ACD6-335C344B8881}" destId="{3A5DF050-98B2-A44B-9D94-394A589761C7}" srcOrd="0" destOrd="0" presId="urn:microsoft.com/office/officeart/2009/3/layout/HorizontalOrganizationChart"/>
    <dgm:cxn modelId="{D1553FB0-C4DC-4D4F-A5A8-F7D246B928FD}" type="presParOf" srcId="{3A5DF050-98B2-A44B-9D94-394A589761C7}" destId="{3EA02441-E62E-C24E-A4DF-460F53CDBD20}" srcOrd="0" destOrd="0" presId="urn:microsoft.com/office/officeart/2009/3/layout/HorizontalOrganizationChart"/>
    <dgm:cxn modelId="{418FA2CA-E58B-314D-99DC-264F1B850378}" type="presParOf" srcId="{3A5DF050-98B2-A44B-9D94-394A589761C7}" destId="{03B6B337-FD0F-8F46-B2A3-A49AE23D70A9}" srcOrd="1" destOrd="0" presId="urn:microsoft.com/office/officeart/2009/3/layout/HorizontalOrganizationChart"/>
    <dgm:cxn modelId="{50D0E0B7-0FE0-7047-8E7A-8DB9DCFE92A3}" type="presParOf" srcId="{23C114B1-B44D-274C-ACD6-335C344B8881}" destId="{DE1717D0-2F56-2147-8E6D-2E4A6D170743}" srcOrd="1" destOrd="0" presId="urn:microsoft.com/office/officeart/2009/3/layout/HorizontalOrganizationChart"/>
    <dgm:cxn modelId="{F6024C63-812F-8C45-B1FD-0597965B651A}" type="presParOf" srcId="{23C114B1-B44D-274C-ACD6-335C344B8881}" destId="{369D3ECE-AB07-3143-A203-76E48C3520DF}" srcOrd="2" destOrd="0" presId="urn:microsoft.com/office/officeart/2009/3/layout/HorizontalOrganizationChart"/>
    <dgm:cxn modelId="{1A4C4011-44B0-4F45-86C6-BD6AFA0178CF}" type="presParOf" srcId="{6DAD5AF5-2F6C-40CF-B4A4-4535DCB1DE5D}" destId="{130F00FC-FAB4-FC48-8F3A-C00C60F773F6}" srcOrd="3" destOrd="0" presId="urn:microsoft.com/office/officeart/2009/3/layout/HorizontalOrganizationChart"/>
    <dgm:cxn modelId="{3070607D-DD41-1242-A6D3-37C1DD87B860}" type="presParOf" srcId="{130F00FC-FAB4-FC48-8F3A-C00C60F773F6}" destId="{CAC83379-269E-5741-8414-E5ED31DF00E5}" srcOrd="0" destOrd="0" presId="urn:microsoft.com/office/officeart/2009/3/layout/HorizontalOrganizationChart"/>
    <dgm:cxn modelId="{FD1C7F6C-38D4-2D4D-91C5-90F969F6BB64}" type="presParOf" srcId="{CAC83379-269E-5741-8414-E5ED31DF00E5}" destId="{A0471F14-CFB3-8449-8997-79C53AE48F72}" srcOrd="0" destOrd="0" presId="urn:microsoft.com/office/officeart/2009/3/layout/HorizontalOrganizationChart"/>
    <dgm:cxn modelId="{28398A17-AE25-9B4E-B8FA-453F275235A3}" type="presParOf" srcId="{CAC83379-269E-5741-8414-E5ED31DF00E5}" destId="{20E2811A-1241-1C43-8D08-396FBA25036F}" srcOrd="1" destOrd="0" presId="urn:microsoft.com/office/officeart/2009/3/layout/HorizontalOrganizationChart"/>
    <dgm:cxn modelId="{8BC4B408-F08D-1A4E-A4EE-E1EFB9E9E9F4}" type="presParOf" srcId="{130F00FC-FAB4-FC48-8F3A-C00C60F773F6}" destId="{EDCA2F9E-F17A-3E45-80B8-679DF2787438}" srcOrd="1" destOrd="0" presId="urn:microsoft.com/office/officeart/2009/3/layout/HorizontalOrganizationChart"/>
    <dgm:cxn modelId="{57E05CD6-E599-C645-8689-3E5CA0544D86}" type="presParOf" srcId="{130F00FC-FAB4-FC48-8F3A-C00C60F773F6}" destId="{81A7C4EA-C53A-3A4F-B2EC-E0CE77B8741F}" srcOrd="2" destOrd="0" presId="urn:microsoft.com/office/officeart/2009/3/layout/HorizontalOrganizationChart"/>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C14FF3FB-789E-4041-BAA4-8A5D3EF74394}" type="doc">
      <dgm:prSet loTypeId="urn:microsoft.com/office/officeart/2009/3/layout/HorizontalOrganizationChart" loCatId="hierarchy" qsTypeId="urn:microsoft.com/office/officeart/2005/8/quickstyle/simple1" qsCatId="simple" csTypeId="urn:microsoft.com/office/officeart/2005/8/colors/accent1_2" csCatId="accent1" phldr="1"/>
      <dgm:spPr/>
      <dgm:t>
        <a:bodyPr/>
        <a:lstStyle/>
        <a:p>
          <a:endParaRPr lang="en-US"/>
        </a:p>
      </dgm:t>
    </dgm:pt>
    <dgm:pt modelId="{8A0FDD62-5ACB-4363-8100-7921DB27FED9}">
      <dgm:prSet phldrT="[Text]" custT="1"/>
      <dgm:spPr/>
      <dgm:t>
        <a:bodyPr/>
        <a:lstStyle/>
        <a:p>
          <a:r>
            <a:rPr lang="en-US" sz="1800" dirty="0"/>
            <a:t>Landfills</a:t>
          </a:r>
        </a:p>
      </dgm:t>
    </dgm:pt>
    <dgm:pt modelId="{2E0A18BD-4B57-45A2-B599-17A5236A0DBA}" type="parTrans" cxnId="{FFCB8E0E-83EF-4599-BF13-C986EE976DEB}">
      <dgm:prSet/>
      <dgm:spPr/>
      <dgm:t>
        <a:bodyPr/>
        <a:lstStyle/>
        <a:p>
          <a:endParaRPr lang="en-US" sz="2400"/>
        </a:p>
      </dgm:t>
    </dgm:pt>
    <dgm:pt modelId="{95404541-6FCE-499D-B544-6283CA283D12}" type="sibTrans" cxnId="{FFCB8E0E-83EF-4599-BF13-C986EE976DEB}">
      <dgm:prSet/>
      <dgm:spPr/>
      <dgm:t>
        <a:bodyPr/>
        <a:lstStyle/>
        <a:p>
          <a:endParaRPr lang="en-US" sz="2400"/>
        </a:p>
      </dgm:t>
    </dgm:pt>
    <dgm:pt modelId="{9C224AA8-5D6D-439F-A5FF-D80F3FA166E4}">
      <dgm:prSet phldrT="[Text]" custT="1"/>
      <dgm:spPr/>
      <dgm:t>
        <a:bodyPr/>
        <a:lstStyle/>
        <a:p>
          <a:r>
            <a:rPr lang="en-US" sz="1800"/>
            <a:t>Ash Monofill</a:t>
          </a:r>
        </a:p>
      </dgm:t>
    </dgm:pt>
    <dgm:pt modelId="{FE1183B8-299D-4DAE-9761-D4155ED0D626}" type="parTrans" cxnId="{E02BB2F0-87BB-483B-91A1-E7038189B78B}">
      <dgm:prSet/>
      <dgm:spPr/>
      <dgm:t>
        <a:bodyPr/>
        <a:lstStyle/>
        <a:p>
          <a:endParaRPr lang="en-US" sz="2400"/>
        </a:p>
      </dgm:t>
    </dgm:pt>
    <dgm:pt modelId="{46ECC135-E1CD-4BA3-940E-260EB4B089CC}" type="sibTrans" cxnId="{E02BB2F0-87BB-483B-91A1-E7038189B78B}">
      <dgm:prSet/>
      <dgm:spPr/>
      <dgm:t>
        <a:bodyPr/>
        <a:lstStyle/>
        <a:p>
          <a:endParaRPr lang="en-US" sz="2400"/>
        </a:p>
      </dgm:t>
    </dgm:pt>
    <dgm:pt modelId="{B487FD67-7267-482B-A536-C6D808E96D9C}">
      <dgm:prSet phldrT="[Text]" custT="1"/>
      <dgm:spPr>
        <a:solidFill>
          <a:schemeClr val="accent1"/>
        </a:solidFill>
      </dgm:spPr>
      <dgm:t>
        <a:bodyPr/>
        <a:lstStyle/>
        <a:p>
          <a:r>
            <a:rPr lang="en-US" sz="1800">
              <a:solidFill>
                <a:schemeClr val="bg1"/>
              </a:solidFill>
            </a:rPr>
            <a:t>Class I</a:t>
          </a:r>
        </a:p>
      </dgm:t>
    </dgm:pt>
    <dgm:pt modelId="{445E6ECC-BB0F-4772-A31E-5A2DA500E851}" type="parTrans" cxnId="{ED4D9E10-416E-403E-ADBA-09BE16C63D8D}">
      <dgm:prSet/>
      <dgm:spPr/>
      <dgm:t>
        <a:bodyPr/>
        <a:lstStyle/>
        <a:p>
          <a:endParaRPr lang="en-US" sz="2400"/>
        </a:p>
      </dgm:t>
    </dgm:pt>
    <dgm:pt modelId="{4EA9E5A2-9B4B-4D3F-A6ED-250E73837D57}" type="sibTrans" cxnId="{ED4D9E10-416E-403E-ADBA-09BE16C63D8D}">
      <dgm:prSet/>
      <dgm:spPr/>
      <dgm:t>
        <a:bodyPr/>
        <a:lstStyle/>
        <a:p>
          <a:endParaRPr lang="en-US" sz="2400"/>
        </a:p>
      </dgm:t>
    </dgm:pt>
    <dgm:pt modelId="{500687D9-0065-48BF-95F4-F2E85DEA36C5}">
      <dgm:prSet phldrT="[Text]" custT="1"/>
      <dgm:spPr/>
      <dgm:t>
        <a:bodyPr/>
        <a:lstStyle/>
        <a:p>
          <a:r>
            <a:rPr lang="en-US" sz="1800"/>
            <a:t>Class III</a:t>
          </a:r>
        </a:p>
      </dgm:t>
    </dgm:pt>
    <dgm:pt modelId="{D412B182-939A-4C07-BDA5-CE5C07BC0B2D}" type="parTrans" cxnId="{0BF568F5-7425-40FA-80D4-6CBF2F552140}">
      <dgm:prSet/>
      <dgm:spPr/>
      <dgm:t>
        <a:bodyPr/>
        <a:lstStyle/>
        <a:p>
          <a:endParaRPr lang="en-US" sz="2400"/>
        </a:p>
      </dgm:t>
    </dgm:pt>
    <dgm:pt modelId="{39DE803B-29D9-4A2A-A870-BF905220132E}" type="sibTrans" cxnId="{0BF568F5-7425-40FA-80D4-6CBF2F552140}">
      <dgm:prSet/>
      <dgm:spPr/>
      <dgm:t>
        <a:bodyPr/>
        <a:lstStyle/>
        <a:p>
          <a:endParaRPr lang="en-US" sz="2400"/>
        </a:p>
      </dgm:t>
    </dgm:pt>
    <dgm:pt modelId="{11C854FB-4807-4191-A106-FCE0853A2737}">
      <dgm:prSet phldrT="[Text]" custT="1"/>
      <dgm:spPr/>
      <dgm:t>
        <a:bodyPr/>
        <a:lstStyle/>
        <a:p>
          <a:r>
            <a:rPr lang="en-US" sz="1800"/>
            <a:t>CDD</a:t>
          </a:r>
        </a:p>
      </dgm:t>
    </dgm:pt>
    <dgm:pt modelId="{3594EC1A-C28A-40E2-9BA9-E7D01DC610A7}" type="parTrans" cxnId="{17A8E6CF-3A06-437C-8D91-FCA2757CAFE6}">
      <dgm:prSet/>
      <dgm:spPr/>
      <dgm:t>
        <a:bodyPr/>
        <a:lstStyle/>
        <a:p>
          <a:endParaRPr lang="en-US" sz="2400"/>
        </a:p>
      </dgm:t>
    </dgm:pt>
    <dgm:pt modelId="{0B6FC9C1-497E-44B2-BA05-986DBD9831AA}" type="sibTrans" cxnId="{17A8E6CF-3A06-437C-8D91-FCA2757CAFE6}">
      <dgm:prSet/>
      <dgm:spPr/>
      <dgm:t>
        <a:bodyPr/>
        <a:lstStyle/>
        <a:p>
          <a:endParaRPr lang="en-US" sz="2400"/>
        </a:p>
      </dgm:t>
    </dgm:pt>
    <dgm:pt modelId="{D09E3D4F-1D7D-42D1-986A-2D072940B2CA}">
      <dgm:prSet phldrT="[Text]" custT="1"/>
      <dgm:spPr>
        <a:solidFill>
          <a:srgbClr val="FDF69C"/>
        </a:solidFill>
      </dgm:spPr>
      <dgm:t>
        <a:bodyPr/>
        <a:lstStyle/>
        <a:p>
          <a:r>
            <a:rPr lang="en-US" sz="1800">
              <a:solidFill>
                <a:schemeClr val="tx1"/>
              </a:solidFill>
            </a:rPr>
            <a:t>Waste-to-Energy</a:t>
          </a:r>
        </a:p>
      </dgm:t>
    </dgm:pt>
    <dgm:pt modelId="{68ACF64D-A3E1-46BE-A0F8-EACFA27593B4}" type="parTrans" cxnId="{498BAEE2-7893-4D7B-95CC-F1C754C0CACB}">
      <dgm:prSet/>
      <dgm:spPr/>
      <dgm:t>
        <a:bodyPr/>
        <a:lstStyle/>
        <a:p>
          <a:endParaRPr lang="en-US" sz="2400"/>
        </a:p>
      </dgm:t>
    </dgm:pt>
    <dgm:pt modelId="{086D19BD-9679-4E1D-AB18-9C674F65C6F7}" type="sibTrans" cxnId="{498BAEE2-7893-4D7B-95CC-F1C754C0CACB}">
      <dgm:prSet/>
      <dgm:spPr/>
      <dgm:t>
        <a:bodyPr/>
        <a:lstStyle/>
        <a:p>
          <a:endParaRPr lang="en-US" sz="2400"/>
        </a:p>
      </dgm:t>
    </dgm:pt>
    <dgm:pt modelId="{6DAD5AF5-2F6C-40CF-B4A4-4535DCB1DE5D}" type="pres">
      <dgm:prSet presAssocID="{C14FF3FB-789E-4041-BAA4-8A5D3EF74394}" presName="hierChild1" presStyleCnt="0">
        <dgm:presLayoutVars>
          <dgm:orgChart val="1"/>
          <dgm:chPref val="1"/>
          <dgm:dir/>
          <dgm:animOne val="branch"/>
          <dgm:animLvl val="lvl"/>
          <dgm:resizeHandles/>
        </dgm:presLayoutVars>
      </dgm:prSet>
      <dgm:spPr/>
    </dgm:pt>
    <dgm:pt modelId="{9E669CAF-C666-4968-9C8A-A75CD735112E}" type="pres">
      <dgm:prSet presAssocID="{8A0FDD62-5ACB-4363-8100-7921DB27FED9}" presName="hierRoot1" presStyleCnt="0">
        <dgm:presLayoutVars>
          <dgm:hierBranch val="init"/>
        </dgm:presLayoutVars>
      </dgm:prSet>
      <dgm:spPr/>
    </dgm:pt>
    <dgm:pt modelId="{C9310B4B-0140-4156-88BB-BB8B405BA2F6}" type="pres">
      <dgm:prSet presAssocID="{8A0FDD62-5ACB-4363-8100-7921DB27FED9}" presName="rootComposite1" presStyleCnt="0"/>
      <dgm:spPr/>
    </dgm:pt>
    <dgm:pt modelId="{9243952B-3833-4F9A-A71B-0A59EE8FED19}" type="pres">
      <dgm:prSet presAssocID="{8A0FDD62-5ACB-4363-8100-7921DB27FED9}" presName="rootText1" presStyleLbl="node0" presStyleIdx="0" presStyleCnt="2">
        <dgm:presLayoutVars>
          <dgm:chPref val="3"/>
        </dgm:presLayoutVars>
      </dgm:prSet>
      <dgm:spPr/>
    </dgm:pt>
    <dgm:pt modelId="{4C951630-26BE-4FC2-B02A-6EABC31BCC02}" type="pres">
      <dgm:prSet presAssocID="{8A0FDD62-5ACB-4363-8100-7921DB27FED9}" presName="rootConnector1" presStyleLbl="node1" presStyleIdx="0" presStyleCnt="0"/>
      <dgm:spPr/>
    </dgm:pt>
    <dgm:pt modelId="{A9CBB20B-D2FF-462D-8365-7D562044133A}" type="pres">
      <dgm:prSet presAssocID="{8A0FDD62-5ACB-4363-8100-7921DB27FED9}" presName="hierChild2" presStyleCnt="0"/>
      <dgm:spPr/>
    </dgm:pt>
    <dgm:pt modelId="{C5E9805B-8734-43E5-87A9-3E4EDE6400A1}" type="pres">
      <dgm:prSet presAssocID="{FE1183B8-299D-4DAE-9761-D4155ED0D626}" presName="Name64" presStyleLbl="parChTrans1D2" presStyleIdx="0" presStyleCnt="4"/>
      <dgm:spPr/>
    </dgm:pt>
    <dgm:pt modelId="{59D565F5-CF79-4EC0-B001-75692E0C55A5}" type="pres">
      <dgm:prSet presAssocID="{9C224AA8-5D6D-439F-A5FF-D80F3FA166E4}" presName="hierRoot2" presStyleCnt="0">
        <dgm:presLayoutVars>
          <dgm:hierBranch val="init"/>
        </dgm:presLayoutVars>
      </dgm:prSet>
      <dgm:spPr/>
    </dgm:pt>
    <dgm:pt modelId="{FD1AFDEF-415B-41D7-A2B3-18097AE78CD0}" type="pres">
      <dgm:prSet presAssocID="{9C224AA8-5D6D-439F-A5FF-D80F3FA166E4}" presName="rootComposite" presStyleCnt="0"/>
      <dgm:spPr/>
    </dgm:pt>
    <dgm:pt modelId="{F6C5896B-E465-4949-89C8-FE4B715A7AA6}" type="pres">
      <dgm:prSet presAssocID="{9C224AA8-5D6D-439F-A5FF-D80F3FA166E4}" presName="rootText" presStyleLbl="node2" presStyleIdx="0" presStyleCnt="4">
        <dgm:presLayoutVars>
          <dgm:chPref val="3"/>
        </dgm:presLayoutVars>
      </dgm:prSet>
      <dgm:spPr/>
    </dgm:pt>
    <dgm:pt modelId="{E545B4FB-CAAE-4F67-8274-077F8989871C}" type="pres">
      <dgm:prSet presAssocID="{9C224AA8-5D6D-439F-A5FF-D80F3FA166E4}" presName="rootConnector" presStyleLbl="node2" presStyleIdx="0" presStyleCnt="4"/>
      <dgm:spPr/>
    </dgm:pt>
    <dgm:pt modelId="{12A0EF90-D8EB-4D76-A8C2-74FEB5F363FC}" type="pres">
      <dgm:prSet presAssocID="{9C224AA8-5D6D-439F-A5FF-D80F3FA166E4}" presName="hierChild4" presStyleCnt="0"/>
      <dgm:spPr/>
    </dgm:pt>
    <dgm:pt modelId="{945B86D7-60E4-41FF-9E22-41E01EACAF57}" type="pres">
      <dgm:prSet presAssocID="{9C224AA8-5D6D-439F-A5FF-D80F3FA166E4}" presName="hierChild5" presStyleCnt="0"/>
      <dgm:spPr/>
    </dgm:pt>
    <dgm:pt modelId="{072208BE-F468-4D92-91D9-C7A5020A5858}" type="pres">
      <dgm:prSet presAssocID="{445E6ECC-BB0F-4772-A31E-5A2DA500E851}" presName="Name64" presStyleLbl="parChTrans1D2" presStyleIdx="1" presStyleCnt="4"/>
      <dgm:spPr/>
    </dgm:pt>
    <dgm:pt modelId="{FE4E211E-805E-4926-9B50-E069108CDC74}" type="pres">
      <dgm:prSet presAssocID="{B487FD67-7267-482B-A536-C6D808E96D9C}" presName="hierRoot2" presStyleCnt="0">
        <dgm:presLayoutVars>
          <dgm:hierBranch val="init"/>
        </dgm:presLayoutVars>
      </dgm:prSet>
      <dgm:spPr/>
    </dgm:pt>
    <dgm:pt modelId="{05677B27-E7DD-4A6A-ACAA-B9350D6719BF}" type="pres">
      <dgm:prSet presAssocID="{B487FD67-7267-482B-A536-C6D808E96D9C}" presName="rootComposite" presStyleCnt="0"/>
      <dgm:spPr/>
    </dgm:pt>
    <dgm:pt modelId="{5F10370A-A9DD-44D6-A47F-F058C24F9C2F}" type="pres">
      <dgm:prSet presAssocID="{B487FD67-7267-482B-A536-C6D808E96D9C}" presName="rootText" presStyleLbl="node2" presStyleIdx="1" presStyleCnt="4">
        <dgm:presLayoutVars>
          <dgm:chPref val="3"/>
        </dgm:presLayoutVars>
      </dgm:prSet>
      <dgm:spPr/>
    </dgm:pt>
    <dgm:pt modelId="{A4C68761-9E3E-4D68-B6DB-BA502EBD0C16}" type="pres">
      <dgm:prSet presAssocID="{B487FD67-7267-482B-A536-C6D808E96D9C}" presName="rootConnector" presStyleLbl="node2" presStyleIdx="1" presStyleCnt="4"/>
      <dgm:spPr/>
    </dgm:pt>
    <dgm:pt modelId="{0C5EFA30-BCFC-439E-B1F2-B68DB79AC200}" type="pres">
      <dgm:prSet presAssocID="{B487FD67-7267-482B-A536-C6D808E96D9C}" presName="hierChild4" presStyleCnt="0"/>
      <dgm:spPr/>
    </dgm:pt>
    <dgm:pt modelId="{FE114DFA-BA97-40C0-9265-F7C1E69247D0}" type="pres">
      <dgm:prSet presAssocID="{B487FD67-7267-482B-A536-C6D808E96D9C}" presName="hierChild5" presStyleCnt="0"/>
      <dgm:spPr/>
    </dgm:pt>
    <dgm:pt modelId="{77BD919E-47EC-450F-A587-C259C150CD11}" type="pres">
      <dgm:prSet presAssocID="{D412B182-939A-4C07-BDA5-CE5C07BC0B2D}" presName="Name64" presStyleLbl="parChTrans1D2" presStyleIdx="2" presStyleCnt="4"/>
      <dgm:spPr/>
    </dgm:pt>
    <dgm:pt modelId="{A461B146-54EF-4F15-AA9B-3B2A6B85524B}" type="pres">
      <dgm:prSet presAssocID="{500687D9-0065-48BF-95F4-F2E85DEA36C5}" presName="hierRoot2" presStyleCnt="0">
        <dgm:presLayoutVars>
          <dgm:hierBranch val="init"/>
        </dgm:presLayoutVars>
      </dgm:prSet>
      <dgm:spPr/>
    </dgm:pt>
    <dgm:pt modelId="{48659850-4E23-4CE8-B3E4-25DB10213B00}" type="pres">
      <dgm:prSet presAssocID="{500687D9-0065-48BF-95F4-F2E85DEA36C5}" presName="rootComposite" presStyleCnt="0"/>
      <dgm:spPr/>
    </dgm:pt>
    <dgm:pt modelId="{69E3A919-74FB-480D-BB89-D9BE39E399E7}" type="pres">
      <dgm:prSet presAssocID="{500687D9-0065-48BF-95F4-F2E85DEA36C5}" presName="rootText" presStyleLbl="node2" presStyleIdx="2" presStyleCnt="4">
        <dgm:presLayoutVars>
          <dgm:chPref val="3"/>
        </dgm:presLayoutVars>
      </dgm:prSet>
      <dgm:spPr/>
    </dgm:pt>
    <dgm:pt modelId="{0240BFF0-FF4F-4C09-943F-D38D8171ED95}" type="pres">
      <dgm:prSet presAssocID="{500687D9-0065-48BF-95F4-F2E85DEA36C5}" presName="rootConnector" presStyleLbl="node2" presStyleIdx="2" presStyleCnt="4"/>
      <dgm:spPr/>
    </dgm:pt>
    <dgm:pt modelId="{0B9A7443-4860-4A0A-A343-BC94640D77DB}" type="pres">
      <dgm:prSet presAssocID="{500687D9-0065-48BF-95F4-F2E85DEA36C5}" presName="hierChild4" presStyleCnt="0"/>
      <dgm:spPr/>
    </dgm:pt>
    <dgm:pt modelId="{EE55C356-ECC5-49DC-82E3-FBD0AC214CCA}" type="pres">
      <dgm:prSet presAssocID="{500687D9-0065-48BF-95F4-F2E85DEA36C5}" presName="hierChild5" presStyleCnt="0"/>
      <dgm:spPr/>
    </dgm:pt>
    <dgm:pt modelId="{6B0F7A21-8A71-4319-AC2E-D81074B65CBC}" type="pres">
      <dgm:prSet presAssocID="{3594EC1A-C28A-40E2-9BA9-E7D01DC610A7}" presName="Name64" presStyleLbl="parChTrans1D2" presStyleIdx="3" presStyleCnt="4"/>
      <dgm:spPr/>
    </dgm:pt>
    <dgm:pt modelId="{9A318E4F-E2D8-4796-BA44-A1238E956757}" type="pres">
      <dgm:prSet presAssocID="{11C854FB-4807-4191-A106-FCE0853A2737}" presName="hierRoot2" presStyleCnt="0">
        <dgm:presLayoutVars>
          <dgm:hierBranch val="init"/>
        </dgm:presLayoutVars>
      </dgm:prSet>
      <dgm:spPr/>
    </dgm:pt>
    <dgm:pt modelId="{80AC5910-FBB1-45A9-ACC3-F8050A7CCCD1}" type="pres">
      <dgm:prSet presAssocID="{11C854FB-4807-4191-A106-FCE0853A2737}" presName="rootComposite" presStyleCnt="0"/>
      <dgm:spPr/>
    </dgm:pt>
    <dgm:pt modelId="{B3171B48-87B5-412F-8372-E3F8BFD01636}" type="pres">
      <dgm:prSet presAssocID="{11C854FB-4807-4191-A106-FCE0853A2737}" presName="rootText" presStyleLbl="node2" presStyleIdx="3" presStyleCnt="4">
        <dgm:presLayoutVars>
          <dgm:chPref val="3"/>
        </dgm:presLayoutVars>
      </dgm:prSet>
      <dgm:spPr/>
    </dgm:pt>
    <dgm:pt modelId="{0B06F98C-C427-494C-A0A1-C26D1053C203}" type="pres">
      <dgm:prSet presAssocID="{11C854FB-4807-4191-A106-FCE0853A2737}" presName="rootConnector" presStyleLbl="node2" presStyleIdx="3" presStyleCnt="4"/>
      <dgm:spPr/>
    </dgm:pt>
    <dgm:pt modelId="{6325D762-2604-42FB-A526-0F0EE7A46B07}" type="pres">
      <dgm:prSet presAssocID="{11C854FB-4807-4191-A106-FCE0853A2737}" presName="hierChild4" presStyleCnt="0"/>
      <dgm:spPr/>
    </dgm:pt>
    <dgm:pt modelId="{335F8B26-6C68-450B-9CDE-CF305CB6D2F4}" type="pres">
      <dgm:prSet presAssocID="{11C854FB-4807-4191-A106-FCE0853A2737}" presName="hierChild5" presStyleCnt="0"/>
      <dgm:spPr/>
    </dgm:pt>
    <dgm:pt modelId="{BB1C3144-AF76-4C1A-AC16-5745FE3D6FF4}" type="pres">
      <dgm:prSet presAssocID="{8A0FDD62-5ACB-4363-8100-7921DB27FED9}" presName="hierChild3" presStyleCnt="0"/>
      <dgm:spPr/>
    </dgm:pt>
    <dgm:pt modelId="{E18B88DC-BC5B-4269-8303-2816E8A33297}" type="pres">
      <dgm:prSet presAssocID="{D09E3D4F-1D7D-42D1-986A-2D072940B2CA}" presName="hierRoot1" presStyleCnt="0">
        <dgm:presLayoutVars>
          <dgm:hierBranch val="init"/>
        </dgm:presLayoutVars>
      </dgm:prSet>
      <dgm:spPr/>
    </dgm:pt>
    <dgm:pt modelId="{7E1EFAEC-C6C5-4489-9136-BD7B0956B289}" type="pres">
      <dgm:prSet presAssocID="{D09E3D4F-1D7D-42D1-986A-2D072940B2CA}" presName="rootComposite1" presStyleCnt="0"/>
      <dgm:spPr/>
    </dgm:pt>
    <dgm:pt modelId="{8F43BE6E-166A-4736-B495-0F0C5F9C5A94}" type="pres">
      <dgm:prSet presAssocID="{D09E3D4F-1D7D-42D1-986A-2D072940B2CA}" presName="rootText1" presStyleLbl="node0" presStyleIdx="1" presStyleCnt="2" custScaleX="220215">
        <dgm:presLayoutVars>
          <dgm:chPref val="3"/>
        </dgm:presLayoutVars>
      </dgm:prSet>
      <dgm:spPr/>
    </dgm:pt>
    <dgm:pt modelId="{65E7425D-55D2-4A95-85AE-4170C0981629}" type="pres">
      <dgm:prSet presAssocID="{D09E3D4F-1D7D-42D1-986A-2D072940B2CA}" presName="rootConnector1" presStyleLbl="node1" presStyleIdx="0" presStyleCnt="0"/>
      <dgm:spPr/>
    </dgm:pt>
    <dgm:pt modelId="{0A91E4F6-AD54-49CF-9C53-9262E286DF5E}" type="pres">
      <dgm:prSet presAssocID="{D09E3D4F-1D7D-42D1-986A-2D072940B2CA}" presName="hierChild2" presStyleCnt="0"/>
      <dgm:spPr/>
    </dgm:pt>
    <dgm:pt modelId="{3AA06DB7-3CF2-4B80-A567-B41E54DCF106}" type="pres">
      <dgm:prSet presAssocID="{D09E3D4F-1D7D-42D1-986A-2D072940B2CA}" presName="hierChild3" presStyleCnt="0"/>
      <dgm:spPr/>
    </dgm:pt>
  </dgm:ptLst>
  <dgm:cxnLst>
    <dgm:cxn modelId="{64557A04-F32A-4FDF-8F5A-BE8516AA6E01}" type="presOf" srcId="{3594EC1A-C28A-40E2-9BA9-E7D01DC610A7}" destId="{6B0F7A21-8A71-4319-AC2E-D81074B65CBC}" srcOrd="0" destOrd="0" presId="urn:microsoft.com/office/officeart/2009/3/layout/HorizontalOrganizationChart"/>
    <dgm:cxn modelId="{FFCB8E0E-83EF-4599-BF13-C986EE976DEB}" srcId="{C14FF3FB-789E-4041-BAA4-8A5D3EF74394}" destId="{8A0FDD62-5ACB-4363-8100-7921DB27FED9}" srcOrd="0" destOrd="0" parTransId="{2E0A18BD-4B57-45A2-B599-17A5236A0DBA}" sibTransId="{95404541-6FCE-499D-B544-6283CA283D12}"/>
    <dgm:cxn modelId="{ED4D9E10-416E-403E-ADBA-09BE16C63D8D}" srcId="{8A0FDD62-5ACB-4363-8100-7921DB27FED9}" destId="{B487FD67-7267-482B-A536-C6D808E96D9C}" srcOrd="1" destOrd="0" parTransId="{445E6ECC-BB0F-4772-A31E-5A2DA500E851}" sibTransId="{4EA9E5A2-9B4B-4D3F-A6ED-250E73837D57}"/>
    <dgm:cxn modelId="{634DAF19-D7E1-4A13-AAE1-0DE3F1B14538}" type="presOf" srcId="{11C854FB-4807-4191-A106-FCE0853A2737}" destId="{B3171B48-87B5-412F-8372-E3F8BFD01636}" srcOrd="0" destOrd="0" presId="urn:microsoft.com/office/officeart/2009/3/layout/HorizontalOrganizationChart"/>
    <dgm:cxn modelId="{E8A0B528-C4D8-4C91-A789-0A0697D95969}" type="presOf" srcId="{11C854FB-4807-4191-A106-FCE0853A2737}" destId="{0B06F98C-C427-494C-A0A1-C26D1053C203}" srcOrd="1" destOrd="0" presId="urn:microsoft.com/office/officeart/2009/3/layout/HorizontalOrganizationChart"/>
    <dgm:cxn modelId="{F4ABB83C-24C7-4711-A232-B64194FD2448}" type="presOf" srcId="{FE1183B8-299D-4DAE-9761-D4155ED0D626}" destId="{C5E9805B-8734-43E5-87A9-3E4EDE6400A1}" srcOrd="0" destOrd="0" presId="urn:microsoft.com/office/officeart/2009/3/layout/HorizontalOrganizationChart"/>
    <dgm:cxn modelId="{27204B5F-1CC0-471D-A850-D419F147704F}" type="presOf" srcId="{D412B182-939A-4C07-BDA5-CE5C07BC0B2D}" destId="{77BD919E-47EC-450F-A587-C259C150CD11}" srcOrd="0" destOrd="0" presId="urn:microsoft.com/office/officeart/2009/3/layout/HorizontalOrganizationChart"/>
    <dgm:cxn modelId="{500DA64C-B97D-468B-8458-53084E7E3F40}" type="presOf" srcId="{500687D9-0065-48BF-95F4-F2E85DEA36C5}" destId="{0240BFF0-FF4F-4C09-943F-D38D8171ED95}" srcOrd="1" destOrd="0" presId="urn:microsoft.com/office/officeart/2009/3/layout/HorizontalOrganizationChart"/>
    <dgm:cxn modelId="{418DDD72-5F93-4278-B9A7-B366FC5F831B}" type="presOf" srcId="{D09E3D4F-1D7D-42D1-986A-2D072940B2CA}" destId="{65E7425D-55D2-4A95-85AE-4170C0981629}" srcOrd="1" destOrd="0" presId="urn:microsoft.com/office/officeart/2009/3/layout/HorizontalOrganizationChart"/>
    <dgm:cxn modelId="{37169C73-803B-4B53-8056-7D86DF425149}" type="presOf" srcId="{D09E3D4F-1D7D-42D1-986A-2D072940B2CA}" destId="{8F43BE6E-166A-4736-B495-0F0C5F9C5A94}" srcOrd="0" destOrd="0" presId="urn:microsoft.com/office/officeart/2009/3/layout/HorizontalOrganizationChart"/>
    <dgm:cxn modelId="{80630C54-088D-44D6-B58F-EEFCC41260FB}" type="presOf" srcId="{B487FD67-7267-482B-A536-C6D808E96D9C}" destId="{A4C68761-9E3E-4D68-B6DB-BA502EBD0C16}" srcOrd="1" destOrd="0" presId="urn:microsoft.com/office/officeart/2009/3/layout/HorizontalOrganizationChart"/>
    <dgm:cxn modelId="{DAB9C179-CF84-4B9B-A240-A23B5E2EABF7}" type="presOf" srcId="{9C224AA8-5D6D-439F-A5FF-D80F3FA166E4}" destId="{E545B4FB-CAAE-4F67-8274-077F8989871C}" srcOrd="1" destOrd="0" presId="urn:microsoft.com/office/officeart/2009/3/layout/HorizontalOrganizationChart"/>
    <dgm:cxn modelId="{3A4A7F7C-3773-44AD-831D-2EEC340A03E6}" type="presOf" srcId="{C14FF3FB-789E-4041-BAA4-8A5D3EF74394}" destId="{6DAD5AF5-2F6C-40CF-B4A4-4535DCB1DE5D}" srcOrd="0" destOrd="0" presId="urn:microsoft.com/office/officeart/2009/3/layout/HorizontalOrganizationChart"/>
    <dgm:cxn modelId="{B5728EA7-77BF-4A44-8D43-F6E7F6B898D8}" type="presOf" srcId="{500687D9-0065-48BF-95F4-F2E85DEA36C5}" destId="{69E3A919-74FB-480D-BB89-D9BE39E399E7}" srcOrd="0" destOrd="0" presId="urn:microsoft.com/office/officeart/2009/3/layout/HorizontalOrganizationChart"/>
    <dgm:cxn modelId="{2AB946AA-81B9-471D-9447-2C92C3DA6716}" type="presOf" srcId="{8A0FDD62-5ACB-4363-8100-7921DB27FED9}" destId="{4C951630-26BE-4FC2-B02A-6EABC31BCC02}" srcOrd="1" destOrd="0" presId="urn:microsoft.com/office/officeart/2009/3/layout/HorizontalOrganizationChart"/>
    <dgm:cxn modelId="{9CB71FB1-4091-4499-A694-E01ECE5458BA}" type="presOf" srcId="{8A0FDD62-5ACB-4363-8100-7921DB27FED9}" destId="{9243952B-3833-4F9A-A71B-0A59EE8FED19}" srcOrd="0" destOrd="0" presId="urn:microsoft.com/office/officeart/2009/3/layout/HorizontalOrganizationChart"/>
    <dgm:cxn modelId="{CD1619B7-958E-47B2-80DA-28F385F85BF6}" type="presOf" srcId="{B487FD67-7267-482B-A536-C6D808E96D9C}" destId="{5F10370A-A9DD-44D6-A47F-F058C24F9C2F}" srcOrd="0" destOrd="0" presId="urn:microsoft.com/office/officeart/2009/3/layout/HorizontalOrganizationChart"/>
    <dgm:cxn modelId="{17A8E6CF-3A06-437C-8D91-FCA2757CAFE6}" srcId="{8A0FDD62-5ACB-4363-8100-7921DB27FED9}" destId="{11C854FB-4807-4191-A106-FCE0853A2737}" srcOrd="3" destOrd="0" parTransId="{3594EC1A-C28A-40E2-9BA9-E7D01DC610A7}" sibTransId="{0B6FC9C1-497E-44B2-BA05-986DBD9831AA}"/>
    <dgm:cxn modelId="{471993E1-B340-4A72-921B-81101BD0227A}" type="presOf" srcId="{9C224AA8-5D6D-439F-A5FF-D80F3FA166E4}" destId="{F6C5896B-E465-4949-89C8-FE4B715A7AA6}" srcOrd="0" destOrd="0" presId="urn:microsoft.com/office/officeart/2009/3/layout/HorizontalOrganizationChart"/>
    <dgm:cxn modelId="{498BAEE2-7893-4D7B-95CC-F1C754C0CACB}" srcId="{C14FF3FB-789E-4041-BAA4-8A5D3EF74394}" destId="{D09E3D4F-1D7D-42D1-986A-2D072940B2CA}" srcOrd="1" destOrd="0" parTransId="{68ACF64D-A3E1-46BE-A0F8-EACFA27593B4}" sibTransId="{086D19BD-9679-4E1D-AB18-9C674F65C6F7}"/>
    <dgm:cxn modelId="{D1621CEF-9F93-4C79-B39F-CBA1E394B3B0}" type="presOf" srcId="{445E6ECC-BB0F-4772-A31E-5A2DA500E851}" destId="{072208BE-F468-4D92-91D9-C7A5020A5858}" srcOrd="0" destOrd="0" presId="urn:microsoft.com/office/officeart/2009/3/layout/HorizontalOrganizationChart"/>
    <dgm:cxn modelId="{E02BB2F0-87BB-483B-91A1-E7038189B78B}" srcId="{8A0FDD62-5ACB-4363-8100-7921DB27FED9}" destId="{9C224AA8-5D6D-439F-A5FF-D80F3FA166E4}" srcOrd="0" destOrd="0" parTransId="{FE1183B8-299D-4DAE-9761-D4155ED0D626}" sibTransId="{46ECC135-E1CD-4BA3-940E-260EB4B089CC}"/>
    <dgm:cxn modelId="{0BF568F5-7425-40FA-80D4-6CBF2F552140}" srcId="{8A0FDD62-5ACB-4363-8100-7921DB27FED9}" destId="{500687D9-0065-48BF-95F4-F2E85DEA36C5}" srcOrd="2" destOrd="0" parTransId="{D412B182-939A-4C07-BDA5-CE5C07BC0B2D}" sibTransId="{39DE803B-29D9-4A2A-A870-BF905220132E}"/>
    <dgm:cxn modelId="{1BBA2148-F184-41BE-A4AA-FF4AE6E11402}" type="presParOf" srcId="{6DAD5AF5-2F6C-40CF-B4A4-4535DCB1DE5D}" destId="{9E669CAF-C666-4968-9C8A-A75CD735112E}" srcOrd="0" destOrd="0" presId="urn:microsoft.com/office/officeart/2009/3/layout/HorizontalOrganizationChart"/>
    <dgm:cxn modelId="{CD4A52A8-BB30-46B1-A09C-FA3E5962EAC3}" type="presParOf" srcId="{9E669CAF-C666-4968-9C8A-A75CD735112E}" destId="{C9310B4B-0140-4156-88BB-BB8B405BA2F6}" srcOrd="0" destOrd="0" presId="urn:microsoft.com/office/officeart/2009/3/layout/HorizontalOrganizationChart"/>
    <dgm:cxn modelId="{00FEEC05-1D06-4F50-9D37-E227647C0275}" type="presParOf" srcId="{C9310B4B-0140-4156-88BB-BB8B405BA2F6}" destId="{9243952B-3833-4F9A-A71B-0A59EE8FED19}" srcOrd="0" destOrd="0" presId="urn:microsoft.com/office/officeart/2009/3/layout/HorizontalOrganizationChart"/>
    <dgm:cxn modelId="{61330E62-BE84-4CF8-B87D-76F69F8989F7}" type="presParOf" srcId="{C9310B4B-0140-4156-88BB-BB8B405BA2F6}" destId="{4C951630-26BE-4FC2-B02A-6EABC31BCC02}" srcOrd="1" destOrd="0" presId="urn:microsoft.com/office/officeart/2009/3/layout/HorizontalOrganizationChart"/>
    <dgm:cxn modelId="{2CE91F4A-E069-4DC6-AEE5-7A68566C91BE}" type="presParOf" srcId="{9E669CAF-C666-4968-9C8A-A75CD735112E}" destId="{A9CBB20B-D2FF-462D-8365-7D562044133A}" srcOrd="1" destOrd="0" presId="urn:microsoft.com/office/officeart/2009/3/layout/HorizontalOrganizationChart"/>
    <dgm:cxn modelId="{38FD33C2-E9ED-421A-AB97-66306F9C9EA4}" type="presParOf" srcId="{A9CBB20B-D2FF-462D-8365-7D562044133A}" destId="{C5E9805B-8734-43E5-87A9-3E4EDE6400A1}" srcOrd="0" destOrd="0" presId="urn:microsoft.com/office/officeart/2009/3/layout/HorizontalOrganizationChart"/>
    <dgm:cxn modelId="{AB331918-CE8E-4BD5-8F39-5A78E4F37DF3}" type="presParOf" srcId="{A9CBB20B-D2FF-462D-8365-7D562044133A}" destId="{59D565F5-CF79-4EC0-B001-75692E0C55A5}" srcOrd="1" destOrd="0" presId="urn:microsoft.com/office/officeart/2009/3/layout/HorizontalOrganizationChart"/>
    <dgm:cxn modelId="{C0A68D2F-44EF-4A10-AB34-46A774F23A22}" type="presParOf" srcId="{59D565F5-CF79-4EC0-B001-75692E0C55A5}" destId="{FD1AFDEF-415B-41D7-A2B3-18097AE78CD0}" srcOrd="0" destOrd="0" presId="urn:microsoft.com/office/officeart/2009/3/layout/HorizontalOrganizationChart"/>
    <dgm:cxn modelId="{C91D4CE7-12AC-4F90-9AFD-D0BE248578DB}" type="presParOf" srcId="{FD1AFDEF-415B-41D7-A2B3-18097AE78CD0}" destId="{F6C5896B-E465-4949-89C8-FE4B715A7AA6}" srcOrd="0" destOrd="0" presId="urn:microsoft.com/office/officeart/2009/3/layout/HorizontalOrganizationChart"/>
    <dgm:cxn modelId="{7D5BFA1F-51B3-46A7-B782-3C218484186E}" type="presParOf" srcId="{FD1AFDEF-415B-41D7-A2B3-18097AE78CD0}" destId="{E545B4FB-CAAE-4F67-8274-077F8989871C}" srcOrd="1" destOrd="0" presId="urn:microsoft.com/office/officeart/2009/3/layout/HorizontalOrganizationChart"/>
    <dgm:cxn modelId="{2DDC45EE-5C4F-471D-B9E6-165EED17ADD7}" type="presParOf" srcId="{59D565F5-CF79-4EC0-B001-75692E0C55A5}" destId="{12A0EF90-D8EB-4D76-A8C2-74FEB5F363FC}" srcOrd="1" destOrd="0" presId="urn:microsoft.com/office/officeart/2009/3/layout/HorizontalOrganizationChart"/>
    <dgm:cxn modelId="{DF3D3A8F-F7E9-4699-A141-CF0E8EA8347E}" type="presParOf" srcId="{59D565F5-CF79-4EC0-B001-75692E0C55A5}" destId="{945B86D7-60E4-41FF-9E22-41E01EACAF57}" srcOrd="2" destOrd="0" presId="urn:microsoft.com/office/officeart/2009/3/layout/HorizontalOrganizationChart"/>
    <dgm:cxn modelId="{41B646CF-43D0-49A0-90B8-A4F42031BB89}" type="presParOf" srcId="{A9CBB20B-D2FF-462D-8365-7D562044133A}" destId="{072208BE-F468-4D92-91D9-C7A5020A5858}" srcOrd="2" destOrd="0" presId="urn:microsoft.com/office/officeart/2009/3/layout/HorizontalOrganizationChart"/>
    <dgm:cxn modelId="{A525406A-0F7B-4113-BEE8-B56386FF1682}" type="presParOf" srcId="{A9CBB20B-D2FF-462D-8365-7D562044133A}" destId="{FE4E211E-805E-4926-9B50-E069108CDC74}" srcOrd="3" destOrd="0" presId="urn:microsoft.com/office/officeart/2009/3/layout/HorizontalOrganizationChart"/>
    <dgm:cxn modelId="{5637D8A9-C7D1-432E-98EE-DF47A1B8E581}" type="presParOf" srcId="{FE4E211E-805E-4926-9B50-E069108CDC74}" destId="{05677B27-E7DD-4A6A-ACAA-B9350D6719BF}" srcOrd="0" destOrd="0" presId="urn:microsoft.com/office/officeart/2009/3/layout/HorizontalOrganizationChart"/>
    <dgm:cxn modelId="{4A5E9A7E-9FD9-4D5B-AB44-6F1DD2825AA4}" type="presParOf" srcId="{05677B27-E7DD-4A6A-ACAA-B9350D6719BF}" destId="{5F10370A-A9DD-44D6-A47F-F058C24F9C2F}" srcOrd="0" destOrd="0" presId="urn:microsoft.com/office/officeart/2009/3/layout/HorizontalOrganizationChart"/>
    <dgm:cxn modelId="{F57B5992-1D67-429B-BF9B-6D8B841EF545}" type="presParOf" srcId="{05677B27-E7DD-4A6A-ACAA-B9350D6719BF}" destId="{A4C68761-9E3E-4D68-B6DB-BA502EBD0C16}" srcOrd="1" destOrd="0" presId="urn:microsoft.com/office/officeart/2009/3/layout/HorizontalOrganizationChart"/>
    <dgm:cxn modelId="{66B15C5B-023A-43A1-8EB0-F8A6B75F74D8}" type="presParOf" srcId="{FE4E211E-805E-4926-9B50-E069108CDC74}" destId="{0C5EFA30-BCFC-439E-B1F2-B68DB79AC200}" srcOrd="1" destOrd="0" presId="urn:microsoft.com/office/officeart/2009/3/layout/HorizontalOrganizationChart"/>
    <dgm:cxn modelId="{B947C541-9009-4D98-9547-EE14F5D16A10}" type="presParOf" srcId="{FE4E211E-805E-4926-9B50-E069108CDC74}" destId="{FE114DFA-BA97-40C0-9265-F7C1E69247D0}" srcOrd="2" destOrd="0" presId="urn:microsoft.com/office/officeart/2009/3/layout/HorizontalOrganizationChart"/>
    <dgm:cxn modelId="{883BE747-5EEB-4CB5-BE31-553541FA473A}" type="presParOf" srcId="{A9CBB20B-D2FF-462D-8365-7D562044133A}" destId="{77BD919E-47EC-450F-A587-C259C150CD11}" srcOrd="4" destOrd="0" presId="urn:microsoft.com/office/officeart/2009/3/layout/HorizontalOrganizationChart"/>
    <dgm:cxn modelId="{2D9EC5A3-2D8B-4BE9-9EF4-930B6B75C677}" type="presParOf" srcId="{A9CBB20B-D2FF-462D-8365-7D562044133A}" destId="{A461B146-54EF-4F15-AA9B-3B2A6B85524B}" srcOrd="5" destOrd="0" presId="urn:microsoft.com/office/officeart/2009/3/layout/HorizontalOrganizationChart"/>
    <dgm:cxn modelId="{99CF503B-EF2E-4958-B5CF-5B8059B0AFF9}" type="presParOf" srcId="{A461B146-54EF-4F15-AA9B-3B2A6B85524B}" destId="{48659850-4E23-4CE8-B3E4-25DB10213B00}" srcOrd="0" destOrd="0" presId="urn:microsoft.com/office/officeart/2009/3/layout/HorizontalOrganizationChart"/>
    <dgm:cxn modelId="{09A0D2CE-E99C-4000-A62A-939A19CB1956}" type="presParOf" srcId="{48659850-4E23-4CE8-B3E4-25DB10213B00}" destId="{69E3A919-74FB-480D-BB89-D9BE39E399E7}" srcOrd="0" destOrd="0" presId="urn:microsoft.com/office/officeart/2009/3/layout/HorizontalOrganizationChart"/>
    <dgm:cxn modelId="{983D0D3C-0BB9-4D1F-AF50-69B826F86D59}" type="presParOf" srcId="{48659850-4E23-4CE8-B3E4-25DB10213B00}" destId="{0240BFF0-FF4F-4C09-943F-D38D8171ED95}" srcOrd="1" destOrd="0" presId="urn:microsoft.com/office/officeart/2009/3/layout/HorizontalOrganizationChart"/>
    <dgm:cxn modelId="{EAA1FA69-59EA-452A-9A14-543F218D4AAD}" type="presParOf" srcId="{A461B146-54EF-4F15-AA9B-3B2A6B85524B}" destId="{0B9A7443-4860-4A0A-A343-BC94640D77DB}" srcOrd="1" destOrd="0" presId="urn:microsoft.com/office/officeart/2009/3/layout/HorizontalOrganizationChart"/>
    <dgm:cxn modelId="{61D964A9-B53E-4B0B-A159-747F1F3508E5}" type="presParOf" srcId="{A461B146-54EF-4F15-AA9B-3B2A6B85524B}" destId="{EE55C356-ECC5-49DC-82E3-FBD0AC214CCA}" srcOrd="2" destOrd="0" presId="urn:microsoft.com/office/officeart/2009/3/layout/HorizontalOrganizationChart"/>
    <dgm:cxn modelId="{5608B8D6-A8F3-4E76-B41E-395586BFE99F}" type="presParOf" srcId="{A9CBB20B-D2FF-462D-8365-7D562044133A}" destId="{6B0F7A21-8A71-4319-AC2E-D81074B65CBC}" srcOrd="6" destOrd="0" presId="urn:microsoft.com/office/officeart/2009/3/layout/HorizontalOrganizationChart"/>
    <dgm:cxn modelId="{C84EB760-A297-40B1-855F-17038CB88F54}" type="presParOf" srcId="{A9CBB20B-D2FF-462D-8365-7D562044133A}" destId="{9A318E4F-E2D8-4796-BA44-A1238E956757}" srcOrd="7" destOrd="0" presId="urn:microsoft.com/office/officeart/2009/3/layout/HorizontalOrganizationChart"/>
    <dgm:cxn modelId="{108DC13D-B7B4-4DB8-9A37-304BD9FD15FE}" type="presParOf" srcId="{9A318E4F-E2D8-4796-BA44-A1238E956757}" destId="{80AC5910-FBB1-45A9-ACC3-F8050A7CCCD1}" srcOrd="0" destOrd="0" presId="urn:microsoft.com/office/officeart/2009/3/layout/HorizontalOrganizationChart"/>
    <dgm:cxn modelId="{9379DFA1-2ACB-4931-A5A3-0041775C2394}" type="presParOf" srcId="{80AC5910-FBB1-45A9-ACC3-F8050A7CCCD1}" destId="{B3171B48-87B5-412F-8372-E3F8BFD01636}" srcOrd="0" destOrd="0" presId="urn:microsoft.com/office/officeart/2009/3/layout/HorizontalOrganizationChart"/>
    <dgm:cxn modelId="{B8D12E00-A2B2-47FC-819B-72511051FC14}" type="presParOf" srcId="{80AC5910-FBB1-45A9-ACC3-F8050A7CCCD1}" destId="{0B06F98C-C427-494C-A0A1-C26D1053C203}" srcOrd="1" destOrd="0" presId="urn:microsoft.com/office/officeart/2009/3/layout/HorizontalOrganizationChart"/>
    <dgm:cxn modelId="{CBD3CA40-F1B2-48B9-B1F2-D73874ED0A11}" type="presParOf" srcId="{9A318E4F-E2D8-4796-BA44-A1238E956757}" destId="{6325D762-2604-42FB-A526-0F0EE7A46B07}" srcOrd="1" destOrd="0" presId="urn:microsoft.com/office/officeart/2009/3/layout/HorizontalOrganizationChart"/>
    <dgm:cxn modelId="{9138CD50-545A-4C75-8CEE-81298912B487}" type="presParOf" srcId="{9A318E4F-E2D8-4796-BA44-A1238E956757}" destId="{335F8B26-6C68-450B-9CDE-CF305CB6D2F4}" srcOrd="2" destOrd="0" presId="urn:microsoft.com/office/officeart/2009/3/layout/HorizontalOrganizationChart"/>
    <dgm:cxn modelId="{2EEB8B91-47BD-4CBB-BF41-68D9D0249310}" type="presParOf" srcId="{9E669CAF-C666-4968-9C8A-A75CD735112E}" destId="{BB1C3144-AF76-4C1A-AC16-5745FE3D6FF4}" srcOrd="2" destOrd="0" presId="urn:microsoft.com/office/officeart/2009/3/layout/HorizontalOrganizationChart"/>
    <dgm:cxn modelId="{955AEF40-4F3F-4537-AF01-8943C55F9F46}" type="presParOf" srcId="{6DAD5AF5-2F6C-40CF-B4A4-4535DCB1DE5D}" destId="{E18B88DC-BC5B-4269-8303-2816E8A33297}" srcOrd="1" destOrd="0" presId="urn:microsoft.com/office/officeart/2009/3/layout/HorizontalOrganizationChart"/>
    <dgm:cxn modelId="{E2C7FD41-5A95-4129-949B-E52C827BCFEE}" type="presParOf" srcId="{E18B88DC-BC5B-4269-8303-2816E8A33297}" destId="{7E1EFAEC-C6C5-4489-9136-BD7B0956B289}" srcOrd="0" destOrd="0" presId="urn:microsoft.com/office/officeart/2009/3/layout/HorizontalOrganizationChart"/>
    <dgm:cxn modelId="{BEDF551C-3DAF-4BD3-8D74-32D5C90B7E44}" type="presParOf" srcId="{7E1EFAEC-C6C5-4489-9136-BD7B0956B289}" destId="{8F43BE6E-166A-4736-B495-0F0C5F9C5A94}" srcOrd="0" destOrd="0" presId="urn:microsoft.com/office/officeart/2009/3/layout/HorizontalOrganizationChart"/>
    <dgm:cxn modelId="{3AF3451C-B360-45D9-87AD-F22BD0B2F8A0}" type="presParOf" srcId="{7E1EFAEC-C6C5-4489-9136-BD7B0956B289}" destId="{65E7425D-55D2-4A95-85AE-4170C0981629}" srcOrd="1" destOrd="0" presId="urn:microsoft.com/office/officeart/2009/3/layout/HorizontalOrganizationChart"/>
    <dgm:cxn modelId="{84F8506D-BB3A-45DD-A804-FF6EF4A34DF4}" type="presParOf" srcId="{E18B88DC-BC5B-4269-8303-2816E8A33297}" destId="{0A91E4F6-AD54-49CF-9C53-9262E286DF5E}" srcOrd="1" destOrd="0" presId="urn:microsoft.com/office/officeart/2009/3/layout/HorizontalOrganizationChart"/>
    <dgm:cxn modelId="{3777CB0E-6951-496D-ABF3-8AE7E90A2F0F}" type="presParOf" srcId="{E18B88DC-BC5B-4269-8303-2816E8A33297}" destId="{3AA06DB7-3CF2-4B80-A567-B41E54DCF106}" srcOrd="2" destOrd="0" presId="urn:microsoft.com/office/officeart/2009/3/layout/HorizontalOrganizationChart"/>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0F7A21-8A71-4319-AC2E-D81074B65CBC}">
      <dsp:nvSpPr>
        <dsp:cNvPr id="0" name=""/>
        <dsp:cNvSpPr/>
      </dsp:nvSpPr>
      <dsp:spPr>
        <a:xfrm>
          <a:off x="1415423" y="2115918"/>
          <a:ext cx="283084" cy="912947"/>
        </a:xfrm>
        <a:custGeom>
          <a:avLst/>
          <a:gdLst/>
          <a:ahLst/>
          <a:cxnLst/>
          <a:rect l="0" t="0" r="0" b="0"/>
          <a:pathLst>
            <a:path>
              <a:moveTo>
                <a:pt x="0" y="0"/>
              </a:moveTo>
              <a:lnTo>
                <a:pt x="141542" y="0"/>
              </a:lnTo>
              <a:lnTo>
                <a:pt x="141542" y="912947"/>
              </a:lnTo>
              <a:lnTo>
                <a:pt x="283084" y="91294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7BD919E-47EC-450F-A587-C259C150CD11}">
      <dsp:nvSpPr>
        <dsp:cNvPr id="0" name=""/>
        <dsp:cNvSpPr/>
      </dsp:nvSpPr>
      <dsp:spPr>
        <a:xfrm>
          <a:off x="1415423" y="2115918"/>
          <a:ext cx="283084" cy="304315"/>
        </a:xfrm>
        <a:custGeom>
          <a:avLst/>
          <a:gdLst/>
          <a:ahLst/>
          <a:cxnLst/>
          <a:rect l="0" t="0" r="0" b="0"/>
          <a:pathLst>
            <a:path>
              <a:moveTo>
                <a:pt x="0" y="0"/>
              </a:moveTo>
              <a:lnTo>
                <a:pt x="141542" y="0"/>
              </a:lnTo>
              <a:lnTo>
                <a:pt x="141542" y="304315"/>
              </a:lnTo>
              <a:lnTo>
                <a:pt x="283084" y="30431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2208BE-F468-4D92-91D9-C7A5020A5858}">
      <dsp:nvSpPr>
        <dsp:cNvPr id="0" name=""/>
        <dsp:cNvSpPr/>
      </dsp:nvSpPr>
      <dsp:spPr>
        <a:xfrm>
          <a:off x="1415423" y="1811602"/>
          <a:ext cx="283084" cy="304315"/>
        </a:xfrm>
        <a:custGeom>
          <a:avLst/>
          <a:gdLst/>
          <a:ahLst/>
          <a:cxnLst/>
          <a:rect l="0" t="0" r="0" b="0"/>
          <a:pathLst>
            <a:path>
              <a:moveTo>
                <a:pt x="0" y="304315"/>
              </a:moveTo>
              <a:lnTo>
                <a:pt x="141542" y="304315"/>
              </a:lnTo>
              <a:lnTo>
                <a:pt x="141542" y="0"/>
              </a:lnTo>
              <a:lnTo>
                <a:pt x="283084"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5E9805B-8734-43E5-87A9-3E4EDE6400A1}">
      <dsp:nvSpPr>
        <dsp:cNvPr id="0" name=""/>
        <dsp:cNvSpPr/>
      </dsp:nvSpPr>
      <dsp:spPr>
        <a:xfrm>
          <a:off x="1415423" y="1202970"/>
          <a:ext cx="283084" cy="912947"/>
        </a:xfrm>
        <a:custGeom>
          <a:avLst/>
          <a:gdLst/>
          <a:ahLst/>
          <a:cxnLst/>
          <a:rect l="0" t="0" r="0" b="0"/>
          <a:pathLst>
            <a:path>
              <a:moveTo>
                <a:pt x="0" y="912947"/>
              </a:moveTo>
              <a:lnTo>
                <a:pt x="141542" y="912947"/>
              </a:lnTo>
              <a:lnTo>
                <a:pt x="141542" y="0"/>
              </a:lnTo>
              <a:lnTo>
                <a:pt x="283084"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243952B-3833-4F9A-A71B-0A59EE8FED19}">
      <dsp:nvSpPr>
        <dsp:cNvPr id="0" name=""/>
        <dsp:cNvSpPr/>
      </dsp:nvSpPr>
      <dsp:spPr>
        <a:xfrm>
          <a:off x="0" y="1900065"/>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Landfills</a:t>
          </a:r>
        </a:p>
      </dsp:txBody>
      <dsp:txXfrm>
        <a:off x="0" y="1900065"/>
        <a:ext cx="1415423" cy="431704"/>
      </dsp:txXfrm>
    </dsp:sp>
    <dsp:sp modelId="{F6C5896B-E465-4949-89C8-FE4B715A7AA6}">
      <dsp:nvSpPr>
        <dsp:cNvPr id="0" name=""/>
        <dsp:cNvSpPr/>
      </dsp:nvSpPr>
      <dsp:spPr>
        <a:xfrm>
          <a:off x="1698508" y="987117"/>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Ash Monofill</a:t>
          </a:r>
        </a:p>
      </dsp:txBody>
      <dsp:txXfrm>
        <a:off x="1698508" y="987117"/>
        <a:ext cx="1415423" cy="431704"/>
      </dsp:txXfrm>
    </dsp:sp>
    <dsp:sp modelId="{5F10370A-A9DD-44D6-A47F-F058C24F9C2F}">
      <dsp:nvSpPr>
        <dsp:cNvPr id="0" name=""/>
        <dsp:cNvSpPr/>
      </dsp:nvSpPr>
      <dsp:spPr>
        <a:xfrm>
          <a:off x="1698508" y="1595749"/>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Class I</a:t>
          </a:r>
        </a:p>
      </dsp:txBody>
      <dsp:txXfrm>
        <a:off x="1698508" y="1595749"/>
        <a:ext cx="1415423" cy="431704"/>
      </dsp:txXfrm>
    </dsp:sp>
    <dsp:sp modelId="{69E3A919-74FB-480D-BB89-D9BE39E399E7}">
      <dsp:nvSpPr>
        <dsp:cNvPr id="0" name=""/>
        <dsp:cNvSpPr/>
      </dsp:nvSpPr>
      <dsp:spPr>
        <a:xfrm>
          <a:off x="1698508" y="2204381"/>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Class III</a:t>
          </a:r>
        </a:p>
      </dsp:txBody>
      <dsp:txXfrm>
        <a:off x="1698508" y="2204381"/>
        <a:ext cx="1415423" cy="431704"/>
      </dsp:txXfrm>
    </dsp:sp>
    <dsp:sp modelId="{B3171B48-87B5-412F-8372-E3F8BFD01636}">
      <dsp:nvSpPr>
        <dsp:cNvPr id="0" name=""/>
        <dsp:cNvSpPr/>
      </dsp:nvSpPr>
      <dsp:spPr>
        <a:xfrm>
          <a:off x="1698508" y="2813013"/>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CDD</a:t>
          </a:r>
        </a:p>
      </dsp:txBody>
      <dsp:txXfrm>
        <a:off x="1698508" y="2813013"/>
        <a:ext cx="1415423" cy="431704"/>
      </dsp:txXfrm>
    </dsp:sp>
    <dsp:sp modelId="{8F43BE6E-166A-4736-B495-0F0C5F9C5A94}">
      <dsp:nvSpPr>
        <dsp:cNvPr id="0" name=""/>
        <dsp:cNvSpPr/>
      </dsp:nvSpPr>
      <dsp:spPr>
        <a:xfrm>
          <a:off x="0" y="3421645"/>
          <a:ext cx="3116974"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Waste-to-Energy</a:t>
          </a:r>
        </a:p>
      </dsp:txBody>
      <dsp:txXfrm>
        <a:off x="0" y="3421645"/>
        <a:ext cx="3116974" cy="431704"/>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0F7A21-8A71-4319-AC2E-D81074B65CBC}">
      <dsp:nvSpPr>
        <dsp:cNvPr id="0" name=""/>
        <dsp:cNvSpPr/>
      </dsp:nvSpPr>
      <dsp:spPr>
        <a:xfrm>
          <a:off x="1415423" y="2115918"/>
          <a:ext cx="283084" cy="912947"/>
        </a:xfrm>
        <a:custGeom>
          <a:avLst/>
          <a:gdLst/>
          <a:ahLst/>
          <a:cxnLst/>
          <a:rect l="0" t="0" r="0" b="0"/>
          <a:pathLst>
            <a:path>
              <a:moveTo>
                <a:pt x="0" y="0"/>
              </a:moveTo>
              <a:lnTo>
                <a:pt x="141542" y="0"/>
              </a:lnTo>
              <a:lnTo>
                <a:pt x="141542" y="912947"/>
              </a:lnTo>
              <a:lnTo>
                <a:pt x="283084" y="91294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7BD919E-47EC-450F-A587-C259C150CD11}">
      <dsp:nvSpPr>
        <dsp:cNvPr id="0" name=""/>
        <dsp:cNvSpPr/>
      </dsp:nvSpPr>
      <dsp:spPr>
        <a:xfrm>
          <a:off x="1415423" y="2115918"/>
          <a:ext cx="283084" cy="304315"/>
        </a:xfrm>
        <a:custGeom>
          <a:avLst/>
          <a:gdLst/>
          <a:ahLst/>
          <a:cxnLst/>
          <a:rect l="0" t="0" r="0" b="0"/>
          <a:pathLst>
            <a:path>
              <a:moveTo>
                <a:pt x="0" y="0"/>
              </a:moveTo>
              <a:lnTo>
                <a:pt x="141542" y="0"/>
              </a:lnTo>
              <a:lnTo>
                <a:pt x="141542" y="304315"/>
              </a:lnTo>
              <a:lnTo>
                <a:pt x="283084" y="30431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2208BE-F468-4D92-91D9-C7A5020A5858}">
      <dsp:nvSpPr>
        <dsp:cNvPr id="0" name=""/>
        <dsp:cNvSpPr/>
      </dsp:nvSpPr>
      <dsp:spPr>
        <a:xfrm>
          <a:off x="1415423" y="1811602"/>
          <a:ext cx="283084" cy="304315"/>
        </a:xfrm>
        <a:custGeom>
          <a:avLst/>
          <a:gdLst/>
          <a:ahLst/>
          <a:cxnLst/>
          <a:rect l="0" t="0" r="0" b="0"/>
          <a:pathLst>
            <a:path>
              <a:moveTo>
                <a:pt x="0" y="304315"/>
              </a:moveTo>
              <a:lnTo>
                <a:pt x="141542" y="304315"/>
              </a:lnTo>
              <a:lnTo>
                <a:pt x="141542" y="0"/>
              </a:lnTo>
              <a:lnTo>
                <a:pt x="283084"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5E9805B-8734-43E5-87A9-3E4EDE6400A1}">
      <dsp:nvSpPr>
        <dsp:cNvPr id="0" name=""/>
        <dsp:cNvSpPr/>
      </dsp:nvSpPr>
      <dsp:spPr>
        <a:xfrm>
          <a:off x="1415423" y="1202970"/>
          <a:ext cx="283084" cy="912947"/>
        </a:xfrm>
        <a:custGeom>
          <a:avLst/>
          <a:gdLst/>
          <a:ahLst/>
          <a:cxnLst/>
          <a:rect l="0" t="0" r="0" b="0"/>
          <a:pathLst>
            <a:path>
              <a:moveTo>
                <a:pt x="0" y="912947"/>
              </a:moveTo>
              <a:lnTo>
                <a:pt x="141542" y="912947"/>
              </a:lnTo>
              <a:lnTo>
                <a:pt x="141542" y="0"/>
              </a:lnTo>
              <a:lnTo>
                <a:pt x="283084"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243952B-3833-4F9A-A71B-0A59EE8FED19}">
      <dsp:nvSpPr>
        <dsp:cNvPr id="0" name=""/>
        <dsp:cNvSpPr/>
      </dsp:nvSpPr>
      <dsp:spPr>
        <a:xfrm>
          <a:off x="0" y="1900065"/>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Landfills</a:t>
          </a:r>
        </a:p>
      </dsp:txBody>
      <dsp:txXfrm>
        <a:off x="0" y="1900065"/>
        <a:ext cx="1415423" cy="431704"/>
      </dsp:txXfrm>
    </dsp:sp>
    <dsp:sp modelId="{F6C5896B-E465-4949-89C8-FE4B715A7AA6}">
      <dsp:nvSpPr>
        <dsp:cNvPr id="0" name=""/>
        <dsp:cNvSpPr/>
      </dsp:nvSpPr>
      <dsp:spPr>
        <a:xfrm>
          <a:off x="1698508" y="987117"/>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Ash Monofill</a:t>
          </a:r>
        </a:p>
      </dsp:txBody>
      <dsp:txXfrm>
        <a:off x="1698508" y="987117"/>
        <a:ext cx="1415423" cy="431704"/>
      </dsp:txXfrm>
    </dsp:sp>
    <dsp:sp modelId="{5F10370A-A9DD-44D6-A47F-F058C24F9C2F}">
      <dsp:nvSpPr>
        <dsp:cNvPr id="0" name=""/>
        <dsp:cNvSpPr/>
      </dsp:nvSpPr>
      <dsp:spPr>
        <a:xfrm>
          <a:off x="1698508" y="1595749"/>
          <a:ext cx="1415423" cy="431704"/>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solidFill>
                <a:schemeClr val="bg1"/>
              </a:solidFill>
            </a:rPr>
            <a:t>Class I</a:t>
          </a:r>
        </a:p>
      </dsp:txBody>
      <dsp:txXfrm>
        <a:off x="1698508" y="1595749"/>
        <a:ext cx="1415423" cy="431704"/>
      </dsp:txXfrm>
    </dsp:sp>
    <dsp:sp modelId="{69E3A919-74FB-480D-BB89-D9BE39E399E7}">
      <dsp:nvSpPr>
        <dsp:cNvPr id="0" name=""/>
        <dsp:cNvSpPr/>
      </dsp:nvSpPr>
      <dsp:spPr>
        <a:xfrm>
          <a:off x="1698508" y="2204381"/>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Class III</a:t>
          </a:r>
        </a:p>
      </dsp:txBody>
      <dsp:txXfrm>
        <a:off x="1698508" y="2204381"/>
        <a:ext cx="1415423" cy="431704"/>
      </dsp:txXfrm>
    </dsp:sp>
    <dsp:sp modelId="{B3171B48-87B5-412F-8372-E3F8BFD01636}">
      <dsp:nvSpPr>
        <dsp:cNvPr id="0" name=""/>
        <dsp:cNvSpPr/>
      </dsp:nvSpPr>
      <dsp:spPr>
        <a:xfrm>
          <a:off x="1698508" y="2813013"/>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CDD</a:t>
          </a:r>
        </a:p>
      </dsp:txBody>
      <dsp:txXfrm>
        <a:off x="1698508" y="2813013"/>
        <a:ext cx="1415423" cy="431704"/>
      </dsp:txXfrm>
    </dsp:sp>
    <dsp:sp modelId="{8F43BE6E-166A-4736-B495-0F0C5F9C5A94}">
      <dsp:nvSpPr>
        <dsp:cNvPr id="0" name=""/>
        <dsp:cNvSpPr/>
      </dsp:nvSpPr>
      <dsp:spPr>
        <a:xfrm>
          <a:off x="0" y="3421645"/>
          <a:ext cx="3116974" cy="431704"/>
        </a:xfrm>
        <a:prstGeom prst="rect">
          <a:avLst/>
        </a:prstGeom>
        <a:solidFill>
          <a:srgbClr val="FDF69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Waste-to-Energy</a:t>
          </a:r>
        </a:p>
      </dsp:txBody>
      <dsp:txXfrm>
        <a:off x="0" y="3421645"/>
        <a:ext cx="3116974" cy="431704"/>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0F7A21-8A71-4319-AC2E-D81074B65CBC}">
      <dsp:nvSpPr>
        <dsp:cNvPr id="0" name=""/>
        <dsp:cNvSpPr/>
      </dsp:nvSpPr>
      <dsp:spPr>
        <a:xfrm>
          <a:off x="1415423" y="2115918"/>
          <a:ext cx="283084" cy="912947"/>
        </a:xfrm>
        <a:custGeom>
          <a:avLst/>
          <a:gdLst/>
          <a:ahLst/>
          <a:cxnLst/>
          <a:rect l="0" t="0" r="0" b="0"/>
          <a:pathLst>
            <a:path>
              <a:moveTo>
                <a:pt x="0" y="0"/>
              </a:moveTo>
              <a:lnTo>
                <a:pt x="141542" y="0"/>
              </a:lnTo>
              <a:lnTo>
                <a:pt x="141542" y="912947"/>
              </a:lnTo>
              <a:lnTo>
                <a:pt x="283084" y="91294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7BD919E-47EC-450F-A587-C259C150CD11}">
      <dsp:nvSpPr>
        <dsp:cNvPr id="0" name=""/>
        <dsp:cNvSpPr/>
      </dsp:nvSpPr>
      <dsp:spPr>
        <a:xfrm>
          <a:off x="1415423" y="2115918"/>
          <a:ext cx="283084" cy="304315"/>
        </a:xfrm>
        <a:custGeom>
          <a:avLst/>
          <a:gdLst/>
          <a:ahLst/>
          <a:cxnLst/>
          <a:rect l="0" t="0" r="0" b="0"/>
          <a:pathLst>
            <a:path>
              <a:moveTo>
                <a:pt x="0" y="0"/>
              </a:moveTo>
              <a:lnTo>
                <a:pt x="141542" y="0"/>
              </a:lnTo>
              <a:lnTo>
                <a:pt x="141542" y="304315"/>
              </a:lnTo>
              <a:lnTo>
                <a:pt x="283084" y="30431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2208BE-F468-4D92-91D9-C7A5020A5858}">
      <dsp:nvSpPr>
        <dsp:cNvPr id="0" name=""/>
        <dsp:cNvSpPr/>
      </dsp:nvSpPr>
      <dsp:spPr>
        <a:xfrm>
          <a:off x="1415423" y="1811602"/>
          <a:ext cx="283084" cy="304315"/>
        </a:xfrm>
        <a:custGeom>
          <a:avLst/>
          <a:gdLst/>
          <a:ahLst/>
          <a:cxnLst/>
          <a:rect l="0" t="0" r="0" b="0"/>
          <a:pathLst>
            <a:path>
              <a:moveTo>
                <a:pt x="0" y="304315"/>
              </a:moveTo>
              <a:lnTo>
                <a:pt x="141542" y="304315"/>
              </a:lnTo>
              <a:lnTo>
                <a:pt x="141542" y="0"/>
              </a:lnTo>
              <a:lnTo>
                <a:pt x="283084"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5E9805B-8734-43E5-87A9-3E4EDE6400A1}">
      <dsp:nvSpPr>
        <dsp:cNvPr id="0" name=""/>
        <dsp:cNvSpPr/>
      </dsp:nvSpPr>
      <dsp:spPr>
        <a:xfrm>
          <a:off x="1415423" y="1202970"/>
          <a:ext cx="283084" cy="912947"/>
        </a:xfrm>
        <a:custGeom>
          <a:avLst/>
          <a:gdLst/>
          <a:ahLst/>
          <a:cxnLst/>
          <a:rect l="0" t="0" r="0" b="0"/>
          <a:pathLst>
            <a:path>
              <a:moveTo>
                <a:pt x="0" y="912947"/>
              </a:moveTo>
              <a:lnTo>
                <a:pt x="141542" y="912947"/>
              </a:lnTo>
              <a:lnTo>
                <a:pt x="141542" y="0"/>
              </a:lnTo>
              <a:lnTo>
                <a:pt x="283084"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243952B-3833-4F9A-A71B-0A59EE8FED19}">
      <dsp:nvSpPr>
        <dsp:cNvPr id="0" name=""/>
        <dsp:cNvSpPr/>
      </dsp:nvSpPr>
      <dsp:spPr>
        <a:xfrm>
          <a:off x="0" y="1900065"/>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Landfills</a:t>
          </a:r>
        </a:p>
      </dsp:txBody>
      <dsp:txXfrm>
        <a:off x="0" y="1900065"/>
        <a:ext cx="1415423" cy="431704"/>
      </dsp:txXfrm>
    </dsp:sp>
    <dsp:sp modelId="{F6C5896B-E465-4949-89C8-FE4B715A7AA6}">
      <dsp:nvSpPr>
        <dsp:cNvPr id="0" name=""/>
        <dsp:cNvSpPr/>
      </dsp:nvSpPr>
      <dsp:spPr>
        <a:xfrm>
          <a:off x="1698508" y="987117"/>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Ash Monofill</a:t>
          </a:r>
        </a:p>
      </dsp:txBody>
      <dsp:txXfrm>
        <a:off x="1698508" y="987117"/>
        <a:ext cx="1415423" cy="431704"/>
      </dsp:txXfrm>
    </dsp:sp>
    <dsp:sp modelId="{5F10370A-A9DD-44D6-A47F-F058C24F9C2F}">
      <dsp:nvSpPr>
        <dsp:cNvPr id="0" name=""/>
        <dsp:cNvSpPr/>
      </dsp:nvSpPr>
      <dsp:spPr>
        <a:xfrm>
          <a:off x="1698508" y="1595749"/>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Class I</a:t>
          </a:r>
        </a:p>
      </dsp:txBody>
      <dsp:txXfrm>
        <a:off x="1698508" y="1595749"/>
        <a:ext cx="1415423" cy="431704"/>
      </dsp:txXfrm>
    </dsp:sp>
    <dsp:sp modelId="{69E3A919-74FB-480D-BB89-D9BE39E399E7}">
      <dsp:nvSpPr>
        <dsp:cNvPr id="0" name=""/>
        <dsp:cNvSpPr/>
      </dsp:nvSpPr>
      <dsp:spPr>
        <a:xfrm>
          <a:off x="1698508" y="2204381"/>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Class III</a:t>
          </a:r>
        </a:p>
      </dsp:txBody>
      <dsp:txXfrm>
        <a:off x="1698508" y="2204381"/>
        <a:ext cx="1415423" cy="431704"/>
      </dsp:txXfrm>
    </dsp:sp>
    <dsp:sp modelId="{B3171B48-87B5-412F-8372-E3F8BFD01636}">
      <dsp:nvSpPr>
        <dsp:cNvPr id="0" name=""/>
        <dsp:cNvSpPr/>
      </dsp:nvSpPr>
      <dsp:spPr>
        <a:xfrm>
          <a:off x="1698508" y="2813013"/>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CDD</a:t>
          </a:r>
        </a:p>
      </dsp:txBody>
      <dsp:txXfrm>
        <a:off x="1698508" y="2813013"/>
        <a:ext cx="1415423" cy="431704"/>
      </dsp:txXfrm>
    </dsp:sp>
    <dsp:sp modelId="{8F43BE6E-166A-4736-B495-0F0C5F9C5A94}">
      <dsp:nvSpPr>
        <dsp:cNvPr id="0" name=""/>
        <dsp:cNvSpPr/>
      </dsp:nvSpPr>
      <dsp:spPr>
        <a:xfrm>
          <a:off x="0" y="3421645"/>
          <a:ext cx="3116974"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Waste-to-Energy</a:t>
          </a:r>
        </a:p>
      </dsp:txBody>
      <dsp:txXfrm>
        <a:off x="0" y="3421645"/>
        <a:ext cx="3116974" cy="431704"/>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D80550-4753-414D-9E2C-29E87CC202F1}">
      <dsp:nvSpPr>
        <dsp:cNvPr id="0" name=""/>
        <dsp:cNvSpPr/>
      </dsp:nvSpPr>
      <dsp:spPr>
        <a:xfrm>
          <a:off x="2081347" y="2146816"/>
          <a:ext cx="255533" cy="712295"/>
        </a:xfrm>
        <a:custGeom>
          <a:avLst/>
          <a:gdLst/>
          <a:ahLst/>
          <a:cxnLst/>
          <a:rect l="0" t="0" r="0" b="0"/>
          <a:pathLst>
            <a:path>
              <a:moveTo>
                <a:pt x="0" y="0"/>
              </a:moveTo>
              <a:lnTo>
                <a:pt x="127766" y="0"/>
              </a:lnTo>
              <a:lnTo>
                <a:pt x="127766" y="712295"/>
              </a:lnTo>
              <a:lnTo>
                <a:pt x="255533" y="71229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E1287EB-C0CC-4C9B-8503-F8372D7BE22A}">
      <dsp:nvSpPr>
        <dsp:cNvPr id="0" name=""/>
        <dsp:cNvSpPr/>
      </dsp:nvSpPr>
      <dsp:spPr>
        <a:xfrm>
          <a:off x="2081347" y="2101096"/>
          <a:ext cx="255533" cy="91440"/>
        </a:xfrm>
        <a:custGeom>
          <a:avLst/>
          <a:gdLst/>
          <a:ahLst/>
          <a:cxnLst/>
          <a:rect l="0" t="0" r="0" b="0"/>
          <a:pathLst>
            <a:path>
              <a:moveTo>
                <a:pt x="0" y="45720"/>
              </a:moveTo>
              <a:lnTo>
                <a:pt x="127766" y="45720"/>
              </a:lnTo>
              <a:lnTo>
                <a:pt x="127766" y="105747"/>
              </a:lnTo>
              <a:lnTo>
                <a:pt x="255533" y="10574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C8331C7-B13D-4AF7-A323-1B1603B58B0E}">
      <dsp:nvSpPr>
        <dsp:cNvPr id="0" name=""/>
        <dsp:cNvSpPr/>
      </dsp:nvSpPr>
      <dsp:spPr>
        <a:xfrm>
          <a:off x="2081347" y="1494549"/>
          <a:ext cx="255533" cy="652267"/>
        </a:xfrm>
        <a:custGeom>
          <a:avLst/>
          <a:gdLst/>
          <a:ahLst/>
          <a:cxnLst/>
          <a:rect l="0" t="0" r="0" b="0"/>
          <a:pathLst>
            <a:path>
              <a:moveTo>
                <a:pt x="0" y="652267"/>
              </a:moveTo>
              <a:lnTo>
                <a:pt x="127766" y="652267"/>
              </a:lnTo>
              <a:lnTo>
                <a:pt x="127766" y="0"/>
              </a:lnTo>
              <a:lnTo>
                <a:pt x="255533"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8DFF0E-9219-4A5D-9DC2-F45043BFED9C}">
      <dsp:nvSpPr>
        <dsp:cNvPr id="0" name=""/>
        <dsp:cNvSpPr/>
      </dsp:nvSpPr>
      <dsp:spPr>
        <a:xfrm>
          <a:off x="2079967" y="507555"/>
          <a:ext cx="256913" cy="274698"/>
        </a:xfrm>
        <a:custGeom>
          <a:avLst/>
          <a:gdLst/>
          <a:ahLst/>
          <a:cxnLst/>
          <a:rect l="0" t="0" r="0" b="0"/>
          <a:pathLst>
            <a:path>
              <a:moveTo>
                <a:pt x="0" y="0"/>
              </a:moveTo>
              <a:lnTo>
                <a:pt x="129146" y="0"/>
              </a:lnTo>
              <a:lnTo>
                <a:pt x="129146" y="274698"/>
              </a:lnTo>
              <a:lnTo>
                <a:pt x="256913" y="27469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5E9805B-8734-43E5-87A9-3E4EDE6400A1}">
      <dsp:nvSpPr>
        <dsp:cNvPr id="0" name=""/>
        <dsp:cNvSpPr/>
      </dsp:nvSpPr>
      <dsp:spPr>
        <a:xfrm>
          <a:off x="2079967" y="232856"/>
          <a:ext cx="256913" cy="274698"/>
        </a:xfrm>
        <a:custGeom>
          <a:avLst/>
          <a:gdLst/>
          <a:ahLst/>
          <a:cxnLst/>
          <a:rect l="0" t="0" r="0" b="0"/>
          <a:pathLst>
            <a:path>
              <a:moveTo>
                <a:pt x="0" y="274698"/>
              </a:moveTo>
              <a:lnTo>
                <a:pt x="129146" y="274698"/>
              </a:lnTo>
              <a:lnTo>
                <a:pt x="129146" y="0"/>
              </a:lnTo>
              <a:lnTo>
                <a:pt x="256913"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243952B-3833-4F9A-A71B-0A59EE8FED19}">
      <dsp:nvSpPr>
        <dsp:cNvPr id="0" name=""/>
        <dsp:cNvSpPr/>
      </dsp:nvSpPr>
      <dsp:spPr>
        <a:xfrm>
          <a:off x="802299" y="312711"/>
          <a:ext cx="1277668"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Recycling</a:t>
          </a:r>
        </a:p>
      </dsp:txBody>
      <dsp:txXfrm>
        <a:off x="802299" y="312711"/>
        <a:ext cx="1277668" cy="389688"/>
      </dsp:txXfrm>
    </dsp:sp>
    <dsp:sp modelId="{F6C5896B-E465-4949-89C8-FE4B715A7AA6}">
      <dsp:nvSpPr>
        <dsp:cNvPr id="0" name=""/>
        <dsp:cNvSpPr/>
      </dsp:nvSpPr>
      <dsp:spPr>
        <a:xfrm>
          <a:off x="2336881" y="38012"/>
          <a:ext cx="1277668"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Class I</a:t>
          </a:r>
        </a:p>
      </dsp:txBody>
      <dsp:txXfrm>
        <a:off x="2336881" y="38012"/>
        <a:ext cx="1277668" cy="389688"/>
      </dsp:txXfrm>
    </dsp:sp>
    <dsp:sp modelId="{7912A520-6302-4FA0-B726-5F1C79158053}">
      <dsp:nvSpPr>
        <dsp:cNvPr id="0" name=""/>
        <dsp:cNvSpPr/>
      </dsp:nvSpPr>
      <dsp:spPr>
        <a:xfrm>
          <a:off x="2336881" y="587409"/>
          <a:ext cx="1277668"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Class III/CDD</a:t>
          </a:r>
        </a:p>
      </dsp:txBody>
      <dsp:txXfrm>
        <a:off x="2336881" y="587409"/>
        <a:ext cx="1277668" cy="389688"/>
      </dsp:txXfrm>
    </dsp:sp>
    <dsp:sp modelId="{8F43BE6E-166A-4736-B495-0F0C5F9C5A94}">
      <dsp:nvSpPr>
        <dsp:cNvPr id="0" name=""/>
        <dsp:cNvSpPr/>
      </dsp:nvSpPr>
      <dsp:spPr>
        <a:xfrm>
          <a:off x="803679" y="1769327"/>
          <a:ext cx="1277668" cy="754979"/>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Organics Processing</a:t>
          </a:r>
        </a:p>
      </dsp:txBody>
      <dsp:txXfrm>
        <a:off x="803679" y="1769327"/>
        <a:ext cx="1277668" cy="754979"/>
      </dsp:txXfrm>
    </dsp:sp>
    <dsp:sp modelId="{B633B50C-55B7-4080-8A5D-DD9EE7F65740}">
      <dsp:nvSpPr>
        <dsp:cNvPr id="0" name=""/>
        <dsp:cNvSpPr/>
      </dsp:nvSpPr>
      <dsp:spPr>
        <a:xfrm>
          <a:off x="2336881" y="1136807"/>
          <a:ext cx="1277668" cy="715484"/>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Food Waste &amp; Manure</a:t>
          </a:r>
        </a:p>
      </dsp:txBody>
      <dsp:txXfrm>
        <a:off x="2336881" y="1136807"/>
        <a:ext cx="1277668" cy="715484"/>
      </dsp:txXfrm>
    </dsp:sp>
    <dsp:sp modelId="{F8970BD3-839A-4C82-84BD-B0A41A6A9807}">
      <dsp:nvSpPr>
        <dsp:cNvPr id="0" name=""/>
        <dsp:cNvSpPr/>
      </dsp:nvSpPr>
      <dsp:spPr>
        <a:xfrm>
          <a:off x="2336881" y="2012000"/>
          <a:ext cx="1277668"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Yard Trash</a:t>
          </a:r>
        </a:p>
      </dsp:txBody>
      <dsp:txXfrm>
        <a:off x="2336881" y="2012000"/>
        <a:ext cx="1277668" cy="389688"/>
      </dsp:txXfrm>
    </dsp:sp>
    <dsp:sp modelId="{C517AAD2-5580-C644-8C97-234B421E295B}">
      <dsp:nvSpPr>
        <dsp:cNvPr id="0" name=""/>
        <dsp:cNvSpPr/>
      </dsp:nvSpPr>
      <dsp:spPr>
        <a:xfrm>
          <a:off x="2336881" y="2523882"/>
          <a:ext cx="1277668" cy="670459"/>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Anaerobic Digestion</a:t>
          </a:r>
        </a:p>
      </dsp:txBody>
      <dsp:txXfrm>
        <a:off x="2336881" y="2523882"/>
        <a:ext cx="1277668" cy="670459"/>
      </dsp:txXfrm>
    </dsp:sp>
    <dsp:sp modelId="{3EA02441-E62E-C24E-A4DF-460F53CDBD20}">
      <dsp:nvSpPr>
        <dsp:cNvPr id="0" name=""/>
        <dsp:cNvSpPr/>
      </dsp:nvSpPr>
      <dsp:spPr>
        <a:xfrm>
          <a:off x="803679" y="3354050"/>
          <a:ext cx="2813617"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Used Oil Processing</a:t>
          </a:r>
        </a:p>
      </dsp:txBody>
      <dsp:txXfrm>
        <a:off x="803679" y="3354050"/>
        <a:ext cx="2813617" cy="389688"/>
      </dsp:txXfrm>
    </dsp:sp>
    <dsp:sp modelId="{A0471F14-CFB3-8449-8997-79C53AE48F72}">
      <dsp:nvSpPr>
        <dsp:cNvPr id="0" name=""/>
        <dsp:cNvSpPr/>
      </dsp:nvSpPr>
      <dsp:spPr>
        <a:xfrm>
          <a:off x="803679" y="3903448"/>
          <a:ext cx="2813617"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HHW</a:t>
          </a:r>
        </a:p>
      </dsp:txBody>
      <dsp:txXfrm>
        <a:off x="803679" y="3903448"/>
        <a:ext cx="2813617" cy="389688"/>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D80550-4753-414D-9E2C-29E87CC202F1}">
      <dsp:nvSpPr>
        <dsp:cNvPr id="0" name=""/>
        <dsp:cNvSpPr/>
      </dsp:nvSpPr>
      <dsp:spPr>
        <a:xfrm>
          <a:off x="2081347" y="2146816"/>
          <a:ext cx="255533" cy="712295"/>
        </a:xfrm>
        <a:custGeom>
          <a:avLst/>
          <a:gdLst/>
          <a:ahLst/>
          <a:cxnLst/>
          <a:rect l="0" t="0" r="0" b="0"/>
          <a:pathLst>
            <a:path>
              <a:moveTo>
                <a:pt x="0" y="0"/>
              </a:moveTo>
              <a:lnTo>
                <a:pt x="127766" y="0"/>
              </a:lnTo>
              <a:lnTo>
                <a:pt x="127766" y="712295"/>
              </a:lnTo>
              <a:lnTo>
                <a:pt x="255533" y="71229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E1287EB-C0CC-4C9B-8503-F8372D7BE22A}">
      <dsp:nvSpPr>
        <dsp:cNvPr id="0" name=""/>
        <dsp:cNvSpPr/>
      </dsp:nvSpPr>
      <dsp:spPr>
        <a:xfrm>
          <a:off x="2081347" y="2101096"/>
          <a:ext cx="255533" cy="91440"/>
        </a:xfrm>
        <a:custGeom>
          <a:avLst/>
          <a:gdLst/>
          <a:ahLst/>
          <a:cxnLst/>
          <a:rect l="0" t="0" r="0" b="0"/>
          <a:pathLst>
            <a:path>
              <a:moveTo>
                <a:pt x="0" y="45720"/>
              </a:moveTo>
              <a:lnTo>
                <a:pt x="127766" y="45720"/>
              </a:lnTo>
              <a:lnTo>
                <a:pt x="127766" y="105747"/>
              </a:lnTo>
              <a:lnTo>
                <a:pt x="255533" y="10574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C8331C7-B13D-4AF7-A323-1B1603B58B0E}">
      <dsp:nvSpPr>
        <dsp:cNvPr id="0" name=""/>
        <dsp:cNvSpPr/>
      </dsp:nvSpPr>
      <dsp:spPr>
        <a:xfrm>
          <a:off x="2081347" y="1494549"/>
          <a:ext cx="255533" cy="652267"/>
        </a:xfrm>
        <a:custGeom>
          <a:avLst/>
          <a:gdLst/>
          <a:ahLst/>
          <a:cxnLst/>
          <a:rect l="0" t="0" r="0" b="0"/>
          <a:pathLst>
            <a:path>
              <a:moveTo>
                <a:pt x="0" y="652267"/>
              </a:moveTo>
              <a:lnTo>
                <a:pt x="127766" y="652267"/>
              </a:lnTo>
              <a:lnTo>
                <a:pt x="127766" y="0"/>
              </a:lnTo>
              <a:lnTo>
                <a:pt x="255533"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8DFF0E-9219-4A5D-9DC2-F45043BFED9C}">
      <dsp:nvSpPr>
        <dsp:cNvPr id="0" name=""/>
        <dsp:cNvSpPr/>
      </dsp:nvSpPr>
      <dsp:spPr>
        <a:xfrm>
          <a:off x="2079967" y="507555"/>
          <a:ext cx="256913" cy="274698"/>
        </a:xfrm>
        <a:custGeom>
          <a:avLst/>
          <a:gdLst/>
          <a:ahLst/>
          <a:cxnLst/>
          <a:rect l="0" t="0" r="0" b="0"/>
          <a:pathLst>
            <a:path>
              <a:moveTo>
                <a:pt x="0" y="0"/>
              </a:moveTo>
              <a:lnTo>
                <a:pt x="129146" y="0"/>
              </a:lnTo>
              <a:lnTo>
                <a:pt x="129146" y="274698"/>
              </a:lnTo>
              <a:lnTo>
                <a:pt x="256913" y="27469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5E9805B-8734-43E5-87A9-3E4EDE6400A1}">
      <dsp:nvSpPr>
        <dsp:cNvPr id="0" name=""/>
        <dsp:cNvSpPr/>
      </dsp:nvSpPr>
      <dsp:spPr>
        <a:xfrm>
          <a:off x="2079967" y="232856"/>
          <a:ext cx="256913" cy="274698"/>
        </a:xfrm>
        <a:custGeom>
          <a:avLst/>
          <a:gdLst/>
          <a:ahLst/>
          <a:cxnLst/>
          <a:rect l="0" t="0" r="0" b="0"/>
          <a:pathLst>
            <a:path>
              <a:moveTo>
                <a:pt x="0" y="274698"/>
              </a:moveTo>
              <a:lnTo>
                <a:pt x="129146" y="274698"/>
              </a:lnTo>
              <a:lnTo>
                <a:pt x="129146" y="0"/>
              </a:lnTo>
              <a:lnTo>
                <a:pt x="256913"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243952B-3833-4F9A-A71B-0A59EE8FED19}">
      <dsp:nvSpPr>
        <dsp:cNvPr id="0" name=""/>
        <dsp:cNvSpPr/>
      </dsp:nvSpPr>
      <dsp:spPr>
        <a:xfrm>
          <a:off x="802299" y="312711"/>
          <a:ext cx="1277668" cy="389688"/>
        </a:xfrm>
        <a:prstGeom prst="rect">
          <a:avLst/>
        </a:prstGeom>
        <a:solidFill>
          <a:srgbClr val="FDF69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Recycling</a:t>
          </a:r>
        </a:p>
      </dsp:txBody>
      <dsp:txXfrm>
        <a:off x="802299" y="312711"/>
        <a:ext cx="1277668" cy="389688"/>
      </dsp:txXfrm>
    </dsp:sp>
    <dsp:sp modelId="{F6C5896B-E465-4949-89C8-FE4B715A7AA6}">
      <dsp:nvSpPr>
        <dsp:cNvPr id="0" name=""/>
        <dsp:cNvSpPr/>
      </dsp:nvSpPr>
      <dsp:spPr>
        <a:xfrm>
          <a:off x="2336881" y="38012"/>
          <a:ext cx="1277668" cy="389688"/>
        </a:xfrm>
        <a:prstGeom prst="rect">
          <a:avLst/>
        </a:prstGeom>
        <a:solidFill>
          <a:srgbClr val="FDF69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Class I</a:t>
          </a:r>
        </a:p>
      </dsp:txBody>
      <dsp:txXfrm>
        <a:off x="2336881" y="38012"/>
        <a:ext cx="1277668" cy="389688"/>
      </dsp:txXfrm>
    </dsp:sp>
    <dsp:sp modelId="{7912A520-6302-4FA0-B726-5F1C79158053}">
      <dsp:nvSpPr>
        <dsp:cNvPr id="0" name=""/>
        <dsp:cNvSpPr/>
      </dsp:nvSpPr>
      <dsp:spPr>
        <a:xfrm>
          <a:off x="2336881" y="587409"/>
          <a:ext cx="1277668"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Class III/CDD</a:t>
          </a:r>
        </a:p>
      </dsp:txBody>
      <dsp:txXfrm>
        <a:off x="2336881" y="587409"/>
        <a:ext cx="1277668" cy="389688"/>
      </dsp:txXfrm>
    </dsp:sp>
    <dsp:sp modelId="{8F43BE6E-166A-4736-B495-0F0C5F9C5A94}">
      <dsp:nvSpPr>
        <dsp:cNvPr id="0" name=""/>
        <dsp:cNvSpPr/>
      </dsp:nvSpPr>
      <dsp:spPr>
        <a:xfrm>
          <a:off x="803679" y="1769327"/>
          <a:ext cx="1277668" cy="754979"/>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Organics Processing</a:t>
          </a:r>
        </a:p>
      </dsp:txBody>
      <dsp:txXfrm>
        <a:off x="803679" y="1769327"/>
        <a:ext cx="1277668" cy="754979"/>
      </dsp:txXfrm>
    </dsp:sp>
    <dsp:sp modelId="{B633B50C-55B7-4080-8A5D-DD9EE7F65740}">
      <dsp:nvSpPr>
        <dsp:cNvPr id="0" name=""/>
        <dsp:cNvSpPr/>
      </dsp:nvSpPr>
      <dsp:spPr>
        <a:xfrm>
          <a:off x="2336881" y="1136807"/>
          <a:ext cx="1277668" cy="715484"/>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Food Waste &amp; Manure</a:t>
          </a:r>
        </a:p>
      </dsp:txBody>
      <dsp:txXfrm>
        <a:off x="2336881" y="1136807"/>
        <a:ext cx="1277668" cy="715484"/>
      </dsp:txXfrm>
    </dsp:sp>
    <dsp:sp modelId="{F8970BD3-839A-4C82-84BD-B0A41A6A9807}">
      <dsp:nvSpPr>
        <dsp:cNvPr id="0" name=""/>
        <dsp:cNvSpPr/>
      </dsp:nvSpPr>
      <dsp:spPr>
        <a:xfrm>
          <a:off x="2336881" y="2012000"/>
          <a:ext cx="1277668"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Yard Trash</a:t>
          </a:r>
        </a:p>
      </dsp:txBody>
      <dsp:txXfrm>
        <a:off x="2336881" y="2012000"/>
        <a:ext cx="1277668" cy="389688"/>
      </dsp:txXfrm>
    </dsp:sp>
    <dsp:sp modelId="{C517AAD2-5580-C644-8C97-234B421E295B}">
      <dsp:nvSpPr>
        <dsp:cNvPr id="0" name=""/>
        <dsp:cNvSpPr/>
      </dsp:nvSpPr>
      <dsp:spPr>
        <a:xfrm>
          <a:off x="2336881" y="2523882"/>
          <a:ext cx="1277668" cy="670459"/>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Anaerobic Digestion</a:t>
          </a:r>
        </a:p>
      </dsp:txBody>
      <dsp:txXfrm>
        <a:off x="2336881" y="2523882"/>
        <a:ext cx="1277668" cy="670459"/>
      </dsp:txXfrm>
    </dsp:sp>
    <dsp:sp modelId="{3EA02441-E62E-C24E-A4DF-460F53CDBD20}">
      <dsp:nvSpPr>
        <dsp:cNvPr id="0" name=""/>
        <dsp:cNvSpPr/>
      </dsp:nvSpPr>
      <dsp:spPr>
        <a:xfrm>
          <a:off x="803679" y="3354050"/>
          <a:ext cx="2813617"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Used Oil Processing</a:t>
          </a:r>
        </a:p>
      </dsp:txBody>
      <dsp:txXfrm>
        <a:off x="803679" y="3354050"/>
        <a:ext cx="2813617" cy="389688"/>
      </dsp:txXfrm>
    </dsp:sp>
    <dsp:sp modelId="{A0471F14-CFB3-8449-8997-79C53AE48F72}">
      <dsp:nvSpPr>
        <dsp:cNvPr id="0" name=""/>
        <dsp:cNvSpPr/>
      </dsp:nvSpPr>
      <dsp:spPr>
        <a:xfrm>
          <a:off x="803679" y="3903448"/>
          <a:ext cx="2813617"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HHW</a:t>
          </a:r>
        </a:p>
      </dsp:txBody>
      <dsp:txXfrm>
        <a:off x="803679" y="3903448"/>
        <a:ext cx="2813617" cy="389688"/>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0F7A21-8A71-4319-AC2E-D81074B65CBC}">
      <dsp:nvSpPr>
        <dsp:cNvPr id="0" name=""/>
        <dsp:cNvSpPr/>
      </dsp:nvSpPr>
      <dsp:spPr>
        <a:xfrm>
          <a:off x="1415423" y="2115918"/>
          <a:ext cx="283084" cy="912947"/>
        </a:xfrm>
        <a:custGeom>
          <a:avLst/>
          <a:gdLst/>
          <a:ahLst/>
          <a:cxnLst/>
          <a:rect l="0" t="0" r="0" b="0"/>
          <a:pathLst>
            <a:path>
              <a:moveTo>
                <a:pt x="0" y="0"/>
              </a:moveTo>
              <a:lnTo>
                <a:pt x="141542" y="0"/>
              </a:lnTo>
              <a:lnTo>
                <a:pt x="141542" y="912947"/>
              </a:lnTo>
              <a:lnTo>
                <a:pt x="283084" y="91294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7BD919E-47EC-450F-A587-C259C150CD11}">
      <dsp:nvSpPr>
        <dsp:cNvPr id="0" name=""/>
        <dsp:cNvSpPr/>
      </dsp:nvSpPr>
      <dsp:spPr>
        <a:xfrm>
          <a:off x="1415423" y="2115918"/>
          <a:ext cx="283084" cy="304315"/>
        </a:xfrm>
        <a:custGeom>
          <a:avLst/>
          <a:gdLst/>
          <a:ahLst/>
          <a:cxnLst/>
          <a:rect l="0" t="0" r="0" b="0"/>
          <a:pathLst>
            <a:path>
              <a:moveTo>
                <a:pt x="0" y="0"/>
              </a:moveTo>
              <a:lnTo>
                <a:pt x="141542" y="0"/>
              </a:lnTo>
              <a:lnTo>
                <a:pt x="141542" y="304315"/>
              </a:lnTo>
              <a:lnTo>
                <a:pt x="283084" y="30431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2208BE-F468-4D92-91D9-C7A5020A5858}">
      <dsp:nvSpPr>
        <dsp:cNvPr id="0" name=""/>
        <dsp:cNvSpPr/>
      </dsp:nvSpPr>
      <dsp:spPr>
        <a:xfrm>
          <a:off x="1415423" y="1811602"/>
          <a:ext cx="283084" cy="304315"/>
        </a:xfrm>
        <a:custGeom>
          <a:avLst/>
          <a:gdLst/>
          <a:ahLst/>
          <a:cxnLst/>
          <a:rect l="0" t="0" r="0" b="0"/>
          <a:pathLst>
            <a:path>
              <a:moveTo>
                <a:pt x="0" y="304315"/>
              </a:moveTo>
              <a:lnTo>
                <a:pt x="141542" y="304315"/>
              </a:lnTo>
              <a:lnTo>
                <a:pt x="141542" y="0"/>
              </a:lnTo>
              <a:lnTo>
                <a:pt x="283084"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5E9805B-8734-43E5-87A9-3E4EDE6400A1}">
      <dsp:nvSpPr>
        <dsp:cNvPr id="0" name=""/>
        <dsp:cNvSpPr/>
      </dsp:nvSpPr>
      <dsp:spPr>
        <a:xfrm>
          <a:off x="1415423" y="1202970"/>
          <a:ext cx="283084" cy="912947"/>
        </a:xfrm>
        <a:custGeom>
          <a:avLst/>
          <a:gdLst/>
          <a:ahLst/>
          <a:cxnLst/>
          <a:rect l="0" t="0" r="0" b="0"/>
          <a:pathLst>
            <a:path>
              <a:moveTo>
                <a:pt x="0" y="912947"/>
              </a:moveTo>
              <a:lnTo>
                <a:pt x="141542" y="912947"/>
              </a:lnTo>
              <a:lnTo>
                <a:pt x="141542" y="0"/>
              </a:lnTo>
              <a:lnTo>
                <a:pt x="283084"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243952B-3833-4F9A-A71B-0A59EE8FED19}">
      <dsp:nvSpPr>
        <dsp:cNvPr id="0" name=""/>
        <dsp:cNvSpPr/>
      </dsp:nvSpPr>
      <dsp:spPr>
        <a:xfrm>
          <a:off x="0" y="1900065"/>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Landfills</a:t>
          </a:r>
        </a:p>
      </dsp:txBody>
      <dsp:txXfrm>
        <a:off x="0" y="1900065"/>
        <a:ext cx="1415423" cy="431704"/>
      </dsp:txXfrm>
    </dsp:sp>
    <dsp:sp modelId="{F6C5896B-E465-4949-89C8-FE4B715A7AA6}">
      <dsp:nvSpPr>
        <dsp:cNvPr id="0" name=""/>
        <dsp:cNvSpPr/>
      </dsp:nvSpPr>
      <dsp:spPr>
        <a:xfrm>
          <a:off x="1698508" y="987117"/>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Ash Monofill</a:t>
          </a:r>
        </a:p>
      </dsp:txBody>
      <dsp:txXfrm>
        <a:off x="1698508" y="987117"/>
        <a:ext cx="1415423" cy="431704"/>
      </dsp:txXfrm>
    </dsp:sp>
    <dsp:sp modelId="{5F10370A-A9DD-44D6-A47F-F058C24F9C2F}">
      <dsp:nvSpPr>
        <dsp:cNvPr id="0" name=""/>
        <dsp:cNvSpPr/>
      </dsp:nvSpPr>
      <dsp:spPr>
        <a:xfrm>
          <a:off x="1698508" y="1595749"/>
          <a:ext cx="1415423" cy="431704"/>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solidFill>
                <a:schemeClr val="bg1"/>
              </a:solidFill>
            </a:rPr>
            <a:t>Class I</a:t>
          </a:r>
        </a:p>
      </dsp:txBody>
      <dsp:txXfrm>
        <a:off x="1698508" y="1595749"/>
        <a:ext cx="1415423" cy="431704"/>
      </dsp:txXfrm>
    </dsp:sp>
    <dsp:sp modelId="{69E3A919-74FB-480D-BB89-D9BE39E399E7}">
      <dsp:nvSpPr>
        <dsp:cNvPr id="0" name=""/>
        <dsp:cNvSpPr/>
      </dsp:nvSpPr>
      <dsp:spPr>
        <a:xfrm>
          <a:off x="1698508" y="2204381"/>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Class III</a:t>
          </a:r>
        </a:p>
      </dsp:txBody>
      <dsp:txXfrm>
        <a:off x="1698508" y="2204381"/>
        <a:ext cx="1415423" cy="431704"/>
      </dsp:txXfrm>
    </dsp:sp>
    <dsp:sp modelId="{B3171B48-87B5-412F-8372-E3F8BFD01636}">
      <dsp:nvSpPr>
        <dsp:cNvPr id="0" name=""/>
        <dsp:cNvSpPr/>
      </dsp:nvSpPr>
      <dsp:spPr>
        <a:xfrm>
          <a:off x="1698508" y="2813013"/>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CDD</a:t>
          </a:r>
        </a:p>
      </dsp:txBody>
      <dsp:txXfrm>
        <a:off x="1698508" y="2813013"/>
        <a:ext cx="1415423" cy="431704"/>
      </dsp:txXfrm>
    </dsp:sp>
    <dsp:sp modelId="{8F43BE6E-166A-4736-B495-0F0C5F9C5A94}">
      <dsp:nvSpPr>
        <dsp:cNvPr id="0" name=""/>
        <dsp:cNvSpPr/>
      </dsp:nvSpPr>
      <dsp:spPr>
        <a:xfrm>
          <a:off x="0" y="3421645"/>
          <a:ext cx="3116974" cy="431704"/>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solidFill>
                <a:schemeClr val="bg1"/>
              </a:solidFill>
            </a:rPr>
            <a:t>Waste-to-Energy</a:t>
          </a:r>
        </a:p>
      </dsp:txBody>
      <dsp:txXfrm>
        <a:off x="0" y="3421645"/>
        <a:ext cx="3116974" cy="431704"/>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D80550-4753-414D-9E2C-29E87CC202F1}">
      <dsp:nvSpPr>
        <dsp:cNvPr id="0" name=""/>
        <dsp:cNvSpPr/>
      </dsp:nvSpPr>
      <dsp:spPr>
        <a:xfrm>
          <a:off x="2081347" y="2146816"/>
          <a:ext cx="255533" cy="712295"/>
        </a:xfrm>
        <a:custGeom>
          <a:avLst/>
          <a:gdLst/>
          <a:ahLst/>
          <a:cxnLst/>
          <a:rect l="0" t="0" r="0" b="0"/>
          <a:pathLst>
            <a:path>
              <a:moveTo>
                <a:pt x="0" y="0"/>
              </a:moveTo>
              <a:lnTo>
                <a:pt x="127766" y="0"/>
              </a:lnTo>
              <a:lnTo>
                <a:pt x="127766" y="712295"/>
              </a:lnTo>
              <a:lnTo>
                <a:pt x="255533" y="71229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E1287EB-C0CC-4C9B-8503-F8372D7BE22A}">
      <dsp:nvSpPr>
        <dsp:cNvPr id="0" name=""/>
        <dsp:cNvSpPr/>
      </dsp:nvSpPr>
      <dsp:spPr>
        <a:xfrm>
          <a:off x="2081347" y="2101096"/>
          <a:ext cx="255533" cy="91440"/>
        </a:xfrm>
        <a:custGeom>
          <a:avLst/>
          <a:gdLst/>
          <a:ahLst/>
          <a:cxnLst/>
          <a:rect l="0" t="0" r="0" b="0"/>
          <a:pathLst>
            <a:path>
              <a:moveTo>
                <a:pt x="0" y="45720"/>
              </a:moveTo>
              <a:lnTo>
                <a:pt x="127766" y="45720"/>
              </a:lnTo>
              <a:lnTo>
                <a:pt x="127766" y="105747"/>
              </a:lnTo>
              <a:lnTo>
                <a:pt x="255533" y="10574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C8331C7-B13D-4AF7-A323-1B1603B58B0E}">
      <dsp:nvSpPr>
        <dsp:cNvPr id="0" name=""/>
        <dsp:cNvSpPr/>
      </dsp:nvSpPr>
      <dsp:spPr>
        <a:xfrm>
          <a:off x="2081347" y="1494549"/>
          <a:ext cx="255533" cy="652267"/>
        </a:xfrm>
        <a:custGeom>
          <a:avLst/>
          <a:gdLst/>
          <a:ahLst/>
          <a:cxnLst/>
          <a:rect l="0" t="0" r="0" b="0"/>
          <a:pathLst>
            <a:path>
              <a:moveTo>
                <a:pt x="0" y="652267"/>
              </a:moveTo>
              <a:lnTo>
                <a:pt x="127766" y="652267"/>
              </a:lnTo>
              <a:lnTo>
                <a:pt x="127766" y="0"/>
              </a:lnTo>
              <a:lnTo>
                <a:pt x="255533"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8DFF0E-9219-4A5D-9DC2-F45043BFED9C}">
      <dsp:nvSpPr>
        <dsp:cNvPr id="0" name=""/>
        <dsp:cNvSpPr/>
      </dsp:nvSpPr>
      <dsp:spPr>
        <a:xfrm>
          <a:off x="2079967" y="507555"/>
          <a:ext cx="256913" cy="274698"/>
        </a:xfrm>
        <a:custGeom>
          <a:avLst/>
          <a:gdLst/>
          <a:ahLst/>
          <a:cxnLst/>
          <a:rect l="0" t="0" r="0" b="0"/>
          <a:pathLst>
            <a:path>
              <a:moveTo>
                <a:pt x="0" y="0"/>
              </a:moveTo>
              <a:lnTo>
                <a:pt x="129146" y="0"/>
              </a:lnTo>
              <a:lnTo>
                <a:pt x="129146" y="274698"/>
              </a:lnTo>
              <a:lnTo>
                <a:pt x="256913" y="27469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5E9805B-8734-43E5-87A9-3E4EDE6400A1}">
      <dsp:nvSpPr>
        <dsp:cNvPr id="0" name=""/>
        <dsp:cNvSpPr/>
      </dsp:nvSpPr>
      <dsp:spPr>
        <a:xfrm>
          <a:off x="2079967" y="232856"/>
          <a:ext cx="256913" cy="274698"/>
        </a:xfrm>
        <a:custGeom>
          <a:avLst/>
          <a:gdLst/>
          <a:ahLst/>
          <a:cxnLst/>
          <a:rect l="0" t="0" r="0" b="0"/>
          <a:pathLst>
            <a:path>
              <a:moveTo>
                <a:pt x="0" y="274698"/>
              </a:moveTo>
              <a:lnTo>
                <a:pt x="129146" y="274698"/>
              </a:lnTo>
              <a:lnTo>
                <a:pt x="129146" y="0"/>
              </a:lnTo>
              <a:lnTo>
                <a:pt x="256913"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243952B-3833-4F9A-A71B-0A59EE8FED19}">
      <dsp:nvSpPr>
        <dsp:cNvPr id="0" name=""/>
        <dsp:cNvSpPr/>
      </dsp:nvSpPr>
      <dsp:spPr>
        <a:xfrm>
          <a:off x="802299" y="312711"/>
          <a:ext cx="1277668" cy="389688"/>
        </a:xfrm>
        <a:prstGeom prst="rect">
          <a:avLst/>
        </a:prstGeom>
        <a:solidFill>
          <a:srgbClr val="FDF69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Recycling</a:t>
          </a:r>
        </a:p>
      </dsp:txBody>
      <dsp:txXfrm>
        <a:off x="802299" y="312711"/>
        <a:ext cx="1277668" cy="389688"/>
      </dsp:txXfrm>
    </dsp:sp>
    <dsp:sp modelId="{F6C5896B-E465-4949-89C8-FE4B715A7AA6}">
      <dsp:nvSpPr>
        <dsp:cNvPr id="0" name=""/>
        <dsp:cNvSpPr/>
      </dsp:nvSpPr>
      <dsp:spPr>
        <a:xfrm>
          <a:off x="2336881" y="38012"/>
          <a:ext cx="1277668" cy="389688"/>
        </a:xfrm>
        <a:prstGeom prst="rect">
          <a:avLst/>
        </a:prstGeom>
        <a:solidFill>
          <a:srgbClr val="FDF69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solidFill>
                <a:schemeClr val="tx1"/>
              </a:solidFill>
            </a:rPr>
            <a:t>Class I</a:t>
          </a:r>
        </a:p>
      </dsp:txBody>
      <dsp:txXfrm>
        <a:off x="2336881" y="38012"/>
        <a:ext cx="1277668" cy="389688"/>
      </dsp:txXfrm>
    </dsp:sp>
    <dsp:sp modelId="{7912A520-6302-4FA0-B726-5F1C79158053}">
      <dsp:nvSpPr>
        <dsp:cNvPr id="0" name=""/>
        <dsp:cNvSpPr/>
      </dsp:nvSpPr>
      <dsp:spPr>
        <a:xfrm>
          <a:off x="2336881" y="587409"/>
          <a:ext cx="1277668"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Class III/CDD</a:t>
          </a:r>
        </a:p>
      </dsp:txBody>
      <dsp:txXfrm>
        <a:off x="2336881" y="587409"/>
        <a:ext cx="1277668" cy="389688"/>
      </dsp:txXfrm>
    </dsp:sp>
    <dsp:sp modelId="{8F43BE6E-166A-4736-B495-0F0C5F9C5A94}">
      <dsp:nvSpPr>
        <dsp:cNvPr id="0" name=""/>
        <dsp:cNvSpPr/>
      </dsp:nvSpPr>
      <dsp:spPr>
        <a:xfrm>
          <a:off x="803679" y="1769327"/>
          <a:ext cx="1277668" cy="754979"/>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Organics Processing</a:t>
          </a:r>
        </a:p>
      </dsp:txBody>
      <dsp:txXfrm>
        <a:off x="803679" y="1769327"/>
        <a:ext cx="1277668" cy="754979"/>
      </dsp:txXfrm>
    </dsp:sp>
    <dsp:sp modelId="{B633B50C-55B7-4080-8A5D-DD9EE7F65740}">
      <dsp:nvSpPr>
        <dsp:cNvPr id="0" name=""/>
        <dsp:cNvSpPr/>
      </dsp:nvSpPr>
      <dsp:spPr>
        <a:xfrm>
          <a:off x="2336881" y="1136807"/>
          <a:ext cx="1277668" cy="715484"/>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Food Waste &amp; Manure</a:t>
          </a:r>
        </a:p>
      </dsp:txBody>
      <dsp:txXfrm>
        <a:off x="2336881" y="1136807"/>
        <a:ext cx="1277668" cy="715484"/>
      </dsp:txXfrm>
    </dsp:sp>
    <dsp:sp modelId="{F8970BD3-839A-4C82-84BD-B0A41A6A9807}">
      <dsp:nvSpPr>
        <dsp:cNvPr id="0" name=""/>
        <dsp:cNvSpPr/>
      </dsp:nvSpPr>
      <dsp:spPr>
        <a:xfrm>
          <a:off x="2336881" y="2012000"/>
          <a:ext cx="1277668"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Yard Trash</a:t>
          </a:r>
        </a:p>
      </dsp:txBody>
      <dsp:txXfrm>
        <a:off x="2336881" y="2012000"/>
        <a:ext cx="1277668" cy="389688"/>
      </dsp:txXfrm>
    </dsp:sp>
    <dsp:sp modelId="{C517AAD2-5580-C644-8C97-234B421E295B}">
      <dsp:nvSpPr>
        <dsp:cNvPr id="0" name=""/>
        <dsp:cNvSpPr/>
      </dsp:nvSpPr>
      <dsp:spPr>
        <a:xfrm>
          <a:off x="2336881" y="2523882"/>
          <a:ext cx="1277668" cy="670459"/>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Anaerobic Digestion</a:t>
          </a:r>
        </a:p>
      </dsp:txBody>
      <dsp:txXfrm>
        <a:off x="2336881" y="2523882"/>
        <a:ext cx="1277668" cy="670459"/>
      </dsp:txXfrm>
    </dsp:sp>
    <dsp:sp modelId="{3EA02441-E62E-C24E-A4DF-460F53CDBD20}">
      <dsp:nvSpPr>
        <dsp:cNvPr id="0" name=""/>
        <dsp:cNvSpPr/>
      </dsp:nvSpPr>
      <dsp:spPr>
        <a:xfrm>
          <a:off x="803679" y="3354050"/>
          <a:ext cx="2813617"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Used Oil Processing</a:t>
          </a:r>
        </a:p>
      </dsp:txBody>
      <dsp:txXfrm>
        <a:off x="803679" y="3354050"/>
        <a:ext cx="2813617" cy="389688"/>
      </dsp:txXfrm>
    </dsp:sp>
    <dsp:sp modelId="{A0471F14-CFB3-8449-8997-79C53AE48F72}">
      <dsp:nvSpPr>
        <dsp:cNvPr id="0" name=""/>
        <dsp:cNvSpPr/>
      </dsp:nvSpPr>
      <dsp:spPr>
        <a:xfrm>
          <a:off x="803679" y="3903448"/>
          <a:ext cx="2813617"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HHW</a:t>
          </a:r>
        </a:p>
      </dsp:txBody>
      <dsp:txXfrm>
        <a:off x="803679" y="3903448"/>
        <a:ext cx="2813617" cy="38968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D80550-4753-414D-9E2C-29E87CC202F1}">
      <dsp:nvSpPr>
        <dsp:cNvPr id="0" name=""/>
        <dsp:cNvSpPr/>
      </dsp:nvSpPr>
      <dsp:spPr>
        <a:xfrm>
          <a:off x="2081347" y="2146816"/>
          <a:ext cx="255533" cy="712295"/>
        </a:xfrm>
        <a:custGeom>
          <a:avLst/>
          <a:gdLst/>
          <a:ahLst/>
          <a:cxnLst/>
          <a:rect l="0" t="0" r="0" b="0"/>
          <a:pathLst>
            <a:path>
              <a:moveTo>
                <a:pt x="0" y="0"/>
              </a:moveTo>
              <a:lnTo>
                <a:pt x="127766" y="0"/>
              </a:lnTo>
              <a:lnTo>
                <a:pt x="127766" y="712295"/>
              </a:lnTo>
              <a:lnTo>
                <a:pt x="255533" y="71229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E1287EB-C0CC-4C9B-8503-F8372D7BE22A}">
      <dsp:nvSpPr>
        <dsp:cNvPr id="0" name=""/>
        <dsp:cNvSpPr/>
      </dsp:nvSpPr>
      <dsp:spPr>
        <a:xfrm>
          <a:off x="2081347" y="2101096"/>
          <a:ext cx="255533" cy="91440"/>
        </a:xfrm>
        <a:custGeom>
          <a:avLst/>
          <a:gdLst/>
          <a:ahLst/>
          <a:cxnLst/>
          <a:rect l="0" t="0" r="0" b="0"/>
          <a:pathLst>
            <a:path>
              <a:moveTo>
                <a:pt x="0" y="45720"/>
              </a:moveTo>
              <a:lnTo>
                <a:pt x="127766" y="45720"/>
              </a:lnTo>
              <a:lnTo>
                <a:pt x="127766" y="105747"/>
              </a:lnTo>
              <a:lnTo>
                <a:pt x="255533" y="10574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C8331C7-B13D-4AF7-A323-1B1603B58B0E}">
      <dsp:nvSpPr>
        <dsp:cNvPr id="0" name=""/>
        <dsp:cNvSpPr/>
      </dsp:nvSpPr>
      <dsp:spPr>
        <a:xfrm>
          <a:off x="2081347" y="1494549"/>
          <a:ext cx="255533" cy="652267"/>
        </a:xfrm>
        <a:custGeom>
          <a:avLst/>
          <a:gdLst/>
          <a:ahLst/>
          <a:cxnLst/>
          <a:rect l="0" t="0" r="0" b="0"/>
          <a:pathLst>
            <a:path>
              <a:moveTo>
                <a:pt x="0" y="652267"/>
              </a:moveTo>
              <a:lnTo>
                <a:pt x="127766" y="652267"/>
              </a:lnTo>
              <a:lnTo>
                <a:pt x="127766" y="0"/>
              </a:lnTo>
              <a:lnTo>
                <a:pt x="255533"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8DFF0E-9219-4A5D-9DC2-F45043BFED9C}">
      <dsp:nvSpPr>
        <dsp:cNvPr id="0" name=""/>
        <dsp:cNvSpPr/>
      </dsp:nvSpPr>
      <dsp:spPr>
        <a:xfrm>
          <a:off x="2079967" y="507555"/>
          <a:ext cx="256913" cy="274698"/>
        </a:xfrm>
        <a:custGeom>
          <a:avLst/>
          <a:gdLst/>
          <a:ahLst/>
          <a:cxnLst/>
          <a:rect l="0" t="0" r="0" b="0"/>
          <a:pathLst>
            <a:path>
              <a:moveTo>
                <a:pt x="0" y="0"/>
              </a:moveTo>
              <a:lnTo>
                <a:pt x="129146" y="0"/>
              </a:lnTo>
              <a:lnTo>
                <a:pt x="129146" y="274698"/>
              </a:lnTo>
              <a:lnTo>
                <a:pt x="256913" y="27469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5E9805B-8734-43E5-87A9-3E4EDE6400A1}">
      <dsp:nvSpPr>
        <dsp:cNvPr id="0" name=""/>
        <dsp:cNvSpPr/>
      </dsp:nvSpPr>
      <dsp:spPr>
        <a:xfrm>
          <a:off x="2079967" y="232856"/>
          <a:ext cx="256913" cy="274698"/>
        </a:xfrm>
        <a:custGeom>
          <a:avLst/>
          <a:gdLst/>
          <a:ahLst/>
          <a:cxnLst/>
          <a:rect l="0" t="0" r="0" b="0"/>
          <a:pathLst>
            <a:path>
              <a:moveTo>
                <a:pt x="0" y="274698"/>
              </a:moveTo>
              <a:lnTo>
                <a:pt x="129146" y="274698"/>
              </a:lnTo>
              <a:lnTo>
                <a:pt x="129146" y="0"/>
              </a:lnTo>
              <a:lnTo>
                <a:pt x="256913"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243952B-3833-4F9A-A71B-0A59EE8FED19}">
      <dsp:nvSpPr>
        <dsp:cNvPr id="0" name=""/>
        <dsp:cNvSpPr/>
      </dsp:nvSpPr>
      <dsp:spPr>
        <a:xfrm>
          <a:off x="802299" y="312711"/>
          <a:ext cx="1277668"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Recycling</a:t>
          </a:r>
        </a:p>
      </dsp:txBody>
      <dsp:txXfrm>
        <a:off x="802299" y="312711"/>
        <a:ext cx="1277668" cy="389688"/>
      </dsp:txXfrm>
    </dsp:sp>
    <dsp:sp modelId="{F6C5896B-E465-4949-89C8-FE4B715A7AA6}">
      <dsp:nvSpPr>
        <dsp:cNvPr id="0" name=""/>
        <dsp:cNvSpPr/>
      </dsp:nvSpPr>
      <dsp:spPr>
        <a:xfrm>
          <a:off x="2336881" y="38012"/>
          <a:ext cx="1277668"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Class I</a:t>
          </a:r>
        </a:p>
      </dsp:txBody>
      <dsp:txXfrm>
        <a:off x="2336881" y="38012"/>
        <a:ext cx="1277668" cy="389688"/>
      </dsp:txXfrm>
    </dsp:sp>
    <dsp:sp modelId="{7912A520-6302-4FA0-B726-5F1C79158053}">
      <dsp:nvSpPr>
        <dsp:cNvPr id="0" name=""/>
        <dsp:cNvSpPr/>
      </dsp:nvSpPr>
      <dsp:spPr>
        <a:xfrm>
          <a:off x="2336881" y="587409"/>
          <a:ext cx="1277668"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Class III/CDD</a:t>
          </a:r>
        </a:p>
      </dsp:txBody>
      <dsp:txXfrm>
        <a:off x="2336881" y="587409"/>
        <a:ext cx="1277668" cy="389688"/>
      </dsp:txXfrm>
    </dsp:sp>
    <dsp:sp modelId="{8F43BE6E-166A-4736-B495-0F0C5F9C5A94}">
      <dsp:nvSpPr>
        <dsp:cNvPr id="0" name=""/>
        <dsp:cNvSpPr/>
      </dsp:nvSpPr>
      <dsp:spPr>
        <a:xfrm>
          <a:off x="803679" y="1769327"/>
          <a:ext cx="1277668" cy="754979"/>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Organics Processing</a:t>
          </a:r>
        </a:p>
      </dsp:txBody>
      <dsp:txXfrm>
        <a:off x="803679" y="1769327"/>
        <a:ext cx="1277668" cy="754979"/>
      </dsp:txXfrm>
    </dsp:sp>
    <dsp:sp modelId="{B633B50C-55B7-4080-8A5D-DD9EE7F65740}">
      <dsp:nvSpPr>
        <dsp:cNvPr id="0" name=""/>
        <dsp:cNvSpPr/>
      </dsp:nvSpPr>
      <dsp:spPr>
        <a:xfrm>
          <a:off x="2336881" y="1136807"/>
          <a:ext cx="1277668" cy="715484"/>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Food Waste &amp; Manure</a:t>
          </a:r>
        </a:p>
      </dsp:txBody>
      <dsp:txXfrm>
        <a:off x="2336881" y="1136807"/>
        <a:ext cx="1277668" cy="715484"/>
      </dsp:txXfrm>
    </dsp:sp>
    <dsp:sp modelId="{F8970BD3-839A-4C82-84BD-B0A41A6A9807}">
      <dsp:nvSpPr>
        <dsp:cNvPr id="0" name=""/>
        <dsp:cNvSpPr/>
      </dsp:nvSpPr>
      <dsp:spPr>
        <a:xfrm>
          <a:off x="2336881" y="2012000"/>
          <a:ext cx="1277668"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Yard Trash</a:t>
          </a:r>
        </a:p>
      </dsp:txBody>
      <dsp:txXfrm>
        <a:off x="2336881" y="2012000"/>
        <a:ext cx="1277668" cy="389688"/>
      </dsp:txXfrm>
    </dsp:sp>
    <dsp:sp modelId="{C517AAD2-5580-C644-8C97-234B421E295B}">
      <dsp:nvSpPr>
        <dsp:cNvPr id="0" name=""/>
        <dsp:cNvSpPr/>
      </dsp:nvSpPr>
      <dsp:spPr>
        <a:xfrm>
          <a:off x="2336881" y="2523882"/>
          <a:ext cx="1277668" cy="670459"/>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Anaerobic Digestion</a:t>
          </a:r>
        </a:p>
      </dsp:txBody>
      <dsp:txXfrm>
        <a:off x="2336881" y="2523882"/>
        <a:ext cx="1277668" cy="670459"/>
      </dsp:txXfrm>
    </dsp:sp>
    <dsp:sp modelId="{3EA02441-E62E-C24E-A4DF-460F53CDBD20}">
      <dsp:nvSpPr>
        <dsp:cNvPr id="0" name=""/>
        <dsp:cNvSpPr/>
      </dsp:nvSpPr>
      <dsp:spPr>
        <a:xfrm>
          <a:off x="803679" y="3354050"/>
          <a:ext cx="2813617"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Used Oil Processing</a:t>
          </a:r>
        </a:p>
      </dsp:txBody>
      <dsp:txXfrm>
        <a:off x="803679" y="3354050"/>
        <a:ext cx="2813617" cy="389688"/>
      </dsp:txXfrm>
    </dsp:sp>
    <dsp:sp modelId="{A0471F14-CFB3-8449-8997-79C53AE48F72}">
      <dsp:nvSpPr>
        <dsp:cNvPr id="0" name=""/>
        <dsp:cNvSpPr/>
      </dsp:nvSpPr>
      <dsp:spPr>
        <a:xfrm>
          <a:off x="803679" y="3903448"/>
          <a:ext cx="2813617"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HHW</a:t>
          </a:r>
        </a:p>
      </dsp:txBody>
      <dsp:txXfrm>
        <a:off x="803679" y="3903448"/>
        <a:ext cx="2813617" cy="38968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D80550-4753-414D-9E2C-29E87CC202F1}">
      <dsp:nvSpPr>
        <dsp:cNvPr id="0" name=""/>
        <dsp:cNvSpPr/>
      </dsp:nvSpPr>
      <dsp:spPr>
        <a:xfrm>
          <a:off x="2081347" y="2146816"/>
          <a:ext cx="255533" cy="712295"/>
        </a:xfrm>
        <a:custGeom>
          <a:avLst/>
          <a:gdLst/>
          <a:ahLst/>
          <a:cxnLst/>
          <a:rect l="0" t="0" r="0" b="0"/>
          <a:pathLst>
            <a:path>
              <a:moveTo>
                <a:pt x="0" y="0"/>
              </a:moveTo>
              <a:lnTo>
                <a:pt x="127766" y="0"/>
              </a:lnTo>
              <a:lnTo>
                <a:pt x="127766" y="712295"/>
              </a:lnTo>
              <a:lnTo>
                <a:pt x="255533" y="71229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E1287EB-C0CC-4C9B-8503-F8372D7BE22A}">
      <dsp:nvSpPr>
        <dsp:cNvPr id="0" name=""/>
        <dsp:cNvSpPr/>
      </dsp:nvSpPr>
      <dsp:spPr>
        <a:xfrm>
          <a:off x="2081347" y="2101096"/>
          <a:ext cx="255533" cy="91440"/>
        </a:xfrm>
        <a:custGeom>
          <a:avLst/>
          <a:gdLst/>
          <a:ahLst/>
          <a:cxnLst/>
          <a:rect l="0" t="0" r="0" b="0"/>
          <a:pathLst>
            <a:path>
              <a:moveTo>
                <a:pt x="0" y="45720"/>
              </a:moveTo>
              <a:lnTo>
                <a:pt x="127766" y="45720"/>
              </a:lnTo>
              <a:lnTo>
                <a:pt x="127766" y="105747"/>
              </a:lnTo>
              <a:lnTo>
                <a:pt x="255533" y="10574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C8331C7-B13D-4AF7-A323-1B1603B58B0E}">
      <dsp:nvSpPr>
        <dsp:cNvPr id="0" name=""/>
        <dsp:cNvSpPr/>
      </dsp:nvSpPr>
      <dsp:spPr>
        <a:xfrm>
          <a:off x="2081347" y="1494549"/>
          <a:ext cx="255533" cy="652267"/>
        </a:xfrm>
        <a:custGeom>
          <a:avLst/>
          <a:gdLst/>
          <a:ahLst/>
          <a:cxnLst/>
          <a:rect l="0" t="0" r="0" b="0"/>
          <a:pathLst>
            <a:path>
              <a:moveTo>
                <a:pt x="0" y="652267"/>
              </a:moveTo>
              <a:lnTo>
                <a:pt x="127766" y="652267"/>
              </a:lnTo>
              <a:lnTo>
                <a:pt x="127766" y="0"/>
              </a:lnTo>
              <a:lnTo>
                <a:pt x="255533"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8DFF0E-9219-4A5D-9DC2-F45043BFED9C}">
      <dsp:nvSpPr>
        <dsp:cNvPr id="0" name=""/>
        <dsp:cNvSpPr/>
      </dsp:nvSpPr>
      <dsp:spPr>
        <a:xfrm>
          <a:off x="2079967" y="507555"/>
          <a:ext cx="256913" cy="274698"/>
        </a:xfrm>
        <a:custGeom>
          <a:avLst/>
          <a:gdLst/>
          <a:ahLst/>
          <a:cxnLst/>
          <a:rect l="0" t="0" r="0" b="0"/>
          <a:pathLst>
            <a:path>
              <a:moveTo>
                <a:pt x="0" y="0"/>
              </a:moveTo>
              <a:lnTo>
                <a:pt x="129146" y="0"/>
              </a:lnTo>
              <a:lnTo>
                <a:pt x="129146" y="274698"/>
              </a:lnTo>
              <a:lnTo>
                <a:pt x="256913" y="27469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5E9805B-8734-43E5-87A9-3E4EDE6400A1}">
      <dsp:nvSpPr>
        <dsp:cNvPr id="0" name=""/>
        <dsp:cNvSpPr/>
      </dsp:nvSpPr>
      <dsp:spPr>
        <a:xfrm>
          <a:off x="2079967" y="232856"/>
          <a:ext cx="256913" cy="274698"/>
        </a:xfrm>
        <a:custGeom>
          <a:avLst/>
          <a:gdLst/>
          <a:ahLst/>
          <a:cxnLst/>
          <a:rect l="0" t="0" r="0" b="0"/>
          <a:pathLst>
            <a:path>
              <a:moveTo>
                <a:pt x="0" y="274698"/>
              </a:moveTo>
              <a:lnTo>
                <a:pt x="129146" y="274698"/>
              </a:lnTo>
              <a:lnTo>
                <a:pt x="129146" y="0"/>
              </a:lnTo>
              <a:lnTo>
                <a:pt x="256913"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243952B-3833-4F9A-A71B-0A59EE8FED19}">
      <dsp:nvSpPr>
        <dsp:cNvPr id="0" name=""/>
        <dsp:cNvSpPr/>
      </dsp:nvSpPr>
      <dsp:spPr>
        <a:xfrm>
          <a:off x="802299" y="312711"/>
          <a:ext cx="1277668"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Recycling</a:t>
          </a:r>
        </a:p>
      </dsp:txBody>
      <dsp:txXfrm>
        <a:off x="802299" y="312711"/>
        <a:ext cx="1277668" cy="389688"/>
      </dsp:txXfrm>
    </dsp:sp>
    <dsp:sp modelId="{F6C5896B-E465-4949-89C8-FE4B715A7AA6}">
      <dsp:nvSpPr>
        <dsp:cNvPr id="0" name=""/>
        <dsp:cNvSpPr/>
      </dsp:nvSpPr>
      <dsp:spPr>
        <a:xfrm>
          <a:off x="2336881" y="38012"/>
          <a:ext cx="1277668"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Class I</a:t>
          </a:r>
        </a:p>
      </dsp:txBody>
      <dsp:txXfrm>
        <a:off x="2336881" y="38012"/>
        <a:ext cx="1277668" cy="389688"/>
      </dsp:txXfrm>
    </dsp:sp>
    <dsp:sp modelId="{7912A520-6302-4FA0-B726-5F1C79158053}">
      <dsp:nvSpPr>
        <dsp:cNvPr id="0" name=""/>
        <dsp:cNvSpPr/>
      </dsp:nvSpPr>
      <dsp:spPr>
        <a:xfrm>
          <a:off x="2336881" y="587409"/>
          <a:ext cx="1277668"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Class III/CDD</a:t>
          </a:r>
        </a:p>
      </dsp:txBody>
      <dsp:txXfrm>
        <a:off x="2336881" y="587409"/>
        <a:ext cx="1277668" cy="389688"/>
      </dsp:txXfrm>
    </dsp:sp>
    <dsp:sp modelId="{8F43BE6E-166A-4736-B495-0F0C5F9C5A94}">
      <dsp:nvSpPr>
        <dsp:cNvPr id="0" name=""/>
        <dsp:cNvSpPr/>
      </dsp:nvSpPr>
      <dsp:spPr>
        <a:xfrm>
          <a:off x="803679" y="1769327"/>
          <a:ext cx="1277668" cy="754979"/>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Organics Processing</a:t>
          </a:r>
        </a:p>
      </dsp:txBody>
      <dsp:txXfrm>
        <a:off x="803679" y="1769327"/>
        <a:ext cx="1277668" cy="754979"/>
      </dsp:txXfrm>
    </dsp:sp>
    <dsp:sp modelId="{B633B50C-55B7-4080-8A5D-DD9EE7F65740}">
      <dsp:nvSpPr>
        <dsp:cNvPr id="0" name=""/>
        <dsp:cNvSpPr/>
      </dsp:nvSpPr>
      <dsp:spPr>
        <a:xfrm>
          <a:off x="2336881" y="1136807"/>
          <a:ext cx="1277668" cy="715484"/>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Food Waste &amp; Manure</a:t>
          </a:r>
        </a:p>
      </dsp:txBody>
      <dsp:txXfrm>
        <a:off x="2336881" y="1136807"/>
        <a:ext cx="1277668" cy="715484"/>
      </dsp:txXfrm>
    </dsp:sp>
    <dsp:sp modelId="{F8970BD3-839A-4C82-84BD-B0A41A6A9807}">
      <dsp:nvSpPr>
        <dsp:cNvPr id="0" name=""/>
        <dsp:cNvSpPr/>
      </dsp:nvSpPr>
      <dsp:spPr>
        <a:xfrm>
          <a:off x="2336881" y="2012000"/>
          <a:ext cx="1277668"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Yard Trash</a:t>
          </a:r>
        </a:p>
      </dsp:txBody>
      <dsp:txXfrm>
        <a:off x="2336881" y="2012000"/>
        <a:ext cx="1277668" cy="389688"/>
      </dsp:txXfrm>
    </dsp:sp>
    <dsp:sp modelId="{C517AAD2-5580-C644-8C97-234B421E295B}">
      <dsp:nvSpPr>
        <dsp:cNvPr id="0" name=""/>
        <dsp:cNvSpPr/>
      </dsp:nvSpPr>
      <dsp:spPr>
        <a:xfrm>
          <a:off x="2336881" y="2523882"/>
          <a:ext cx="1277668" cy="670459"/>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Anaerobic Digestion</a:t>
          </a:r>
        </a:p>
      </dsp:txBody>
      <dsp:txXfrm>
        <a:off x="2336881" y="2523882"/>
        <a:ext cx="1277668" cy="670459"/>
      </dsp:txXfrm>
    </dsp:sp>
    <dsp:sp modelId="{3EA02441-E62E-C24E-A4DF-460F53CDBD20}">
      <dsp:nvSpPr>
        <dsp:cNvPr id="0" name=""/>
        <dsp:cNvSpPr/>
      </dsp:nvSpPr>
      <dsp:spPr>
        <a:xfrm>
          <a:off x="803679" y="3354050"/>
          <a:ext cx="2813617"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Used Oil Processing</a:t>
          </a:r>
        </a:p>
      </dsp:txBody>
      <dsp:txXfrm>
        <a:off x="803679" y="3354050"/>
        <a:ext cx="2813617" cy="389688"/>
      </dsp:txXfrm>
    </dsp:sp>
    <dsp:sp modelId="{A0471F14-CFB3-8449-8997-79C53AE48F72}">
      <dsp:nvSpPr>
        <dsp:cNvPr id="0" name=""/>
        <dsp:cNvSpPr/>
      </dsp:nvSpPr>
      <dsp:spPr>
        <a:xfrm>
          <a:off x="803679" y="3903448"/>
          <a:ext cx="2813617"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HHW</a:t>
          </a:r>
        </a:p>
      </dsp:txBody>
      <dsp:txXfrm>
        <a:off x="803679" y="3903448"/>
        <a:ext cx="2813617" cy="389688"/>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0F7A21-8A71-4319-AC2E-D81074B65CBC}">
      <dsp:nvSpPr>
        <dsp:cNvPr id="0" name=""/>
        <dsp:cNvSpPr/>
      </dsp:nvSpPr>
      <dsp:spPr>
        <a:xfrm>
          <a:off x="1415423" y="2115918"/>
          <a:ext cx="283084" cy="912947"/>
        </a:xfrm>
        <a:custGeom>
          <a:avLst/>
          <a:gdLst/>
          <a:ahLst/>
          <a:cxnLst/>
          <a:rect l="0" t="0" r="0" b="0"/>
          <a:pathLst>
            <a:path>
              <a:moveTo>
                <a:pt x="0" y="0"/>
              </a:moveTo>
              <a:lnTo>
                <a:pt x="141542" y="0"/>
              </a:lnTo>
              <a:lnTo>
                <a:pt x="141542" y="912947"/>
              </a:lnTo>
              <a:lnTo>
                <a:pt x="283084" y="91294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7BD919E-47EC-450F-A587-C259C150CD11}">
      <dsp:nvSpPr>
        <dsp:cNvPr id="0" name=""/>
        <dsp:cNvSpPr/>
      </dsp:nvSpPr>
      <dsp:spPr>
        <a:xfrm>
          <a:off x="1415423" y="2115918"/>
          <a:ext cx="283084" cy="304315"/>
        </a:xfrm>
        <a:custGeom>
          <a:avLst/>
          <a:gdLst/>
          <a:ahLst/>
          <a:cxnLst/>
          <a:rect l="0" t="0" r="0" b="0"/>
          <a:pathLst>
            <a:path>
              <a:moveTo>
                <a:pt x="0" y="0"/>
              </a:moveTo>
              <a:lnTo>
                <a:pt x="141542" y="0"/>
              </a:lnTo>
              <a:lnTo>
                <a:pt x="141542" y="304315"/>
              </a:lnTo>
              <a:lnTo>
                <a:pt x="283084" y="30431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2208BE-F468-4D92-91D9-C7A5020A5858}">
      <dsp:nvSpPr>
        <dsp:cNvPr id="0" name=""/>
        <dsp:cNvSpPr/>
      </dsp:nvSpPr>
      <dsp:spPr>
        <a:xfrm>
          <a:off x="1415423" y="1811602"/>
          <a:ext cx="283084" cy="304315"/>
        </a:xfrm>
        <a:custGeom>
          <a:avLst/>
          <a:gdLst/>
          <a:ahLst/>
          <a:cxnLst/>
          <a:rect l="0" t="0" r="0" b="0"/>
          <a:pathLst>
            <a:path>
              <a:moveTo>
                <a:pt x="0" y="304315"/>
              </a:moveTo>
              <a:lnTo>
                <a:pt x="141542" y="304315"/>
              </a:lnTo>
              <a:lnTo>
                <a:pt x="141542" y="0"/>
              </a:lnTo>
              <a:lnTo>
                <a:pt x="283084"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5E9805B-8734-43E5-87A9-3E4EDE6400A1}">
      <dsp:nvSpPr>
        <dsp:cNvPr id="0" name=""/>
        <dsp:cNvSpPr/>
      </dsp:nvSpPr>
      <dsp:spPr>
        <a:xfrm>
          <a:off x="1415423" y="1202970"/>
          <a:ext cx="283084" cy="912947"/>
        </a:xfrm>
        <a:custGeom>
          <a:avLst/>
          <a:gdLst/>
          <a:ahLst/>
          <a:cxnLst/>
          <a:rect l="0" t="0" r="0" b="0"/>
          <a:pathLst>
            <a:path>
              <a:moveTo>
                <a:pt x="0" y="912947"/>
              </a:moveTo>
              <a:lnTo>
                <a:pt x="141542" y="912947"/>
              </a:lnTo>
              <a:lnTo>
                <a:pt x="141542" y="0"/>
              </a:lnTo>
              <a:lnTo>
                <a:pt x="283084"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243952B-3833-4F9A-A71B-0A59EE8FED19}">
      <dsp:nvSpPr>
        <dsp:cNvPr id="0" name=""/>
        <dsp:cNvSpPr/>
      </dsp:nvSpPr>
      <dsp:spPr>
        <a:xfrm>
          <a:off x="0" y="1900065"/>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Landfills</a:t>
          </a:r>
        </a:p>
      </dsp:txBody>
      <dsp:txXfrm>
        <a:off x="0" y="1900065"/>
        <a:ext cx="1415423" cy="431704"/>
      </dsp:txXfrm>
    </dsp:sp>
    <dsp:sp modelId="{F6C5896B-E465-4949-89C8-FE4B715A7AA6}">
      <dsp:nvSpPr>
        <dsp:cNvPr id="0" name=""/>
        <dsp:cNvSpPr/>
      </dsp:nvSpPr>
      <dsp:spPr>
        <a:xfrm>
          <a:off x="1698508" y="987117"/>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Ash Monofill</a:t>
          </a:r>
        </a:p>
      </dsp:txBody>
      <dsp:txXfrm>
        <a:off x="1698508" y="987117"/>
        <a:ext cx="1415423" cy="431704"/>
      </dsp:txXfrm>
    </dsp:sp>
    <dsp:sp modelId="{5F10370A-A9DD-44D6-A47F-F058C24F9C2F}">
      <dsp:nvSpPr>
        <dsp:cNvPr id="0" name=""/>
        <dsp:cNvSpPr/>
      </dsp:nvSpPr>
      <dsp:spPr>
        <a:xfrm>
          <a:off x="1698508" y="1595749"/>
          <a:ext cx="1415423" cy="431704"/>
        </a:xfrm>
        <a:prstGeom prst="rect">
          <a:avLst/>
        </a:prstGeom>
        <a:solidFill>
          <a:srgbClr val="FDF69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solidFill>
                <a:sysClr val="windowText" lastClr="000000"/>
              </a:solidFill>
            </a:rPr>
            <a:t>Class I</a:t>
          </a:r>
        </a:p>
      </dsp:txBody>
      <dsp:txXfrm>
        <a:off x="1698508" y="1595749"/>
        <a:ext cx="1415423" cy="431704"/>
      </dsp:txXfrm>
    </dsp:sp>
    <dsp:sp modelId="{69E3A919-74FB-480D-BB89-D9BE39E399E7}">
      <dsp:nvSpPr>
        <dsp:cNvPr id="0" name=""/>
        <dsp:cNvSpPr/>
      </dsp:nvSpPr>
      <dsp:spPr>
        <a:xfrm>
          <a:off x="1698508" y="2204381"/>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Class III</a:t>
          </a:r>
        </a:p>
      </dsp:txBody>
      <dsp:txXfrm>
        <a:off x="1698508" y="2204381"/>
        <a:ext cx="1415423" cy="431704"/>
      </dsp:txXfrm>
    </dsp:sp>
    <dsp:sp modelId="{B3171B48-87B5-412F-8372-E3F8BFD01636}">
      <dsp:nvSpPr>
        <dsp:cNvPr id="0" name=""/>
        <dsp:cNvSpPr/>
      </dsp:nvSpPr>
      <dsp:spPr>
        <a:xfrm>
          <a:off x="1698508" y="2813013"/>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CDD</a:t>
          </a:r>
        </a:p>
      </dsp:txBody>
      <dsp:txXfrm>
        <a:off x="1698508" y="2813013"/>
        <a:ext cx="1415423" cy="431704"/>
      </dsp:txXfrm>
    </dsp:sp>
    <dsp:sp modelId="{8F43BE6E-166A-4736-B495-0F0C5F9C5A94}">
      <dsp:nvSpPr>
        <dsp:cNvPr id="0" name=""/>
        <dsp:cNvSpPr/>
      </dsp:nvSpPr>
      <dsp:spPr>
        <a:xfrm>
          <a:off x="0" y="3421645"/>
          <a:ext cx="3116974"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Waste-to-Energy</a:t>
          </a:r>
        </a:p>
      </dsp:txBody>
      <dsp:txXfrm>
        <a:off x="0" y="3421645"/>
        <a:ext cx="3116974" cy="43170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0F7A21-8A71-4319-AC2E-D81074B65CBC}">
      <dsp:nvSpPr>
        <dsp:cNvPr id="0" name=""/>
        <dsp:cNvSpPr/>
      </dsp:nvSpPr>
      <dsp:spPr>
        <a:xfrm>
          <a:off x="1415423" y="2115918"/>
          <a:ext cx="283084" cy="912947"/>
        </a:xfrm>
        <a:custGeom>
          <a:avLst/>
          <a:gdLst/>
          <a:ahLst/>
          <a:cxnLst/>
          <a:rect l="0" t="0" r="0" b="0"/>
          <a:pathLst>
            <a:path>
              <a:moveTo>
                <a:pt x="0" y="0"/>
              </a:moveTo>
              <a:lnTo>
                <a:pt x="141542" y="0"/>
              </a:lnTo>
              <a:lnTo>
                <a:pt x="141542" y="912947"/>
              </a:lnTo>
              <a:lnTo>
                <a:pt x="283084" y="91294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7BD919E-47EC-450F-A587-C259C150CD11}">
      <dsp:nvSpPr>
        <dsp:cNvPr id="0" name=""/>
        <dsp:cNvSpPr/>
      </dsp:nvSpPr>
      <dsp:spPr>
        <a:xfrm>
          <a:off x="1415423" y="2115918"/>
          <a:ext cx="283084" cy="304315"/>
        </a:xfrm>
        <a:custGeom>
          <a:avLst/>
          <a:gdLst/>
          <a:ahLst/>
          <a:cxnLst/>
          <a:rect l="0" t="0" r="0" b="0"/>
          <a:pathLst>
            <a:path>
              <a:moveTo>
                <a:pt x="0" y="0"/>
              </a:moveTo>
              <a:lnTo>
                <a:pt x="141542" y="0"/>
              </a:lnTo>
              <a:lnTo>
                <a:pt x="141542" y="304315"/>
              </a:lnTo>
              <a:lnTo>
                <a:pt x="283084" y="30431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2208BE-F468-4D92-91D9-C7A5020A5858}">
      <dsp:nvSpPr>
        <dsp:cNvPr id="0" name=""/>
        <dsp:cNvSpPr/>
      </dsp:nvSpPr>
      <dsp:spPr>
        <a:xfrm>
          <a:off x="1415423" y="1811602"/>
          <a:ext cx="283084" cy="304315"/>
        </a:xfrm>
        <a:custGeom>
          <a:avLst/>
          <a:gdLst/>
          <a:ahLst/>
          <a:cxnLst/>
          <a:rect l="0" t="0" r="0" b="0"/>
          <a:pathLst>
            <a:path>
              <a:moveTo>
                <a:pt x="0" y="304315"/>
              </a:moveTo>
              <a:lnTo>
                <a:pt x="141542" y="304315"/>
              </a:lnTo>
              <a:lnTo>
                <a:pt x="141542" y="0"/>
              </a:lnTo>
              <a:lnTo>
                <a:pt x="283084"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5E9805B-8734-43E5-87A9-3E4EDE6400A1}">
      <dsp:nvSpPr>
        <dsp:cNvPr id="0" name=""/>
        <dsp:cNvSpPr/>
      </dsp:nvSpPr>
      <dsp:spPr>
        <a:xfrm>
          <a:off x="1415423" y="1202970"/>
          <a:ext cx="283084" cy="912947"/>
        </a:xfrm>
        <a:custGeom>
          <a:avLst/>
          <a:gdLst/>
          <a:ahLst/>
          <a:cxnLst/>
          <a:rect l="0" t="0" r="0" b="0"/>
          <a:pathLst>
            <a:path>
              <a:moveTo>
                <a:pt x="0" y="912947"/>
              </a:moveTo>
              <a:lnTo>
                <a:pt x="141542" y="912947"/>
              </a:lnTo>
              <a:lnTo>
                <a:pt x="141542" y="0"/>
              </a:lnTo>
              <a:lnTo>
                <a:pt x="283084"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243952B-3833-4F9A-A71B-0A59EE8FED19}">
      <dsp:nvSpPr>
        <dsp:cNvPr id="0" name=""/>
        <dsp:cNvSpPr/>
      </dsp:nvSpPr>
      <dsp:spPr>
        <a:xfrm>
          <a:off x="0" y="1900065"/>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Landfills</a:t>
          </a:r>
        </a:p>
      </dsp:txBody>
      <dsp:txXfrm>
        <a:off x="0" y="1900065"/>
        <a:ext cx="1415423" cy="431704"/>
      </dsp:txXfrm>
    </dsp:sp>
    <dsp:sp modelId="{F6C5896B-E465-4949-89C8-FE4B715A7AA6}">
      <dsp:nvSpPr>
        <dsp:cNvPr id="0" name=""/>
        <dsp:cNvSpPr/>
      </dsp:nvSpPr>
      <dsp:spPr>
        <a:xfrm>
          <a:off x="1698508" y="987117"/>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Ash Monofill</a:t>
          </a:r>
        </a:p>
      </dsp:txBody>
      <dsp:txXfrm>
        <a:off x="1698508" y="987117"/>
        <a:ext cx="1415423" cy="431704"/>
      </dsp:txXfrm>
    </dsp:sp>
    <dsp:sp modelId="{5F10370A-A9DD-44D6-A47F-F058C24F9C2F}">
      <dsp:nvSpPr>
        <dsp:cNvPr id="0" name=""/>
        <dsp:cNvSpPr/>
      </dsp:nvSpPr>
      <dsp:spPr>
        <a:xfrm>
          <a:off x="1698508" y="1595749"/>
          <a:ext cx="1415423" cy="431704"/>
        </a:xfrm>
        <a:prstGeom prst="rect">
          <a:avLst/>
        </a:prstGeom>
        <a:solidFill>
          <a:srgbClr val="FDF69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solidFill>
                <a:sysClr val="windowText" lastClr="000000"/>
              </a:solidFill>
            </a:rPr>
            <a:t>Class I</a:t>
          </a:r>
        </a:p>
      </dsp:txBody>
      <dsp:txXfrm>
        <a:off x="1698508" y="1595749"/>
        <a:ext cx="1415423" cy="431704"/>
      </dsp:txXfrm>
    </dsp:sp>
    <dsp:sp modelId="{69E3A919-74FB-480D-BB89-D9BE39E399E7}">
      <dsp:nvSpPr>
        <dsp:cNvPr id="0" name=""/>
        <dsp:cNvSpPr/>
      </dsp:nvSpPr>
      <dsp:spPr>
        <a:xfrm>
          <a:off x="1698508" y="2204381"/>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Class III</a:t>
          </a:r>
        </a:p>
      </dsp:txBody>
      <dsp:txXfrm>
        <a:off x="1698508" y="2204381"/>
        <a:ext cx="1415423" cy="431704"/>
      </dsp:txXfrm>
    </dsp:sp>
    <dsp:sp modelId="{B3171B48-87B5-412F-8372-E3F8BFD01636}">
      <dsp:nvSpPr>
        <dsp:cNvPr id="0" name=""/>
        <dsp:cNvSpPr/>
      </dsp:nvSpPr>
      <dsp:spPr>
        <a:xfrm>
          <a:off x="1698508" y="2813013"/>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CDD</a:t>
          </a:r>
        </a:p>
      </dsp:txBody>
      <dsp:txXfrm>
        <a:off x="1698508" y="2813013"/>
        <a:ext cx="1415423" cy="431704"/>
      </dsp:txXfrm>
    </dsp:sp>
    <dsp:sp modelId="{8F43BE6E-166A-4736-B495-0F0C5F9C5A94}">
      <dsp:nvSpPr>
        <dsp:cNvPr id="0" name=""/>
        <dsp:cNvSpPr/>
      </dsp:nvSpPr>
      <dsp:spPr>
        <a:xfrm>
          <a:off x="0" y="3421645"/>
          <a:ext cx="3116974"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Waste-to-Energy</a:t>
          </a:r>
        </a:p>
      </dsp:txBody>
      <dsp:txXfrm>
        <a:off x="0" y="3421645"/>
        <a:ext cx="3116974" cy="43170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0F7A21-8A71-4319-AC2E-D81074B65CBC}">
      <dsp:nvSpPr>
        <dsp:cNvPr id="0" name=""/>
        <dsp:cNvSpPr/>
      </dsp:nvSpPr>
      <dsp:spPr>
        <a:xfrm>
          <a:off x="1415423" y="2115918"/>
          <a:ext cx="283084" cy="912947"/>
        </a:xfrm>
        <a:custGeom>
          <a:avLst/>
          <a:gdLst/>
          <a:ahLst/>
          <a:cxnLst/>
          <a:rect l="0" t="0" r="0" b="0"/>
          <a:pathLst>
            <a:path>
              <a:moveTo>
                <a:pt x="0" y="0"/>
              </a:moveTo>
              <a:lnTo>
                <a:pt x="141542" y="0"/>
              </a:lnTo>
              <a:lnTo>
                <a:pt x="141542" y="912947"/>
              </a:lnTo>
              <a:lnTo>
                <a:pt x="283084" y="91294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7BD919E-47EC-450F-A587-C259C150CD11}">
      <dsp:nvSpPr>
        <dsp:cNvPr id="0" name=""/>
        <dsp:cNvSpPr/>
      </dsp:nvSpPr>
      <dsp:spPr>
        <a:xfrm>
          <a:off x="1415423" y="2115918"/>
          <a:ext cx="283084" cy="304315"/>
        </a:xfrm>
        <a:custGeom>
          <a:avLst/>
          <a:gdLst/>
          <a:ahLst/>
          <a:cxnLst/>
          <a:rect l="0" t="0" r="0" b="0"/>
          <a:pathLst>
            <a:path>
              <a:moveTo>
                <a:pt x="0" y="0"/>
              </a:moveTo>
              <a:lnTo>
                <a:pt x="141542" y="0"/>
              </a:lnTo>
              <a:lnTo>
                <a:pt x="141542" y="304315"/>
              </a:lnTo>
              <a:lnTo>
                <a:pt x="283084" y="30431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2208BE-F468-4D92-91D9-C7A5020A5858}">
      <dsp:nvSpPr>
        <dsp:cNvPr id="0" name=""/>
        <dsp:cNvSpPr/>
      </dsp:nvSpPr>
      <dsp:spPr>
        <a:xfrm>
          <a:off x="1415423" y="1811602"/>
          <a:ext cx="283084" cy="304315"/>
        </a:xfrm>
        <a:custGeom>
          <a:avLst/>
          <a:gdLst/>
          <a:ahLst/>
          <a:cxnLst/>
          <a:rect l="0" t="0" r="0" b="0"/>
          <a:pathLst>
            <a:path>
              <a:moveTo>
                <a:pt x="0" y="304315"/>
              </a:moveTo>
              <a:lnTo>
                <a:pt x="141542" y="304315"/>
              </a:lnTo>
              <a:lnTo>
                <a:pt x="141542" y="0"/>
              </a:lnTo>
              <a:lnTo>
                <a:pt x="283084"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5E9805B-8734-43E5-87A9-3E4EDE6400A1}">
      <dsp:nvSpPr>
        <dsp:cNvPr id="0" name=""/>
        <dsp:cNvSpPr/>
      </dsp:nvSpPr>
      <dsp:spPr>
        <a:xfrm>
          <a:off x="1415423" y="1202970"/>
          <a:ext cx="283084" cy="912947"/>
        </a:xfrm>
        <a:custGeom>
          <a:avLst/>
          <a:gdLst/>
          <a:ahLst/>
          <a:cxnLst/>
          <a:rect l="0" t="0" r="0" b="0"/>
          <a:pathLst>
            <a:path>
              <a:moveTo>
                <a:pt x="0" y="912947"/>
              </a:moveTo>
              <a:lnTo>
                <a:pt x="141542" y="912947"/>
              </a:lnTo>
              <a:lnTo>
                <a:pt x="141542" y="0"/>
              </a:lnTo>
              <a:lnTo>
                <a:pt x="283084"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243952B-3833-4F9A-A71B-0A59EE8FED19}">
      <dsp:nvSpPr>
        <dsp:cNvPr id="0" name=""/>
        <dsp:cNvSpPr/>
      </dsp:nvSpPr>
      <dsp:spPr>
        <a:xfrm>
          <a:off x="0" y="1900065"/>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Landfills</a:t>
          </a:r>
        </a:p>
      </dsp:txBody>
      <dsp:txXfrm>
        <a:off x="0" y="1900065"/>
        <a:ext cx="1415423" cy="431704"/>
      </dsp:txXfrm>
    </dsp:sp>
    <dsp:sp modelId="{F6C5896B-E465-4949-89C8-FE4B715A7AA6}">
      <dsp:nvSpPr>
        <dsp:cNvPr id="0" name=""/>
        <dsp:cNvSpPr/>
      </dsp:nvSpPr>
      <dsp:spPr>
        <a:xfrm>
          <a:off x="1698508" y="987117"/>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Ash Monofill</a:t>
          </a:r>
        </a:p>
      </dsp:txBody>
      <dsp:txXfrm>
        <a:off x="1698508" y="987117"/>
        <a:ext cx="1415423" cy="431704"/>
      </dsp:txXfrm>
    </dsp:sp>
    <dsp:sp modelId="{5F10370A-A9DD-44D6-A47F-F058C24F9C2F}">
      <dsp:nvSpPr>
        <dsp:cNvPr id="0" name=""/>
        <dsp:cNvSpPr/>
      </dsp:nvSpPr>
      <dsp:spPr>
        <a:xfrm>
          <a:off x="1698508" y="1595749"/>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Class I</a:t>
          </a:r>
        </a:p>
      </dsp:txBody>
      <dsp:txXfrm>
        <a:off x="1698508" y="1595749"/>
        <a:ext cx="1415423" cy="431704"/>
      </dsp:txXfrm>
    </dsp:sp>
    <dsp:sp modelId="{69E3A919-74FB-480D-BB89-D9BE39E399E7}">
      <dsp:nvSpPr>
        <dsp:cNvPr id="0" name=""/>
        <dsp:cNvSpPr/>
      </dsp:nvSpPr>
      <dsp:spPr>
        <a:xfrm>
          <a:off x="1698508" y="2204381"/>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Class III</a:t>
          </a:r>
        </a:p>
      </dsp:txBody>
      <dsp:txXfrm>
        <a:off x="1698508" y="2204381"/>
        <a:ext cx="1415423" cy="431704"/>
      </dsp:txXfrm>
    </dsp:sp>
    <dsp:sp modelId="{B3171B48-87B5-412F-8372-E3F8BFD01636}">
      <dsp:nvSpPr>
        <dsp:cNvPr id="0" name=""/>
        <dsp:cNvSpPr/>
      </dsp:nvSpPr>
      <dsp:spPr>
        <a:xfrm>
          <a:off x="1698508" y="2813013"/>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CDD</a:t>
          </a:r>
        </a:p>
      </dsp:txBody>
      <dsp:txXfrm>
        <a:off x="1698508" y="2813013"/>
        <a:ext cx="1415423" cy="431704"/>
      </dsp:txXfrm>
    </dsp:sp>
    <dsp:sp modelId="{8F43BE6E-166A-4736-B495-0F0C5F9C5A94}">
      <dsp:nvSpPr>
        <dsp:cNvPr id="0" name=""/>
        <dsp:cNvSpPr/>
      </dsp:nvSpPr>
      <dsp:spPr>
        <a:xfrm>
          <a:off x="0" y="3421645"/>
          <a:ext cx="3116974"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Waste-to-Energy</a:t>
          </a:r>
        </a:p>
      </dsp:txBody>
      <dsp:txXfrm>
        <a:off x="0" y="3421645"/>
        <a:ext cx="3116974" cy="431704"/>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D80550-4753-414D-9E2C-29E87CC202F1}">
      <dsp:nvSpPr>
        <dsp:cNvPr id="0" name=""/>
        <dsp:cNvSpPr/>
      </dsp:nvSpPr>
      <dsp:spPr>
        <a:xfrm>
          <a:off x="2081347" y="2146816"/>
          <a:ext cx="255533" cy="712295"/>
        </a:xfrm>
        <a:custGeom>
          <a:avLst/>
          <a:gdLst/>
          <a:ahLst/>
          <a:cxnLst/>
          <a:rect l="0" t="0" r="0" b="0"/>
          <a:pathLst>
            <a:path>
              <a:moveTo>
                <a:pt x="0" y="0"/>
              </a:moveTo>
              <a:lnTo>
                <a:pt x="127766" y="0"/>
              </a:lnTo>
              <a:lnTo>
                <a:pt x="127766" y="712295"/>
              </a:lnTo>
              <a:lnTo>
                <a:pt x="255533" y="71229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E1287EB-C0CC-4C9B-8503-F8372D7BE22A}">
      <dsp:nvSpPr>
        <dsp:cNvPr id="0" name=""/>
        <dsp:cNvSpPr/>
      </dsp:nvSpPr>
      <dsp:spPr>
        <a:xfrm>
          <a:off x="2081347" y="2101096"/>
          <a:ext cx="255533" cy="91440"/>
        </a:xfrm>
        <a:custGeom>
          <a:avLst/>
          <a:gdLst/>
          <a:ahLst/>
          <a:cxnLst/>
          <a:rect l="0" t="0" r="0" b="0"/>
          <a:pathLst>
            <a:path>
              <a:moveTo>
                <a:pt x="0" y="45720"/>
              </a:moveTo>
              <a:lnTo>
                <a:pt x="127766" y="45720"/>
              </a:lnTo>
              <a:lnTo>
                <a:pt x="127766" y="105747"/>
              </a:lnTo>
              <a:lnTo>
                <a:pt x="255533" y="10574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C8331C7-B13D-4AF7-A323-1B1603B58B0E}">
      <dsp:nvSpPr>
        <dsp:cNvPr id="0" name=""/>
        <dsp:cNvSpPr/>
      </dsp:nvSpPr>
      <dsp:spPr>
        <a:xfrm>
          <a:off x="2081347" y="1494549"/>
          <a:ext cx="255533" cy="652267"/>
        </a:xfrm>
        <a:custGeom>
          <a:avLst/>
          <a:gdLst/>
          <a:ahLst/>
          <a:cxnLst/>
          <a:rect l="0" t="0" r="0" b="0"/>
          <a:pathLst>
            <a:path>
              <a:moveTo>
                <a:pt x="0" y="652267"/>
              </a:moveTo>
              <a:lnTo>
                <a:pt x="127766" y="652267"/>
              </a:lnTo>
              <a:lnTo>
                <a:pt x="127766" y="0"/>
              </a:lnTo>
              <a:lnTo>
                <a:pt x="255533"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8DFF0E-9219-4A5D-9DC2-F45043BFED9C}">
      <dsp:nvSpPr>
        <dsp:cNvPr id="0" name=""/>
        <dsp:cNvSpPr/>
      </dsp:nvSpPr>
      <dsp:spPr>
        <a:xfrm>
          <a:off x="2079967" y="507555"/>
          <a:ext cx="256913" cy="274698"/>
        </a:xfrm>
        <a:custGeom>
          <a:avLst/>
          <a:gdLst/>
          <a:ahLst/>
          <a:cxnLst/>
          <a:rect l="0" t="0" r="0" b="0"/>
          <a:pathLst>
            <a:path>
              <a:moveTo>
                <a:pt x="0" y="0"/>
              </a:moveTo>
              <a:lnTo>
                <a:pt x="129146" y="0"/>
              </a:lnTo>
              <a:lnTo>
                <a:pt x="129146" y="274698"/>
              </a:lnTo>
              <a:lnTo>
                <a:pt x="256913" y="27469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5E9805B-8734-43E5-87A9-3E4EDE6400A1}">
      <dsp:nvSpPr>
        <dsp:cNvPr id="0" name=""/>
        <dsp:cNvSpPr/>
      </dsp:nvSpPr>
      <dsp:spPr>
        <a:xfrm>
          <a:off x="2079967" y="232856"/>
          <a:ext cx="256913" cy="274698"/>
        </a:xfrm>
        <a:custGeom>
          <a:avLst/>
          <a:gdLst/>
          <a:ahLst/>
          <a:cxnLst/>
          <a:rect l="0" t="0" r="0" b="0"/>
          <a:pathLst>
            <a:path>
              <a:moveTo>
                <a:pt x="0" y="274698"/>
              </a:moveTo>
              <a:lnTo>
                <a:pt x="129146" y="274698"/>
              </a:lnTo>
              <a:lnTo>
                <a:pt x="129146" y="0"/>
              </a:lnTo>
              <a:lnTo>
                <a:pt x="256913"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243952B-3833-4F9A-A71B-0A59EE8FED19}">
      <dsp:nvSpPr>
        <dsp:cNvPr id="0" name=""/>
        <dsp:cNvSpPr/>
      </dsp:nvSpPr>
      <dsp:spPr>
        <a:xfrm>
          <a:off x="802299" y="312711"/>
          <a:ext cx="1277668"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Recycling</a:t>
          </a:r>
        </a:p>
      </dsp:txBody>
      <dsp:txXfrm>
        <a:off x="802299" y="312711"/>
        <a:ext cx="1277668" cy="389688"/>
      </dsp:txXfrm>
    </dsp:sp>
    <dsp:sp modelId="{F6C5896B-E465-4949-89C8-FE4B715A7AA6}">
      <dsp:nvSpPr>
        <dsp:cNvPr id="0" name=""/>
        <dsp:cNvSpPr/>
      </dsp:nvSpPr>
      <dsp:spPr>
        <a:xfrm>
          <a:off x="2336881" y="38012"/>
          <a:ext cx="1277668"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Class I</a:t>
          </a:r>
        </a:p>
      </dsp:txBody>
      <dsp:txXfrm>
        <a:off x="2336881" y="38012"/>
        <a:ext cx="1277668" cy="389688"/>
      </dsp:txXfrm>
    </dsp:sp>
    <dsp:sp modelId="{7912A520-6302-4FA0-B726-5F1C79158053}">
      <dsp:nvSpPr>
        <dsp:cNvPr id="0" name=""/>
        <dsp:cNvSpPr/>
      </dsp:nvSpPr>
      <dsp:spPr>
        <a:xfrm>
          <a:off x="2336881" y="587409"/>
          <a:ext cx="1277668"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Class III/CDD</a:t>
          </a:r>
        </a:p>
      </dsp:txBody>
      <dsp:txXfrm>
        <a:off x="2336881" y="587409"/>
        <a:ext cx="1277668" cy="389688"/>
      </dsp:txXfrm>
    </dsp:sp>
    <dsp:sp modelId="{8F43BE6E-166A-4736-B495-0F0C5F9C5A94}">
      <dsp:nvSpPr>
        <dsp:cNvPr id="0" name=""/>
        <dsp:cNvSpPr/>
      </dsp:nvSpPr>
      <dsp:spPr>
        <a:xfrm>
          <a:off x="803679" y="1769327"/>
          <a:ext cx="1277668" cy="754979"/>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Organics Processing</a:t>
          </a:r>
        </a:p>
      </dsp:txBody>
      <dsp:txXfrm>
        <a:off x="803679" y="1769327"/>
        <a:ext cx="1277668" cy="754979"/>
      </dsp:txXfrm>
    </dsp:sp>
    <dsp:sp modelId="{B633B50C-55B7-4080-8A5D-DD9EE7F65740}">
      <dsp:nvSpPr>
        <dsp:cNvPr id="0" name=""/>
        <dsp:cNvSpPr/>
      </dsp:nvSpPr>
      <dsp:spPr>
        <a:xfrm>
          <a:off x="2336881" y="1136807"/>
          <a:ext cx="1277668" cy="715484"/>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Food Waste &amp; Manure</a:t>
          </a:r>
        </a:p>
      </dsp:txBody>
      <dsp:txXfrm>
        <a:off x="2336881" y="1136807"/>
        <a:ext cx="1277668" cy="715484"/>
      </dsp:txXfrm>
    </dsp:sp>
    <dsp:sp modelId="{F8970BD3-839A-4C82-84BD-B0A41A6A9807}">
      <dsp:nvSpPr>
        <dsp:cNvPr id="0" name=""/>
        <dsp:cNvSpPr/>
      </dsp:nvSpPr>
      <dsp:spPr>
        <a:xfrm>
          <a:off x="2336881" y="2012000"/>
          <a:ext cx="1277668"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Yard Trash</a:t>
          </a:r>
        </a:p>
      </dsp:txBody>
      <dsp:txXfrm>
        <a:off x="2336881" y="2012000"/>
        <a:ext cx="1277668" cy="389688"/>
      </dsp:txXfrm>
    </dsp:sp>
    <dsp:sp modelId="{C517AAD2-5580-C644-8C97-234B421E295B}">
      <dsp:nvSpPr>
        <dsp:cNvPr id="0" name=""/>
        <dsp:cNvSpPr/>
      </dsp:nvSpPr>
      <dsp:spPr>
        <a:xfrm>
          <a:off x="2336881" y="2523882"/>
          <a:ext cx="1277668" cy="670459"/>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Anaerobic Digestion</a:t>
          </a:r>
        </a:p>
      </dsp:txBody>
      <dsp:txXfrm>
        <a:off x="2336881" y="2523882"/>
        <a:ext cx="1277668" cy="670459"/>
      </dsp:txXfrm>
    </dsp:sp>
    <dsp:sp modelId="{3EA02441-E62E-C24E-A4DF-460F53CDBD20}">
      <dsp:nvSpPr>
        <dsp:cNvPr id="0" name=""/>
        <dsp:cNvSpPr/>
      </dsp:nvSpPr>
      <dsp:spPr>
        <a:xfrm>
          <a:off x="803679" y="3354050"/>
          <a:ext cx="2813617"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Used Oil Processing</a:t>
          </a:r>
        </a:p>
      </dsp:txBody>
      <dsp:txXfrm>
        <a:off x="803679" y="3354050"/>
        <a:ext cx="2813617" cy="389688"/>
      </dsp:txXfrm>
    </dsp:sp>
    <dsp:sp modelId="{A0471F14-CFB3-8449-8997-79C53AE48F72}">
      <dsp:nvSpPr>
        <dsp:cNvPr id="0" name=""/>
        <dsp:cNvSpPr/>
      </dsp:nvSpPr>
      <dsp:spPr>
        <a:xfrm>
          <a:off x="803679" y="3903448"/>
          <a:ext cx="2813617"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HHW</a:t>
          </a:r>
        </a:p>
      </dsp:txBody>
      <dsp:txXfrm>
        <a:off x="803679" y="3903448"/>
        <a:ext cx="2813617" cy="389688"/>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D80550-4753-414D-9E2C-29E87CC202F1}">
      <dsp:nvSpPr>
        <dsp:cNvPr id="0" name=""/>
        <dsp:cNvSpPr/>
      </dsp:nvSpPr>
      <dsp:spPr>
        <a:xfrm>
          <a:off x="2081347" y="2146816"/>
          <a:ext cx="255533" cy="712295"/>
        </a:xfrm>
        <a:custGeom>
          <a:avLst/>
          <a:gdLst/>
          <a:ahLst/>
          <a:cxnLst/>
          <a:rect l="0" t="0" r="0" b="0"/>
          <a:pathLst>
            <a:path>
              <a:moveTo>
                <a:pt x="0" y="0"/>
              </a:moveTo>
              <a:lnTo>
                <a:pt x="127766" y="0"/>
              </a:lnTo>
              <a:lnTo>
                <a:pt x="127766" y="712295"/>
              </a:lnTo>
              <a:lnTo>
                <a:pt x="255533" y="71229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E1287EB-C0CC-4C9B-8503-F8372D7BE22A}">
      <dsp:nvSpPr>
        <dsp:cNvPr id="0" name=""/>
        <dsp:cNvSpPr/>
      </dsp:nvSpPr>
      <dsp:spPr>
        <a:xfrm>
          <a:off x="2081347" y="2101096"/>
          <a:ext cx="255533" cy="91440"/>
        </a:xfrm>
        <a:custGeom>
          <a:avLst/>
          <a:gdLst/>
          <a:ahLst/>
          <a:cxnLst/>
          <a:rect l="0" t="0" r="0" b="0"/>
          <a:pathLst>
            <a:path>
              <a:moveTo>
                <a:pt x="0" y="45720"/>
              </a:moveTo>
              <a:lnTo>
                <a:pt x="127766" y="45720"/>
              </a:lnTo>
              <a:lnTo>
                <a:pt x="127766" y="105747"/>
              </a:lnTo>
              <a:lnTo>
                <a:pt x="255533" y="10574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C8331C7-B13D-4AF7-A323-1B1603B58B0E}">
      <dsp:nvSpPr>
        <dsp:cNvPr id="0" name=""/>
        <dsp:cNvSpPr/>
      </dsp:nvSpPr>
      <dsp:spPr>
        <a:xfrm>
          <a:off x="2081347" y="1494549"/>
          <a:ext cx="255533" cy="652267"/>
        </a:xfrm>
        <a:custGeom>
          <a:avLst/>
          <a:gdLst/>
          <a:ahLst/>
          <a:cxnLst/>
          <a:rect l="0" t="0" r="0" b="0"/>
          <a:pathLst>
            <a:path>
              <a:moveTo>
                <a:pt x="0" y="652267"/>
              </a:moveTo>
              <a:lnTo>
                <a:pt x="127766" y="652267"/>
              </a:lnTo>
              <a:lnTo>
                <a:pt x="127766" y="0"/>
              </a:lnTo>
              <a:lnTo>
                <a:pt x="255533"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28DFF0E-9219-4A5D-9DC2-F45043BFED9C}">
      <dsp:nvSpPr>
        <dsp:cNvPr id="0" name=""/>
        <dsp:cNvSpPr/>
      </dsp:nvSpPr>
      <dsp:spPr>
        <a:xfrm>
          <a:off x="2079967" y="507555"/>
          <a:ext cx="256913" cy="274698"/>
        </a:xfrm>
        <a:custGeom>
          <a:avLst/>
          <a:gdLst/>
          <a:ahLst/>
          <a:cxnLst/>
          <a:rect l="0" t="0" r="0" b="0"/>
          <a:pathLst>
            <a:path>
              <a:moveTo>
                <a:pt x="0" y="0"/>
              </a:moveTo>
              <a:lnTo>
                <a:pt x="129146" y="0"/>
              </a:lnTo>
              <a:lnTo>
                <a:pt x="129146" y="274698"/>
              </a:lnTo>
              <a:lnTo>
                <a:pt x="256913" y="274698"/>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5E9805B-8734-43E5-87A9-3E4EDE6400A1}">
      <dsp:nvSpPr>
        <dsp:cNvPr id="0" name=""/>
        <dsp:cNvSpPr/>
      </dsp:nvSpPr>
      <dsp:spPr>
        <a:xfrm>
          <a:off x="2079967" y="232856"/>
          <a:ext cx="256913" cy="274698"/>
        </a:xfrm>
        <a:custGeom>
          <a:avLst/>
          <a:gdLst/>
          <a:ahLst/>
          <a:cxnLst/>
          <a:rect l="0" t="0" r="0" b="0"/>
          <a:pathLst>
            <a:path>
              <a:moveTo>
                <a:pt x="0" y="274698"/>
              </a:moveTo>
              <a:lnTo>
                <a:pt x="129146" y="274698"/>
              </a:lnTo>
              <a:lnTo>
                <a:pt x="129146" y="0"/>
              </a:lnTo>
              <a:lnTo>
                <a:pt x="256913"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243952B-3833-4F9A-A71B-0A59EE8FED19}">
      <dsp:nvSpPr>
        <dsp:cNvPr id="0" name=""/>
        <dsp:cNvSpPr/>
      </dsp:nvSpPr>
      <dsp:spPr>
        <a:xfrm>
          <a:off x="802299" y="312711"/>
          <a:ext cx="1277668"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Recycling</a:t>
          </a:r>
        </a:p>
      </dsp:txBody>
      <dsp:txXfrm>
        <a:off x="802299" y="312711"/>
        <a:ext cx="1277668" cy="389688"/>
      </dsp:txXfrm>
    </dsp:sp>
    <dsp:sp modelId="{F6C5896B-E465-4949-89C8-FE4B715A7AA6}">
      <dsp:nvSpPr>
        <dsp:cNvPr id="0" name=""/>
        <dsp:cNvSpPr/>
      </dsp:nvSpPr>
      <dsp:spPr>
        <a:xfrm>
          <a:off x="2336881" y="38012"/>
          <a:ext cx="1277668"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Class I</a:t>
          </a:r>
        </a:p>
      </dsp:txBody>
      <dsp:txXfrm>
        <a:off x="2336881" y="38012"/>
        <a:ext cx="1277668" cy="389688"/>
      </dsp:txXfrm>
    </dsp:sp>
    <dsp:sp modelId="{7912A520-6302-4FA0-B726-5F1C79158053}">
      <dsp:nvSpPr>
        <dsp:cNvPr id="0" name=""/>
        <dsp:cNvSpPr/>
      </dsp:nvSpPr>
      <dsp:spPr>
        <a:xfrm>
          <a:off x="2336881" y="587409"/>
          <a:ext cx="1277668"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Class III/CDD</a:t>
          </a:r>
        </a:p>
      </dsp:txBody>
      <dsp:txXfrm>
        <a:off x="2336881" y="587409"/>
        <a:ext cx="1277668" cy="389688"/>
      </dsp:txXfrm>
    </dsp:sp>
    <dsp:sp modelId="{8F43BE6E-166A-4736-B495-0F0C5F9C5A94}">
      <dsp:nvSpPr>
        <dsp:cNvPr id="0" name=""/>
        <dsp:cNvSpPr/>
      </dsp:nvSpPr>
      <dsp:spPr>
        <a:xfrm>
          <a:off x="803679" y="1769327"/>
          <a:ext cx="1277668" cy="754979"/>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Organics Processing</a:t>
          </a:r>
        </a:p>
      </dsp:txBody>
      <dsp:txXfrm>
        <a:off x="803679" y="1769327"/>
        <a:ext cx="1277668" cy="754979"/>
      </dsp:txXfrm>
    </dsp:sp>
    <dsp:sp modelId="{B633B50C-55B7-4080-8A5D-DD9EE7F65740}">
      <dsp:nvSpPr>
        <dsp:cNvPr id="0" name=""/>
        <dsp:cNvSpPr/>
      </dsp:nvSpPr>
      <dsp:spPr>
        <a:xfrm>
          <a:off x="2336881" y="1136807"/>
          <a:ext cx="1277668" cy="715484"/>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Food Waste &amp; Manure</a:t>
          </a:r>
        </a:p>
      </dsp:txBody>
      <dsp:txXfrm>
        <a:off x="2336881" y="1136807"/>
        <a:ext cx="1277668" cy="715484"/>
      </dsp:txXfrm>
    </dsp:sp>
    <dsp:sp modelId="{F8970BD3-839A-4C82-84BD-B0A41A6A9807}">
      <dsp:nvSpPr>
        <dsp:cNvPr id="0" name=""/>
        <dsp:cNvSpPr/>
      </dsp:nvSpPr>
      <dsp:spPr>
        <a:xfrm>
          <a:off x="2336881" y="2012000"/>
          <a:ext cx="1277668"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Yard Trash</a:t>
          </a:r>
        </a:p>
      </dsp:txBody>
      <dsp:txXfrm>
        <a:off x="2336881" y="2012000"/>
        <a:ext cx="1277668" cy="389688"/>
      </dsp:txXfrm>
    </dsp:sp>
    <dsp:sp modelId="{C517AAD2-5580-C644-8C97-234B421E295B}">
      <dsp:nvSpPr>
        <dsp:cNvPr id="0" name=""/>
        <dsp:cNvSpPr/>
      </dsp:nvSpPr>
      <dsp:spPr>
        <a:xfrm>
          <a:off x="2336881" y="2523882"/>
          <a:ext cx="1277668" cy="670459"/>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Anaerobic Digestion</a:t>
          </a:r>
        </a:p>
      </dsp:txBody>
      <dsp:txXfrm>
        <a:off x="2336881" y="2523882"/>
        <a:ext cx="1277668" cy="670459"/>
      </dsp:txXfrm>
    </dsp:sp>
    <dsp:sp modelId="{3EA02441-E62E-C24E-A4DF-460F53CDBD20}">
      <dsp:nvSpPr>
        <dsp:cNvPr id="0" name=""/>
        <dsp:cNvSpPr/>
      </dsp:nvSpPr>
      <dsp:spPr>
        <a:xfrm>
          <a:off x="803679" y="3354050"/>
          <a:ext cx="2813617"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Used Oil Processing</a:t>
          </a:r>
        </a:p>
      </dsp:txBody>
      <dsp:txXfrm>
        <a:off x="803679" y="3354050"/>
        <a:ext cx="2813617" cy="389688"/>
      </dsp:txXfrm>
    </dsp:sp>
    <dsp:sp modelId="{A0471F14-CFB3-8449-8997-79C53AE48F72}">
      <dsp:nvSpPr>
        <dsp:cNvPr id="0" name=""/>
        <dsp:cNvSpPr/>
      </dsp:nvSpPr>
      <dsp:spPr>
        <a:xfrm>
          <a:off x="803679" y="3903448"/>
          <a:ext cx="2813617" cy="389688"/>
        </a:xfrm>
        <a:prstGeom prst="rect">
          <a:avLst/>
        </a:prstGeom>
        <a:solidFill>
          <a:schemeClr val="accent6"/>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HHW</a:t>
          </a:r>
        </a:p>
      </dsp:txBody>
      <dsp:txXfrm>
        <a:off x="803679" y="3903448"/>
        <a:ext cx="2813617" cy="389688"/>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0F7A21-8A71-4319-AC2E-D81074B65CBC}">
      <dsp:nvSpPr>
        <dsp:cNvPr id="0" name=""/>
        <dsp:cNvSpPr/>
      </dsp:nvSpPr>
      <dsp:spPr>
        <a:xfrm>
          <a:off x="1415423" y="2115918"/>
          <a:ext cx="283084" cy="912947"/>
        </a:xfrm>
        <a:custGeom>
          <a:avLst/>
          <a:gdLst/>
          <a:ahLst/>
          <a:cxnLst/>
          <a:rect l="0" t="0" r="0" b="0"/>
          <a:pathLst>
            <a:path>
              <a:moveTo>
                <a:pt x="0" y="0"/>
              </a:moveTo>
              <a:lnTo>
                <a:pt x="141542" y="0"/>
              </a:lnTo>
              <a:lnTo>
                <a:pt x="141542" y="912947"/>
              </a:lnTo>
              <a:lnTo>
                <a:pt x="283084" y="912947"/>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7BD919E-47EC-450F-A587-C259C150CD11}">
      <dsp:nvSpPr>
        <dsp:cNvPr id="0" name=""/>
        <dsp:cNvSpPr/>
      </dsp:nvSpPr>
      <dsp:spPr>
        <a:xfrm>
          <a:off x="1415423" y="2115918"/>
          <a:ext cx="283084" cy="304315"/>
        </a:xfrm>
        <a:custGeom>
          <a:avLst/>
          <a:gdLst/>
          <a:ahLst/>
          <a:cxnLst/>
          <a:rect l="0" t="0" r="0" b="0"/>
          <a:pathLst>
            <a:path>
              <a:moveTo>
                <a:pt x="0" y="0"/>
              </a:moveTo>
              <a:lnTo>
                <a:pt x="141542" y="0"/>
              </a:lnTo>
              <a:lnTo>
                <a:pt x="141542" y="304315"/>
              </a:lnTo>
              <a:lnTo>
                <a:pt x="283084" y="304315"/>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72208BE-F468-4D92-91D9-C7A5020A5858}">
      <dsp:nvSpPr>
        <dsp:cNvPr id="0" name=""/>
        <dsp:cNvSpPr/>
      </dsp:nvSpPr>
      <dsp:spPr>
        <a:xfrm>
          <a:off x="1415423" y="1811602"/>
          <a:ext cx="283084" cy="304315"/>
        </a:xfrm>
        <a:custGeom>
          <a:avLst/>
          <a:gdLst/>
          <a:ahLst/>
          <a:cxnLst/>
          <a:rect l="0" t="0" r="0" b="0"/>
          <a:pathLst>
            <a:path>
              <a:moveTo>
                <a:pt x="0" y="304315"/>
              </a:moveTo>
              <a:lnTo>
                <a:pt x="141542" y="304315"/>
              </a:lnTo>
              <a:lnTo>
                <a:pt x="141542" y="0"/>
              </a:lnTo>
              <a:lnTo>
                <a:pt x="283084"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5E9805B-8734-43E5-87A9-3E4EDE6400A1}">
      <dsp:nvSpPr>
        <dsp:cNvPr id="0" name=""/>
        <dsp:cNvSpPr/>
      </dsp:nvSpPr>
      <dsp:spPr>
        <a:xfrm>
          <a:off x="1415423" y="1202970"/>
          <a:ext cx="283084" cy="912947"/>
        </a:xfrm>
        <a:custGeom>
          <a:avLst/>
          <a:gdLst/>
          <a:ahLst/>
          <a:cxnLst/>
          <a:rect l="0" t="0" r="0" b="0"/>
          <a:pathLst>
            <a:path>
              <a:moveTo>
                <a:pt x="0" y="912947"/>
              </a:moveTo>
              <a:lnTo>
                <a:pt x="141542" y="912947"/>
              </a:lnTo>
              <a:lnTo>
                <a:pt x="141542" y="0"/>
              </a:lnTo>
              <a:lnTo>
                <a:pt x="283084" y="0"/>
              </a:lnTo>
            </a:path>
          </a:pathLst>
        </a:custGeom>
        <a:noFill/>
        <a:ln w="12700" cap="flat" cmpd="sng" algn="ctr">
          <a:solidFill>
            <a:schemeClr val="accent1">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243952B-3833-4F9A-A71B-0A59EE8FED19}">
      <dsp:nvSpPr>
        <dsp:cNvPr id="0" name=""/>
        <dsp:cNvSpPr/>
      </dsp:nvSpPr>
      <dsp:spPr>
        <a:xfrm>
          <a:off x="0" y="1900065"/>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dirty="0"/>
            <a:t>Landfills</a:t>
          </a:r>
        </a:p>
      </dsp:txBody>
      <dsp:txXfrm>
        <a:off x="0" y="1900065"/>
        <a:ext cx="1415423" cy="431704"/>
      </dsp:txXfrm>
    </dsp:sp>
    <dsp:sp modelId="{F6C5896B-E465-4949-89C8-FE4B715A7AA6}">
      <dsp:nvSpPr>
        <dsp:cNvPr id="0" name=""/>
        <dsp:cNvSpPr/>
      </dsp:nvSpPr>
      <dsp:spPr>
        <a:xfrm>
          <a:off x="1698508" y="987117"/>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Ash Monofill</a:t>
          </a:r>
        </a:p>
      </dsp:txBody>
      <dsp:txXfrm>
        <a:off x="1698508" y="987117"/>
        <a:ext cx="1415423" cy="431704"/>
      </dsp:txXfrm>
    </dsp:sp>
    <dsp:sp modelId="{5F10370A-A9DD-44D6-A47F-F058C24F9C2F}">
      <dsp:nvSpPr>
        <dsp:cNvPr id="0" name=""/>
        <dsp:cNvSpPr/>
      </dsp:nvSpPr>
      <dsp:spPr>
        <a:xfrm>
          <a:off x="1698508" y="1595749"/>
          <a:ext cx="1415423" cy="431704"/>
        </a:xfrm>
        <a:prstGeom prst="rect">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solidFill>
                <a:schemeClr val="bg1"/>
              </a:solidFill>
            </a:rPr>
            <a:t>Class I</a:t>
          </a:r>
        </a:p>
      </dsp:txBody>
      <dsp:txXfrm>
        <a:off x="1698508" y="1595749"/>
        <a:ext cx="1415423" cy="431704"/>
      </dsp:txXfrm>
    </dsp:sp>
    <dsp:sp modelId="{69E3A919-74FB-480D-BB89-D9BE39E399E7}">
      <dsp:nvSpPr>
        <dsp:cNvPr id="0" name=""/>
        <dsp:cNvSpPr/>
      </dsp:nvSpPr>
      <dsp:spPr>
        <a:xfrm>
          <a:off x="1698508" y="2204381"/>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Class III</a:t>
          </a:r>
        </a:p>
      </dsp:txBody>
      <dsp:txXfrm>
        <a:off x="1698508" y="2204381"/>
        <a:ext cx="1415423" cy="431704"/>
      </dsp:txXfrm>
    </dsp:sp>
    <dsp:sp modelId="{B3171B48-87B5-412F-8372-E3F8BFD01636}">
      <dsp:nvSpPr>
        <dsp:cNvPr id="0" name=""/>
        <dsp:cNvSpPr/>
      </dsp:nvSpPr>
      <dsp:spPr>
        <a:xfrm>
          <a:off x="1698508" y="2813013"/>
          <a:ext cx="1415423" cy="431704"/>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t>CDD</a:t>
          </a:r>
        </a:p>
      </dsp:txBody>
      <dsp:txXfrm>
        <a:off x="1698508" y="2813013"/>
        <a:ext cx="1415423" cy="431704"/>
      </dsp:txXfrm>
    </dsp:sp>
    <dsp:sp modelId="{8F43BE6E-166A-4736-B495-0F0C5F9C5A94}">
      <dsp:nvSpPr>
        <dsp:cNvPr id="0" name=""/>
        <dsp:cNvSpPr/>
      </dsp:nvSpPr>
      <dsp:spPr>
        <a:xfrm>
          <a:off x="0" y="3421645"/>
          <a:ext cx="3116974" cy="431704"/>
        </a:xfrm>
        <a:prstGeom prst="rect">
          <a:avLst/>
        </a:prstGeom>
        <a:solidFill>
          <a:srgbClr val="FDF69C"/>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marL="0" lvl="0" indent="0" algn="ctr" defTabSz="800100">
            <a:lnSpc>
              <a:spcPct val="90000"/>
            </a:lnSpc>
            <a:spcBef>
              <a:spcPct val="0"/>
            </a:spcBef>
            <a:spcAft>
              <a:spcPct val="35000"/>
            </a:spcAft>
            <a:buNone/>
          </a:pPr>
          <a:r>
            <a:rPr lang="en-US" sz="1800" kern="1200">
              <a:solidFill>
                <a:schemeClr val="tx1"/>
              </a:solidFill>
            </a:rPr>
            <a:t>Waste-to-Energy</a:t>
          </a:r>
        </a:p>
      </dsp:txBody>
      <dsp:txXfrm>
        <a:off x="0" y="3421645"/>
        <a:ext cx="3116974" cy="431704"/>
      </dsp:txXfrm>
    </dsp:sp>
  </dsp:spTree>
</dsp:drawing>
</file>

<file path=ppt/diagrams/layout1.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F48AE6F3-07F2-4A56-AB5C-1AC77A536974}" type="datetimeFigureOut">
              <a:rPr lang="en-US" smtClean="0"/>
              <a:t>2/25/2025</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5132091F-B7B1-4EEA-933A-6D2B6F4FF6A2}" type="slidenum">
              <a:rPr lang="en-US" smtClean="0"/>
              <a:t>‹#›</a:t>
            </a:fld>
            <a:endParaRPr lang="en-US"/>
          </a:p>
        </p:txBody>
      </p:sp>
    </p:spTree>
    <p:extLst>
      <p:ext uri="{BB962C8B-B14F-4D97-AF65-F5344CB8AC3E}">
        <p14:creationId xmlns:p14="http://schemas.microsoft.com/office/powerpoint/2010/main" val="32295335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32091F-B7B1-4EEA-933A-6D2B6F4FF6A2}" type="slidenum">
              <a:rPr lang="en-US" smtClean="0"/>
              <a:t>10</a:t>
            </a:fld>
            <a:endParaRPr lang="en-US"/>
          </a:p>
        </p:txBody>
      </p:sp>
    </p:spTree>
    <p:extLst>
      <p:ext uri="{BB962C8B-B14F-4D97-AF65-F5344CB8AC3E}">
        <p14:creationId xmlns:p14="http://schemas.microsoft.com/office/powerpoint/2010/main" val="41746165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32091F-B7B1-4EEA-933A-6D2B6F4FF6A2}" type="slidenum">
              <a:rPr lang="en-US" smtClean="0"/>
              <a:t>21</a:t>
            </a:fld>
            <a:endParaRPr lang="en-US"/>
          </a:p>
        </p:txBody>
      </p:sp>
    </p:spTree>
    <p:extLst>
      <p:ext uri="{BB962C8B-B14F-4D97-AF65-F5344CB8AC3E}">
        <p14:creationId xmlns:p14="http://schemas.microsoft.com/office/powerpoint/2010/main" val="29009410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32091F-B7B1-4EEA-933A-6D2B6F4FF6A2}" type="slidenum">
              <a:rPr lang="en-US" smtClean="0"/>
              <a:t>22</a:t>
            </a:fld>
            <a:endParaRPr lang="en-US"/>
          </a:p>
        </p:txBody>
      </p:sp>
    </p:spTree>
    <p:extLst>
      <p:ext uri="{BB962C8B-B14F-4D97-AF65-F5344CB8AC3E}">
        <p14:creationId xmlns:p14="http://schemas.microsoft.com/office/powerpoint/2010/main" val="12949986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B71000-2838-C7A9-6EC8-32368F82B9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2F85A4-7392-59C4-1B84-DE592B3F9D5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6B59379-8EB9-FD0D-8A10-2700E0D31036}"/>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7608D13-F7B6-92C2-E096-252AF36067CA}"/>
              </a:ext>
            </a:extLst>
          </p:cNvPr>
          <p:cNvSpPr>
            <a:spLocks noGrp="1"/>
          </p:cNvSpPr>
          <p:nvPr>
            <p:ph type="sldNum" sz="quarter" idx="5"/>
          </p:nvPr>
        </p:nvSpPr>
        <p:spPr/>
        <p:txBody>
          <a:bodyPr/>
          <a:lstStyle/>
          <a:p>
            <a:fld id="{5132091F-B7B1-4EEA-933A-6D2B6F4FF6A2}" type="slidenum">
              <a:rPr lang="en-US" smtClean="0"/>
              <a:t>23</a:t>
            </a:fld>
            <a:endParaRPr lang="en-US"/>
          </a:p>
        </p:txBody>
      </p:sp>
    </p:spTree>
    <p:extLst>
      <p:ext uri="{BB962C8B-B14F-4D97-AF65-F5344CB8AC3E}">
        <p14:creationId xmlns:p14="http://schemas.microsoft.com/office/powerpoint/2010/main" val="27633801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00DAA2-10C7-8A5C-7F14-21B68D5B85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29B8058-77EA-7C04-6C93-40C7ADA013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E5769A0-8FA7-E1C1-EFDD-677CCB82FA6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64B0D5F7-561C-994C-6B4C-38B88FFF080E}"/>
              </a:ext>
            </a:extLst>
          </p:cNvPr>
          <p:cNvSpPr>
            <a:spLocks noGrp="1"/>
          </p:cNvSpPr>
          <p:nvPr>
            <p:ph type="sldNum" sz="quarter" idx="5"/>
          </p:nvPr>
        </p:nvSpPr>
        <p:spPr/>
        <p:txBody>
          <a:bodyPr/>
          <a:lstStyle/>
          <a:p>
            <a:fld id="{5132091F-B7B1-4EEA-933A-6D2B6F4FF6A2}" type="slidenum">
              <a:rPr lang="en-US" smtClean="0"/>
              <a:t>25</a:t>
            </a:fld>
            <a:endParaRPr lang="en-US"/>
          </a:p>
        </p:txBody>
      </p:sp>
    </p:spTree>
    <p:extLst>
      <p:ext uri="{BB962C8B-B14F-4D97-AF65-F5344CB8AC3E}">
        <p14:creationId xmlns:p14="http://schemas.microsoft.com/office/powerpoint/2010/main" val="16584787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92AAC0-0100-720C-1D20-3EF4C4A39D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1FAEBED-8CF9-2D4F-A620-6A3C6CAEB3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7E05E8-CF43-14BA-9693-7D4F2F378BE5}"/>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E14B5B1B-4428-47D4-6EC8-6953BB8C1898}"/>
              </a:ext>
            </a:extLst>
          </p:cNvPr>
          <p:cNvSpPr>
            <a:spLocks noGrp="1"/>
          </p:cNvSpPr>
          <p:nvPr>
            <p:ph type="sldNum" sz="quarter" idx="5"/>
          </p:nvPr>
        </p:nvSpPr>
        <p:spPr/>
        <p:txBody>
          <a:bodyPr/>
          <a:lstStyle/>
          <a:p>
            <a:fld id="{5132091F-B7B1-4EEA-933A-6D2B6F4FF6A2}" type="slidenum">
              <a:rPr lang="en-US" smtClean="0"/>
              <a:t>26</a:t>
            </a:fld>
            <a:endParaRPr lang="en-US"/>
          </a:p>
        </p:txBody>
      </p:sp>
    </p:spTree>
    <p:extLst>
      <p:ext uri="{BB962C8B-B14F-4D97-AF65-F5344CB8AC3E}">
        <p14:creationId xmlns:p14="http://schemas.microsoft.com/office/powerpoint/2010/main" val="35186450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795E0C-44E8-1A74-79CB-8496788C6A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E5C7A90-F0D1-CC10-4F68-86431418FF5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86C0AC8-BF1E-C360-0E9F-0D50D8AFB46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D69C0F6-C32C-A739-7CEF-18C3866E8781}"/>
              </a:ext>
            </a:extLst>
          </p:cNvPr>
          <p:cNvSpPr>
            <a:spLocks noGrp="1"/>
          </p:cNvSpPr>
          <p:nvPr>
            <p:ph type="sldNum" sz="quarter" idx="5"/>
          </p:nvPr>
        </p:nvSpPr>
        <p:spPr/>
        <p:txBody>
          <a:bodyPr/>
          <a:lstStyle/>
          <a:p>
            <a:fld id="{5132091F-B7B1-4EEA-933A-6D2B6F4FF6A2}" type="slidenum">
              <a:rPr lang="en-US" smtClean="0"/>
              <a:t>27</a:t>
            </a:fld>
            <a:endParaRPr lang="en-US"/>
          </a:p>
        </p:txBody>
      </p:sp>
    </p:spTree>
    <p:extLst>
      <p:ext uri="{BB962C8B-B14F-4D97-AF65-F5344CB8AC3E}">
        <p14:creationId xmlns:p14="http://schemas.microsoft.com/office/powerpoint/2010/main" val="19036099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132091F-B7B1-4EEA-933A-6D2B6F4FF6A2}" type="slidenum">
              <a:rPr lang="en-US" smtClean="0"/>
              <a:t>39</a:t>
            </a:fld>
            <a:endParaRPr lang="en-US"/>
          </a:p>
        </p:txBody>
      </p:sp>
    </p:spTree>
    <p:extLst>
      <p:ext uri="{BB962C8B-B14F-4D97-AF65-F5344CB8AC3E}">
        <p14:creationId xmlns:p14="http://schemas.microsoft.com/office/powerpoint/2010/main" val="37229375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01422B-D00A-DF6B-E5BF-3CF03F227B6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677906D-D866-3D54-62BF-03D44A4CC44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5B54F21-D5F5-CA4F-5DE7-D1481FDD1767}"/>
              </a:ext>
            </a:extLst>
          </p:cNvPr>
          <p:cNvSpPr>
            <a:spLocks noGrp="1"/>
          </p:cNvSpPr>
          <p:nvPr>
            <p:ph type="dt" sz="half" idx="10"/>
          </p:nvPr>
        </p:nvSpPr>
        <p:spPr/>
        <p:txBody>
          <a:bodyPr/>
          <a:lstStyle/>
          <a:p>
            <a:r>
              <a:rPr lang="en-US"/>
              <a:t>09/18/2024</a:t>
            </a:r>
          </a:p>
        </p:txBody>
      </p:sp>
      <p:sp>
        <p:nvSpPr>
          <p:cNvPr id="5" name="Footer Placeholder 4">
            <a:extLst>
              <a:ext uri="{FF2B5EF4-FFF2-40B4-BE49-F238E27FC236}">
                <a16:creationId xmlns:a16="http://schemas.microsoft.com/office/drawing/2014/main" id="{20E6C5A0-23E6-7451-B79B-A6B775D352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6716E7-68F7-06AA-04A7-2AEBFF81C0D3}"/>
              </a:ext>
            </a:extLst>
          </p:cNvPr>
          <p:cNvSpPr>
            <a:spLocks noGrp="1"/>
          </p:cNvSpPr>
          <p:nvPr>
            <p:ph type="sldNum" sz="quarter" idx="12"/>
          </p:nvPr>
        </p:nvSpPr>
        <p:spPr/>
        <p:txBody>
          <a:bodyPr/>
          <a:lstStyle/>
          <a:p>
            <a:fld id="{0E5AD2B8-81AB-4275-9B23-2AC9769A010B}" type="slidenum">
              <a:rPr lang="en-US" smtClean="0"/>
              <a:t>‹#›</a:t>
            </a:fld>
            <a:endParaRPr lang="en-US"/>
          </a:p>
        </p:txBody>
      </p:sp>
      <p:sp>
        <p:nvSpPr>
          <p:cNvPr id="7" name="Rectangle 6">
            <a:extLst>
              <a:ext uri="{FF2B5EF4-FFF2-40B4-BE49-F238E27FC236}">
                <a16:creationId xmlns:a16="http://schemas.microsoft.com/office/drawing/2014/main" id="{31F0C4EB-1535-E1A2-9C28-654064EA0535}"/>
              </a:ext>
            </a:extLst>
          </p:cNvPr>
          <p:cNvSpPr/>
          <p:nvPr userDrawn="1"/>
        </p:nvSpPr>
        <p:spPr>
          <a:xfrm>
            <a:off x="0" y="-1"/>
            <a:ext cx="12192000" cy="767751"/>
          </a:xfrm>
          <a:prstGeom prst="rect">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descr="Visual Standards | Florida Atlantic University">
            <a:extLst>
              <a:ext uri="{FF2B5EF4-FFF2-40B4-BE49-F238E27FC236}">
                <a16:creationId xmlns:a16="http://schemas.microsoft.com/office/drawing/2014/main" id="{8FCD41E3-293F-AA21-5F5F-DCCDE75B233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1004969" y="94260"/>
            <a:ext cx="1100975" cy="57922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A2823EF2-F140-0169-7A16-1EA1FF9642C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957509" y="-2"/>
            <a:ext cx="961404" cy="767752"/>
          </a:xfrm>
          <a:prstGeom prst="rect">
            <a:avLst/>
          </a:prstGeom>
        </p:spPr>
      </p:pic>
      <p:pic>
        <p:nvPicPr>
          <p:cNvPr id="1032" name="Picture 8">
            <a:extLst>
              <a:ext uri="{FF2B5EF4-FFF2-40B4-BE49-F238E27FC236}">
                <a16:creationId xmlns:a16="http://schemas.microsoft.com/office/drawing/2014/main" id="{CAF0B758-0263-5771-599E-27BD9AB8FEDB}"/>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200197" y="94260"/>
            <a:ext cx="782003" cy="5324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64834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0E7F37-2355-A32B-B117-8D90414F8177}"/>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22D3073-73EB-169F-BDB4-73253599A7A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657F12F-392C-ADF6-0EED-CAFC73EAD47B}"/>
              </a:ext>
            </a:extLst>
          </p:cNvPr>
          <p:cNvSpPr>
            <a:spLocks noGrp="1"/>
          </p:cNvSpPr>
          <p:nvPr>
            <p:ph type="dt" sz="half" idx="10"/>
          </p:nvPr>
        </p:nvSpPr>
        <p:spPr/>
        <p:txBody>
          <a:bodyPr/>
          <a:lstStyle/>
          <a:p>
            <a:r>
              <a:rPr lang="en-US"/>
              <a:t>09/18/2024</a:t>
            </a:r>
          </a:p>
        </p:txBody>
      </p:sp>
      <p:sp>
        <p:nvSpPr>
          <p:cNvPr id="5" name="Footer Placeholder 4">
            <a:extLst>
              <a:ext uri="{FF2B5EF4-FFF2-40B4-BE49-F238E27FC236}">
                <a16:creationId xmlns:a16="http://schemas.microsoft.com/office/drawing/2014/main" id="{AC84F1F1-F6BA-D131-BA92-DDB677851D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A04F69C-704C-B8FE-AB28-C0055569F4FA}"/>
              </a:ext>
            </a:extLst>
          </p:cNvPr>
          <p:cNvSpPr>
            <a:spLocks noGrp="1"/>
          </p:cNvSpPr>
          <p:nvPr>
            <p:ph type="sldNum" sz="quarter" idx="12"/>
          </p:nvPr>
        </p:nvSpPr>
        <p:spPr/>
        <p:txBody>
          <a:bodyPr/>
          <a:lstStyle/>
          <a:p>
            <a:fld id="{0E5AD2B8-81AB-4275-9B23-2AC9769A010B}" type="slidenum">
              <a:rPr lang="en-US" smtClean="0"/>
              <a:t>‹#›</a:t>
            </a:fld>
            <a:endParaRPr lang="en-US"/>
          </a:p>
        </p:txBody>
      </p:sp>
    </p:spTree>
    <p:extLst>
      <p:ext uri="{BB962C8B-B14F-4D97-AF65-F5344CB8AC3E}">
        <p14:creationId xmlns:p14="http://schemas.microsoft.com/office/powerpoint/2010/main" val="3273382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7CC567B-A61D-7D4E-027F-71606F0693FC}"/>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2D057A0-90B9-A5A6-E92A-02A95293C16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A70DE23-35FB-AD3A-1DEB-E017F99967F5}"/>
              </a:ext>
            </a:extLst>
          </p:cNvPr>
          <p:cNvSpPr>
            <a:spLocks noGrp="1"/>
          </p:cNvSpPr>
          <p:nvPr>
            <p:ph type="dt" sz="half" idx="10"/>
          </p:nvPr>
        </p:nvSpPr>
        <p:spPr/>
        <p:txBody>
          <a:bodyPr/>
          <a:lstStyle/>
          <a:p>
            <a:r>
              <a:rPr lang="en-US"/>
              <a:t>09/18/2024</a:t>
            </a:r>
          </a:p>
        </p:txBody>
      </p:sp>
      <p:sp>
        <p:nvSpPr>
          <p:cNvPr id="5" name="Footer Placeholder 4">
            <a:extLst>
              <a:ext uri="{FF2B5EF4-FFF2-40B4-BE49-F238E27FC236}">
                <a16:creationId xmlns:a16="http://schemas.microsoft.com/office/drawing/2014/main" id="{76D6AE26-83C0-88ED-7918-60E954AD710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119C871-08E1-3231-C2E2-211154DA09A0}"/>
              </a:ext>
            </a:extLst>
          </p:cNvPr>
          <p:cNvSpPr>
            <a:spLocks noGrp="1"/>
          </p:cNvSpPr>
          <p:nvPr>
            <p:ph type="sldNum" sz="quarter" idx="12"/>
          </p:nvPr>
        </p:nvSpPr>
        <p:spPr/>
        <p:txBody>
          <a:bodyPr/>
          <a:lstStyle/>
          <a:p>
            <a:fld id="{0E5AD2B8-81AB-4275-9B23-2AC9769A010B}" type="slidenum">
              <a:rPr lang="en-US" smtClean="0"/>
              <a:t>‹#›</a:t>
            </a:fld>
            <a:endParaRPr lang="en-US"/>
          </a:p>
        </p:txBody>
      </p:sp>
    </p:spTree>
    <p:extLst>
      <p:ext uri="{BB962C8B-B14F-4D97-AF65-F5344CB8AC3E}">
        <p14:creationId xmlns:p14="http://schemas.microsoft.com/office/powerpoint/2010/main" val="314467952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AFFAAC-F42C-2169-2FFD-AD35C150AF4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C3DD77-CAB4-36F0-367C-B40BC57D3C0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F721C1-BF93-D90F-E2A3-4212890B1A78}"/>
              </a:ext>
            </a:extLst>
          </p:cNvPr>
          <p:cNvSpPr>
            <a:spLocks noGrp="1"/>
          </p:cNvSpPr>
          <p:nvPr>
            <p:ph type="dt" sz="half" idx="10"/>
          </p:nvPr>
        </p:nvSpPr>
        <p:spPr/>
        <p:txBody>
          <a:bodyPr/>
          <a:lstStyle/>
          <a:p>
            <a:r>
              <a:rPr lang="en-US"/>
              <a:t>09/18/2024</a:t>
            </a:r>
          </a:p>
        </p:txBody>
      </p:sp>
      <p:sp>
        <p:nvSpPr>
          <p:cNvPr id="5" name="Footer Placeholder 4">
            <a:extLst>
              <a:ext uri="{FF2B5EF4-FFF2-40B4-BE49-F238E27FC236}">
                <a16:creationId xmlns:a16="http://schemas.microsoft.com/office/drawing/2014/main" id="{E9A110AF-3690-CCFF-DCA3-C4681EE01C7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58529E0-DB99-A140-2F02-1D1EE0909485}"/>
              </a:ext>
            </a:extLst>
          </p:cNvPr>
          <p:cNvSpPr>
            <a:spLocks noGrp="1"/>
          </p:cNvSpPr>
          <p:nvPr>
            <p:ph type="sldNum" sz="quarter" idx="12"/>
          </p:nvPr>
        </p:nvSpPr>
        <p:spPr/>
        <p:txBody>
          <a:bodyPr/>
          <a:lstStyle/>
          <a:p>
            <a:fld id="{0E5AD2B8-81AB-4275-9B23-2AC9769A010B}" type="slidenum">
              <a:rPr lang="en-US" smtClean="0"/>
              <a:t>‹#›</a:t>
            </a:fld>
            <a:endParaRPr lang="en-US"/>
          </a:p>
        </p:txBody>
      </p:sp>
    </p:spTree>
    <p:extLst>
      <p:ext uri="{BB962C8B-B14F-4D97-AF65-F5344CB8AC3E}">
        <p14:creationId xmlns:p14="http://schemas.microsoft.com/office/powerpoint/2010/main" val="15140600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AA2331-282F-DF9F-F94C-82963B0CEA4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9D6D14F-0D5E-0B3A-180B-78D9EB0CB33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322994F-BD46-FF90-5F9C-6409EBE189A5}"/>
              </a:ext>
            </a:extLst>
          </p:cNvPr>
          <p:cNvSpPr>
            <a:spLocks noGrp="1"/>
          </p:cNvSpPr>
          <p:nvPr>
            <p:ph type="dt" sz="half" idx="10"/>
          </p:nvPr>
        </p:nvSpPr>
        <p:spPr/>
        <p:txBody>
          <a:bodyPr/>
          <a:lstStyle/>
          <a:p>
            <a:r>
              <a:rPr lang="en-US"/>
              <a:t>09/18/2024</a:t>
            </a:r>
          </a:p>
        </p:txBody>
      </p:sp>
      <p:sp>
        <p:nvSpPr>
          <p:cNvPr id="5" name="Footer Placeholder 4">
            <a:extLst>
              <a:ext uri="{FF2B5EF4-FFF2-40B4-BE49-F238E27FC236}">
                <a16:creationId xmlns:a16="http://schemas.microsoft.com/office/drawing/2014/main" id="{C37229A8-2992-E60D-6E3B-2CC9C3A9469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0A04F70-1C80-AAA2-2D4A-9FCE0229DECD}"/>
              </a:ext>
            </a:extLst>
          </p:cNvPr>
          <p:cNvSpPr>
            <a:spLocks noGrp="1"/>
          </p:cNvSpPr>
          <p:nvPr>
            <p:ph type="sldNum" sz="quarter" idx="12"/>
          </p:nvPr>
        </p:nvSpPr>
        <p:spPr/>
        <p:txBody>
          <a:bodyPr/>
          <a:lstStyle/>
          <a:p>
            <a:fld id="{0E5AD2B8-81AB-4275-9B23-2AC9769A010B}" type="slidenum">
              <a:rPr lang="en-US" smtClean="0"/>
              <a:t>‹#›</a:t>
            </a:fld>
            <a:endParaRPr lang="en-US"/>
          </a:p>
        </p:txBody>
      </p:sp>
    </p:spTree>
    <p:extLst>
      <p:ext uri="{BB962C8B-B14F-4D97-AF65-F5344CB8AC3E}">
        <p14:creationId xmlns:p14="http://schemas.microsoft.com/office/powerpoint/2010/main" val="15001589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8DDF98-58D2-EC18-09E9-5D7472BC4F1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3E514BE-D7C7-5EDE-D01E-E2AAEF923B4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CDCB903-AB04-9110-4AD4-6ADF8FC0FA3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C5FF8D5-5488-CF44-F0DB-9961384A3708}"/>
              </a:ext>
            </a:extLst>
          </p:cNvPr>
          <p:cNvSpPr>
            <a:spLocks noGrp="1"/>
          </p:cNvSpPr>
          <p:nvPr>
            <p:ph type="dt" sz="half" idx="10"/>
          </p:nvPr>
        </p:nvSpPr>
        <p:spPr/>
        <p:txBody>
          <a:bodyPr/>
          <a:lstStyle/>
          <a:p>
            <a:r>
              <a:rPr lang="en-US"/>
              <a:t>09/18/2024</a:t>
            </a:r>
          </a:p>
        </p:txBody>
      </p:sp>
      <p:sp>
        <p:nvSpPr>
          <p:cNvPr id="6" name="Footer Placeholder 5">
            <a:extLst>
              <a:ext uri="{FF2B5EF4-FFF2-40B4-BE49-F238E27FC236}">
                <a16:creationId xmlns:a16="http://schemas.microsoft.com/office/drawing/2014/main" id="{2A8907CB-71BB-458E-5C58-B9FEB1457CF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36F27BD-3F80-4EA0-31FF-04F18379897A}"/>
              </a:ext>
            </a:extLst>
          </p:cNvPr>
          <p:cNvSpPr>
            <a:spLocks noGrp="1"/>
          </p:cNvSpPr>
          <p:nvPr>
            <p:ph type="sldNum" sz="quarter" idx="12"/>
          </p:nvPr>
        </p:nvSpPr>
        <p:spPr/>
        <p:txBody>
          <a:bodyPr/>
          <a:lstStyle/>
          <a:p>
            <a:fld id="{0E5AD2B8-81AB-4275-9B23-2AC9769A010B}" type="slidenum">
              <a:rPr lang="en-US" smtClean="0"/>
              <a:t>‹#›</a:t>
            </a:fld>
            <a:endParaRPr lang="en-US"/>
          </a:p>
        </p:txBody>
      </p:sp>
    </p:spTree>
    <p:extLst>
      <p:ext uri="{BB962C8B-B14F-4D97-AF65-F5344CB8AC3E}">
        <p14:creationId xmlns:p14="http://schemas.microsoft.com/office/powerpoint/2010/main" val="14249093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3EFA7D-C8B4-C3F1-3BCC-F1468821633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344B5EB-0066-B49B-E17F-B2836BB5DC9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95A313-38B6-1326-FC62-1EA3D24A5DF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463525C-B037-FFC1-7089-2ECC66744B8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0C47D5A-D7A3-EF6B-F00F-FF8E77E3A17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C8E9440-8173-9906-3696-2107BA375FB6}"/>
              </a:ext>
            </a:extLst>
          </p:cNvPr>
          <p:cNvSpPr>
            <a:spLocks noGrp="1"/>
          </p:cNvSpPr>
          <p:nvPr>
            <p:ph type="dt" sz="half" idx="10"/>
          </p:nvPr>
        </p:nvSpPr>
        <p:spPr/>
        <p:txBody>
          <a:bodyPr/>
          <a:lstStyle/>
          <a:p>
            <a:r>
              <a:rPr lang="en-US"/>
              <a:t>09/18/2024</a:t>
            </a:r>
          </a:p>
        </p:txBody>
      </p:sp>
      <p:sp>
        <p:nvSpPr>
          <p:cNvPr id="8" name="Footer Placeholder 7">
            <a:extLst>
              <a:ext uri="{FF2B5EF4-FFF2-40B4-BE49-F238E27FC236}">
                <a16:creationId xmlns:a16="http://schemas.microsoft.com/office/drawing/2014/main" id="{30A7DAF4-D55F-5A67-7F3D-F74C1280428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7CC2A5B-AC40-6D1E-3DDF-A7F2CEE7C2FA}"/>
              </a:ext>
            </a:extLst>
          </p:cNvPr>
          <p:cNvSpPr>
            <a:spLocks noGrp="1"/>
          </p:cNvSpPr>
          <p:nvPr>
            <p:ph type="sldNum" sz="quarter" idx="12"/>
          </p:nvPr>
        </p:nvSpPr>
        <p:spPr/>
        <p:txBody>
          <a:bodyPr/>
          <a:lstStyle/>
          <a:p>
            <a:fld id="{0E5AD2B8-81AB-4275-9B23-2AC9769A010B}" type="slidenum">
              <a:rPr lang="en-US" smtClean="0"/>
              <a:t>‹#›</a:t>
            </a:fld>
            <a:endParaRPr lang="en-US"/>
          </a:p>
        </p:txBody>
      </p:sp>
    </p:spTree>
    <p:extLst>
      <p:ext uri="{BB962C8B-B14F-4D97-AF65-F5344CB8AC3E}">
        <p14:creationId xmlns:p14="http://schemas.microsoft.com/office/powerpoint/2010/main" val="2512978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29129C-8AFA-411C-18E9-7F6FC945BE5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B1A4553-5B3D-303A-5D8D-497749EAC162}"/>
              </a:ext>
            </a:extLst>
          </p:cNvPr>
          <p:cNvSpPr>
            <a:spLocks noGrp="1"/>
          </p:cNvSpPr>
          <p:nvPr>
            <p:ph type="dt" sz="half" idx="10"/>
          </p:nvPr>
        </p:nvSpPr>
        <p:spPr/>
        <p:txBody>
          <a:bodyPr/>
          <a:lstStyle/>
          <a:p>
            <a:r>
              <a:rPr lang="en-US"/>
              <a:t>09/18/2024</a:t>
            </a:r>
          </a:p>
        </p:txBody>
      </p:sp>
      <p:sp>
        <p:nvSpPr>
          <p:cNvPr id="4" name="Footer Placeholder 3">
            <a:extLst>
              <a:ext uri="{FF2B5EF4-FFF2-40B4-BE49-F238E27FC236}">
                <a16:creationId xmlns:a16="http://schemas.microsoft.com/office/drawing/2014/main" id="{D0C914AB-C194-1F7B-4B43-B68F05CF8FC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F02C2DB-D360-1FA7-3BAE-6B0D92ED010B}"/>
              </a:ext>
            </a:extLst>
          </p:cNvPr>
          <p:cNvSpPr>
            <a:spLocks noGrp="1"/>
          </p:cNvSpPr>
          <p:nvPr>
            <p:ph type="sldNum" sz="quarter" idx="12"/>
          </p:nvPr>
        </p:nvSpPr>
        <p:spPr/>
        <p:txBody>
          <a:bodyPr/>
          <a:lstStyle/>
          <a:p>
            <a:fld id="{0E5AD2B8-81AB-4275-9B23-2AC9769A010B}" type="slidenum">
              <a:rPr lang="en-US" smtClean="0"/>
              <a:t>‹#›</a:t>
            </a:fld>
            <a:endParaRPr lang="en-US"/>
          </a:p>
        </p:txBody>
      </p:sp>
    </p:spTree>
    <p:extLst>
      <p:ext uri="{BB962C8B-B14F-4D97-AF65-F5344CB8AC3E}">
        <p14:creationId xmlns:p14="http://schemas.microsoft.com/office/powerpoint/2010/main" val="19522002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60BECD0-DAA2-C701-4FA5-DCDBA47D68CE}"/>
              </a:ext>
            </a:extLst>
          </p:cNvPr>
          <p:cNvSpPr>
            <a:spLocks noGrp="1"/>
          </p:cNvSpPr>
          <p:nvPr>
            <p:ph type="dt" sz="half" idx="10"/>
          </p:nvPr>
        </p:nvSpPr>
        <p:spPr/>
        <p:txBody>
          <a:bodyPr/>
          <a:lstStyle/>
          <a:p>
            <a:r>
              <a:rPr lang="en-US"/>
              <a:t>09/18/2024</a:t>
            </a:r>
          </a:p>
        </p:txBody>
      </p:sp>
      <p:sp>
        <p:nvSpPr>
          <p:cNvPr id="3" name="Footer Placeholder 2">
            <a:extLst>
              <a:ext uri="{FF2B5EF4-FFF2-40B4-BE49-F238E27FC236}">
                <a16:creationId xmlns:a16="http://schemas.microsoft.com/office/drawing/2014/main" id="{95F402C8-F0C7-3B87-F71B-C6888CF3A4D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B8DFF29-D000-E7F4-F407-4891E1F86CD2}"/>
              </a:ext>
            </a:extLst>
          </p:cNvPr>
          <p:cNvSpPr>
            <a:spLocks noGrp="1"/>
          </p:cNvSpPr>
          <p:nvPr>
            <p:ph type="sldNum" sz="quarter" idx="12"/>
          </p:nvPr>
        </p:nvSpPr>
        <p:spPr/>
        <p:txBody>
          <a:bodyPr/>
          <a:lstStyle/>
          <a:p>
            <a:fld id="{0E5AD2B8-81AB-4275-9B23-2AC9769A010B}" type="slidenum">
              <a:rPr lang="en-US" smtClean="0"/>
              <a:t>‹#›</a:t>
            </a:fld>
            <a:endParaRPr lang="en-US"/>
          </a:p>
        </p:txBody>
      </p:sp>
    </p:spTree>
    <p:extLst>
      <p:ext uri="{BB962C8B-B14F-4D97-AF65-F5344CB8AC3E}">
        <p14:creationId xmlns:p14="http://schemas.microsoft.com/office/powerpoint/2010/main" val="22041724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F2B481-860E-5970-3E0A-92C762C0CAB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C36ECDC-2E9A-282B-F447-BDA10942CD3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87CF80B-AEEF-E375-CA25-FB5DEAC5E3A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2AA036-6792-411D-A805-0D8C5FA31FD0}"/>
              </a:ext>
            </a:extLst>
          </p:cNvPr>
          <p:cNvSpPr>
            <a:spLocks noGrp="1"/>
          </p:cNvSpPr>
          <p:nvPr>
            <p:ph type="dt" sz="half" idx="10"/>
          </p:nvPr>
        </p:nvSpPr>
        <p:spPr/>
        <p:txBody>
          <a:bodyPr/>
          <a:lstStyle/>
          <a:p>
            <a:r>
              <a:rPr lang="en-US"/>
              <a:t>09/18/2024</a:t>
            </a:r>
          </a:p>
        </p:txBody>
      </p:sp>
      <p:sp>
        <p:nvSpPr>
          <p:cNvPr id="6" name="Footer Placeholder 5">
            <a:extLst>
              <a:ext uri="{FF2B5EF4-FFF2-40B4-BE49-F238E27FC236}">
                <a16:creationId xmlns:a16="http://schemas.microsoft.com/office/drawing/2014/main" id="{DE394964-C2C9-7A32-0274-6FE43B73D38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626BED0-FFFA-879A-8300-86C3A90AD04B}"/>
              </a:ext>
            </a:extLst>
          </p:cNvPr>
          <p:cNvSpPr>
            <a:spLocks noGrp="1"/>
          </p:cNvSpPr>
          <p:nvPr>
            <p:ph type="sldNum" sz="quarter" idx="12"/>
          </p:nvPr>
        </p:nvSpPr>
        <p:spPr/>
        <p:txBody>
          <a:bodyPr/>
          <a:lstStyle/>
          <a:p>
            <a:fld id="{0E5AD2B8-81AB-4275-9B23-2AC9769A010B}" type="slidenum">
              <a:rPr lang="en-US" smtClean="0"/>
              <a:t>‹#›</a:t>
            </a:fld>
            <a:endParaRPr lang="en-US"/>
          </a:p>
        </p:txBody>
      </p:sp>
    </p:spTree>
    <p:extLst>
      <p:ext uri="{BB962C8B-B14F-4D97-AF65-F5344CB8AC3E}">
        <p14:creationId xmlns:p14="http://schemas.microsoft.com/office/powerpoint/2010/main" val="3384942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FA618B-517D-4EF3-E427-96EC4BE8451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94918FC-E04D-A381-D528-D7CC8061321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EF7CA99-7D76-F141-381D-24B0409443E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9093330-0114-B302-E50B-7267EC791EE5}"/>
              </a:ext>
            </a:extLst>
          </p:cNvPr>
          <p:cNvSpPr>
            <a:spLocks noGrp="1"/>
          </p:cNvSpPr>
          <p:nvPr>
            <p:ph type="dt" sz="half" idx="10"/>
          </p:nvPr>
        </p:nvSpPr>
        <p:spPr/>
        <p:txBody>
          <a:bodyPr/>
          <a:lstStyle/>
          <a:p>
            <a:r>
              <a:rPr lang="en-US"/>
              <a:t>09/18/2024</a:t>
            </a:r>
          </a:p>
        </p:txBody>
      </p:sp>
      <p:sp>
        <p:nvSpPr>
          <p:cNvPr id="6" name="Footer Placeholder 5">
            <a:extLst>
              <a:ext uri="{FF2B5EF4-FFF2-40B4-BE49-F238E27FC236}">
                <a16:creationId xmlns:a16="http://schemas.microsoft.com/office/drawing/2014/main" id="{B639D5EF-DA54-C9F8-9500-DC21E7C1E52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7201E75-0A0D-46A9-C5E2-30CE6FCD23EC}"/>
              </a:ext>
            </a:extLst>
          </p:cNvPr>
          <p:cNvSpPr>
            <a:spLocks noGrp="1"/>
          </p:cNvSpPr>
          <p:nvPr>
            <p:ph type="sldNum" sz="quarter" idx="12"/>
          </p:nvPr>
        </p:nvSpPr>
        <p:spPr/>
        <p:txBody>
          <a:bodyPr/>
          <a:lstStyle/>
          <a:p>
            <a:fld id="{0E5AD2B8-81AB-4275-9B23-2AC9769A010B}" type="slidenum">
              <a:rPr lang="en-US" smtClean="0"/>
              <a:t>‹#›</a:t>
            </a:fld>
            <a:endParaRPr lang="en-US"/>
          </a:p>
        </p:txBody>
      </p:sp>
    </p:spTree>
    <p:extLst>
      <p:ext uri="{BB962C8B-B14F-4D97-AF65-F5344CB8AC3E}">
        <p14:creationId xmlns:p14="http://schemas.microsoft.com/office/powerpoint/2010/main" val="39089115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3832458-E76B-EC19-3A44-71512EF039A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BD8A0A8-746A-76F0-B909-5DC5D3977CA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2F5B8C7-9068-C618-A377-3457F9FB0A9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a:t>09/18/2024</a:t>
            </a:r>
          </a:p>
        </p:txBody>
      </p:sp>
      <p:sp>
        <p:nvSpPr>
          <p:cNvPr id="5" name="Footer Placeholder 4">
            <a:extLst>
              <a:ext uri="{FF2B5EF4-FFF2-40B4-BE49-F238E27FC236}">
                <a16:creationId xmlns:a16="http://schemas.microsoft.com/office/drawing/2014/main" id="{5E4CCA1D-2968-D3DA-AB5D-CFBBBE54786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C73362A-B414-4F99-597E-28B8C9782F7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5AD2B8-81AB-4275-9B23-2AC9769A010B}" type="slidenum">
              <a:rPr lang="en-US" smtClean="0"/>
              <a:t>‹#›</a:t>
            </a:fld>
            <a:endParaRPr lang="en-US"/>
          </a:p>
        </p:txBody>
      </p:sp>
      <p:sp>
        <p:nvSpPr>
          <p:cNvPr id="7" name="Rectangle 6">
            <a:extLst>
              <a:ext uri="{FF2B5EF4-FFF2-40B4-BE49-F238E27FC236}">
                <a16:creationId xmlns:a16="http://schemas.microsoft.com/office/drawing/2014/main" id="{D46ABD43-352A-69F9-AFD5-43A816AB4EB5}"/>
              </a:ext>
            </a:extLst>
          </p:cNvPr>
          <p:cNvSpPr/>
          <p:nvPr userDrawn="1"/>
        </p:nvSpPr>
        <p:spPr>
          <a:xfrm>
            <a:off x="0" y="-1"/>
            <a:ext cx="12192000" cy="365125"/>
          </a:xfrm>
          <a:prstGeom prst="rect">
            <a:avLst/>
          </a:prstGeom>
          <a:solidFill>
            <a:schemeClr val="accent6">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94275965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chart" Target="../charts/chart3.xml"/></Relationships>
</file>

<file path=ppt/slides/_rels/slide1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slideLayout" Target="../slideLayouts/slideLayout2.xml"/><Relationship Id="rId1" Type="http://schemas.openxmlformats.org/officeDocument/2006/relationships/tags" Target="../tags/tag4.xml"/></Relationships>
</file>

<file path=ppt/slides/_rels/slide1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1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1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1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slideLayout" Target="../slideLayouts/slideLayout2.xml"/><Relationship Id="rId1" Type="http://schemas.openxmlformats.org/officeDocument/2006/relationships/tags" Target="../tags/tag8.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9.png"/><Relationship Id="rId4" Type="http://schemas.openxmlformats.org/officeDocument/2006/relationships/image" Target="../media/image8.png"/></Relationships>
</file>

<file path=ppt/slides/_rels/slide18.xml.rels><?xml version="1.0" encoding="UTF-8" standalone="yes"?>
<Relationships xmlns="http://schemas.openxmlformats.org/package/2006/relationships"><Relationship Id="rId3" Type="http://schemas.microsoft.com/office/2014/relationships/chartEx" Target="../charts/chartEx2.xml"/><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9.png"/><Relationship Id="rId5" Type="http://schemas.openxmlformats.org/officeDocument/2006/relationships/image" Target="../media/image11.png"/><Relationship Id="rId4" Type="http://schemas.openxmlformats.org/officeDocument/2006/relationships/image" Target="../media/image10.png"/></Relationships>
</file>

<file path=ppt/slides/_rels/slide19.xml.rels><?xml version="1.0" encoding="UTF-8" standalone="yes"?>
<Relationships xmlns="http://schemas.openxmlformats.org/package/2006/relationships"><Relationship Id="rId3" Type="http://schemas.microsoft.com/office/2014/relationships/chartEx" Target="../charts/chartEx3.xml"/><Relationship Id="rId7" Type="http://schemas.openxmlformats.org/officeDocument/2006/relationships/image" Target="../media/image13.png"/><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9.png"/><Relationship Id="rId5" Type="http://schemas.openxmlformats.org/officeDocument/2006/relationships/image" Target="../media/image12.png"/><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13.png"/><Relationship Id="rId3" Type="http://schemas.microsoft.com/office/2014/relationships/chartEx" Target="../charts/chartEx4.xml"/><Relationship Id="rId7" Type="http://schemas.openxmlformats.org/officeDocument/2006/relationships/image" Target="../media/image15.png"/><Relationship Id="rId2" Type="http://schemas.openxmlformats.org/officeDocument/2006/relationships/slideLayout" Target="../slideLayouts/slideLayout2.xml"/><Relationship Id="rId1" Type="http://schemas.openxmlformats.org/officeDocument/2006/relationships/tags" Target="../tags/tag12.xml"/><Relationship Id="rId6" Type="http://schemas.openxmlformats.org/officeDocument/2006/relationships/image" Target="../media/image9.png"/><Relationship Id="rId5" Type="http://schemas.openxmlformats.org/officeDocument/2006/relationships/image" Target="../media/image14.png"/><Relationship Id="rId4" Type="http://schemas.openxmlformats.org/officeDocument/2006/relationships/image" Target="../media/image10.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13.xml"/><Relationship Id="rId4" Type="http://schemas.openxmlformats.org/officeDocument/2006/relationships/chart" Target="../charts/chart9.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4.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xml"/><Relationship Id="rId1" Type="http://schemas.openxmlformats.org/officeDocument/2006/relationships/tags" Target="../tags/tag15.xml"/><Relationship Id="rId4" Type="http://schemas.openxmlformats.org/officeDocument/2006/relationships/chart" Target="../charts/chart10.xml"/></Relationships>
</file>

<file path=ppt/slides/_rels/slide2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png"/><Relationship Id="rId1" Type="http://schemas.openxmlformats.org/officeDocument/2006/relationships/slideLayout" Target="../slideLayouts/slideLayout2.xml"/><Relationship Id="rId6" Type="http://schemas.openxmlformats.org/officeDocument/2006/relationships/image" Target="../media/image17.png"/><Relationship Id="rId5" Type="http://schemas.openxmlformats.org/officeDocument/2006/relationships/image" Target="../media/image13.png"/><Relationship Id="rId4" Type="http://schemas.openxmlformats.org/officeDocument/2006/relationships/image" Target="../media/image15.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chart" Target="../charts/chart11.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17.xml"/><Relationship Id="rId5" Type="http://schemas.openxmlformats.org/officeDocument/2006/relationships/chart" Target="../charts/chart13.xml"/><Relationship Id="rId4" Type="http://schemas.openxmlformats.org/officeDocument/2006/relationships/chart" Target="../charts/chart1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6.xml"/><Relationship Id="rId1" Type="http://schemas.openxmlformats.org/officeDocument/2006/relationships/tags" Target="../tags/tag18.xml"/><Relationship Id="rId4" Type="http://schemas.openxmlformats.org/officeDocument/2006/relationships/chart" Target="../charts/chart14.xml"/></Relationships>
</file>

<file path=ppt/slides/_rels/slide28.xml.rels><?xml version="1.0" encoding="UTF-8" standalone="yes"?>
<Relationships xmlns="http://schemas.openxmlformats.org/package/2006/relationships"><Relationship Id="rId8" Type="http://schemas.openxmlformats.org/officeDocument/2006/relationships/diagramLayout" Target="../diagrams/layout7.xml"/><Relationship Id="rId3" Type="http://schemas.openxmlformats.org/officeDocument/2006/relationships/diagramLayout" Target="../diagrams/layout6.xml"/><Relationship Id="rId7" Type="http://schemas.openxmlformats.org/officeDocument/2006/relationships/diagramData" Target="../diagrams/data7.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11" Type="http://schemas.microsoft.com/office/2007/relationships/diagramDrawing" Target="../diagrams/drawing7.xml"/><Relationship Id="rId5" Type="http://schemas.openxmlformats.org/officeDocument/2006/relationships/diagramColors" Target="../diagrams/colors6.xml"/><Relationship Id="rId10" Type="http://schemas.openxmlformats.org/officeDocument/2006/relationships/diagramColors" Target="../diagrams/colors7.xml"/><Relationship Id="rId4" Type="http://schemas.openxmlformats.org/officeDocument/2006/relationships/diagramQuickStyle" Target="../diagrams/quickStyle6.xml"/><Relationship Id="rId9" Type="http://schemas.openxmlformats.org/officeDocument/2006/relationships/diagramQuickStyle" Target="../diagrams/quickStyle7.xml"/></Relationships>
</file>

<file path=ppt/slides/_rels/slide29.xml.rels><?xml version="1.0" encoding="UTF-8" standalone="yes"?>
<Relationships xmlns="http://schemas.openxmlformats.org/package/2006/relationships"><Relationship Id="rId8" Type="http://schemas.openxmlformats.org/officeDocument/2006/relationships/diagramLayout" Target="../diagrams/layout9.xml"/><Relationship Id="rId3" Type="http://schemas.openxmlformats.org/officeDocument/2006/relationships/diagramLayout" Target="../diagrams/layout8.xml"/><Relationship Id="rId7" Type="http://schemas.openxmlformats.org/officeDocument/2006/relationships/diagramData" Target="../diagrams/data9.xml"/><Relationship Id="rId2" Type="http://schemas.openxmlformats.org/officeDocument/2006/relationships/diagramData" Target="../diagrams/data8.xml"/><Relationship Id="rId1" Type="http://schemas.openxmlformats.org/officeDocument/2006/relationships/slideLayout" Target="../slideLayouts/slideLayout2.xml"/><Relationship Id="rId6" Type="http://schemas.microsoft.com/office/2007/relationships/diagramDrawing" Target="../diagrams/drawing8.xml"/><Relationship Id="rId11" Type="http://schemas.microsoft.com/office/2007/relationships/diagramDrawing" Target="../diagrams/drawing9.xml"/><Relationship Id="rId5" Type="http://schemas.openxmlformats.org/officeDocument/2006/relationships/diagramColors" Target="../diagrams/colors8.xml"/><Relationship Id="rId10" Type="http://schemas.openxmlformats.org/officeDocument/2006/relationships/diagramColors" Target="../diagrams/colors9.xml"/><Relationship Id="rId4" Type="http://schemas.openxmlformats.org/officeDocument/2006/relationships/diagramQuickStyle" Target="../diagrams/quickStyle8.xml"/><Relationship Id="rId9" Type="http://schemas.openxmlformats.org/officeDocument/2006/relationships/diagramQuickStyle" Target="../diagrams/quickStyle9.xml"/></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2.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3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6.xml"/><Relationship Id="rId1" Type="http://schemas.openxmlformats.org/officeDocument/2006/relationships/tags" Target="../tags/tag19.xml"/><Relationship Id="rId5" Type="http://schemas.openxmlformats.org/officeDocument/2006/relationships/image" Target="../media/image21.png"/><Relationship Id="rId4" Type="http://schemas.openxmlformats.org/officeDocument/2006/relationships/chart" Target="../charts/chart15.xml"/></Relationships>
</file>

<file path=ppt/slides/_rels/slide35.xml.rels><?xml version="1.0" encoding="UTF-8" standalone="yes"?>
<Relationships xmlns="http://schemas.openxmlformats.org/package/2006/relationships"><Relationship Id="rId8" Type="http://schemas.openxmlformats.org/officeDocument/2006/relationships/diagramLayout" Target="../diagrams/layout12.xml"/><Relationship Id="rId3" Type="http://schemas.openxmlformats.org/officeDocument/2006/relationships/diagramLayout" Target="../diagrams/layout11.xml"/><Relationship Id="rId7" Type="http://schemas.openxmlformats.org/officeDocument/2006/relationships/diagramData" Target="../diagrams/data12.xml"/><Relationship Id="rId2" Type="http://schemas.openxmlformats.org/officeDocument/2006/relationships/diagramData" Target="../diagrams/data11.xml"/><Relationship Id="rId1" Type="http://schemas.openxmlformats.org/officeDocument/2006/relationships/slideLayout" Target="../slideLayouts/slideLayout2.xml"/><Relationship Id="rId6" Type="http://schemas.microsoft.com/office/2007/relationships/diagramDrawing" Target="../diagrams/drawing11.xml"/><Relationship Id="rId11" Type="http://schemas.microsoft.com/office/2007/relationships/diagramDrawing" Target="../diagrams/drawing12.xml"/><Relationship Id="rId5" Type="http://schemas.openxmlformats.org/officeDocument/2006/relationships/diagramColors" Target="../diagrams/colors11.xml"/><Relationship Id="rId10" Type="http://schemas.openxmlformats.org/officeDocument/2006/relationships/diagramColors" Target="../diagrams/colors12.xml"/><Relationship Id="rId4" Type="http://schemas.openxmlformats.org/officeDocument/2006/relationships/diagramQuickStyle" Target="../diagrams/quickStyle11.xml"/><Relationship Id="rId9" Type="http://schemas.openxmlformats.org/officeDocument/2006/relationships/diagramQuickStyle" Target="../diagrams/quickStyle12.xml"/></Relationships>
</file>

<file path=ppt/slides/_rels/slide36.xml.rels><?xml version="1.0" encoding="UTF-8" standalone="yes"?>
<Relationships xmlns="http://schemas.openxmlformats.org/package/2006/relationships"><Relationship Id="rId8" Type="http://schemas.openxmlformats.org/officeDocument/2006/relationships/diagramLayout" Target="../diagrams/layout14.xml"/><Relationship Id="rId3" Type="http://schemas.openxmlformats.org/officeDocument/2006/relationships/diagramLayout" Target="../diagrams/layout13.xml"/><Relationship Id="rId7" Type="http://schemas.openxmlformats.org/officeDocument/2006/relationships/diagramData" Target="../diagrams/data14.xml"/><Relationship Id="rId2" Type="http://schemas.openxmlformats.org/officeDocument/2006/relationships/diagramData" Target="../diagrams/data13.xml"/><Relationship Id="rId1" Type="http://schemas.openxmlformats.org/officeDocument/2006/relationships/slideLayout" Target="../slideLayouts/slideLayout2.xml"/><Relationship Id="rId6" Type="http://schemas.microsoft.com/office/2007/relationships/diagramDrawing" Target="../diagrams/drawing13.xml"/><Relationship Id="rId11" Type="http://schemas.microsoft.com/office/2007/relationships/diagramDrawing" Target="../diagrams/drawing14.xml"/><Relationship Id="rId5" Type="http://schemas.openxmlformats.org/officeDocument/2006/relationships/diagramColors" Target="../diagrams/colors13.xml"/><Relationship Id="rId10" Type="http://schemas.openxmlformats.org/officeDocument/2006/relationships/diagramColors" Target="../diagrams/colors14.xml"/><Relationship Id="rId4" Type="http://schemas.openxmlformats.org/officeDocument/2006/relationships/diagramQuickStyle" Target="../diagrams/quickStyle13.xml"/><Relationship Id="rId9" Type="http://schemas.openxmlformats.org/officeDocument/2006/relationships/diagramQuickStyle" Target="../diagrams/quickStyle14.xml"/></Relationships>
</file>

<file path=ppt/slides/_rels/slide37.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2.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3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diagramLayout" Target="../diagrams/layout3.xml"/><Relationship Id="rId7" Type="http://schemas.openxmlformats.org/officeDocument/2006/relationships/diagramData" Target="../diagrams/data4.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s>
</file>

<file path=ppt/slides/_rels/slide4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Layout" Target="../slideLayouts/slideLayout6.xml"/><Relationship Id="rId1" Type="http://schemas.openxmlformats.org/officeDocument/2006/relationships/tags" Target="../tags/tag20.xml"/><Relationship Id="rId5" Type="http://schemas.openxmlformats.org/officeDocument/2006/relationships/image" Target="../media/image24.png"/><Relationship Id="rId4" Type="http://schemas.openxmlformats.org/officeDocument/2006/relationships/chart" Target="../charts/chart16.xml"/></Relationships>
</file>

<file path=ppt/slides/_rels/slide4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5.png"/><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hyperlink" Target="mailto:hsackles@ufl.edu" TargetMode="External"/><Relationship Id="rId2" Type="http://schemas.openxmlformats.org/officeDocument/2006/relationships/image" Target="../media/image4.png"/><Relationship Id="rId1" Type="http://schemas.openxmlformats.org/officeDocument/2006/relationships/slideLayout" Target="../slideLayouts/slideLayout1.xml"/><Relationship Id="rId5" Type="http://schemas.openxmlformats.org/officeDocument/2006/relationships/hyperlink" Target="mailto:yalanliu@fau.edu" TargetMode="External"/><Relationship Id="rId4" Type="http://schemas.openxmlformats.org/officeDocument/2006/relationships/hyperlink" Target="mailto:manshassi@floridapoly.edu" TargetMode="Externa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2.xml"/><Relationship Id="rId1" Type="http://schemas.openxmlformats.org/officeDocument/2006/relationships/tags" Target="../tags/tag1.xml"/></Relationships>
</file>

<file path=ppt/slides/_rels/slide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slideLayout" Target="../slideLayouts/slideLayout2.xml"/><Relationship Id="rId1" Type="http://schemas.openxmlformats.org/officeDocument/2006/relationships/tags" Target="../tags/tag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F84192-EBAD-FB3B-78ED-E139704F1DF8}"/>
              </a:ext>
            </a:extLst>
          </p:cNvPr>
          <p:cNvSpPr>
            <a:spLocks noGrp="1"/>
          </p:cNvSpPr>
          <p:nvPr>
            <p:ph type="ctrTitle"/>
          </p:nvPr>
        </p:nvSpPr>
        <p:spPr>
          <a:xfrm>
            <a:off x="216620" y="2656332"/>
            <a:ext cx="11758759" cy="1124712"/>
          </a:xfrm>
        </p:spPr>
        <p:txBody>
          <a:bodyPr>
            <a:noAutofit/>
          </a:bodyPr>
          <a:lstStyle/>
          <a:p>
            <a:pPr algn="l"/>
            <a:r>
              <a:rPr lang="en-US" sz="4800" dirty="0"/>
              <a:t>Capacity of Florida’s Infrastructure for Resource Recovery &amp; Solid Waste Management </a:t>
            </a:r>
          </a:p>
        </p:txBody>
      </p:sp>
      <p:sp>
        <p:nvSpPr>
          <p:cNvPr id="3" name="Subtitle 2">
            <a:extLst>
              <a:ext uri="{FF2B5EF4-FFF2-40B4-BE49-F238E27FC236}">
                <a16:creationId xmlns:a16="http://schemas.microsoft.com/office/drawing/2014/main" id="{6BC82E8D-61CA-D0BD-E48B-8BAA5AAF78A0}"/>
              </a:ext>
            </a:extLst>
          </p:cNvPr>
          <p:cNvSpPr>
            <a:spLocks noGrp="1"/>
          </p:cNvSpPr>
          <p:nvPr>
            <p:ph type="subTitle" idx="1"/>
          </p:nvPr>
        </p:nvSpPr>
        <p:spPr>
          <a:xfrm>
            <a:off x="53587" y="4135489"/>
            <a:ext cx="12138413" cy="1124712"/>
          </a:xfrm>
        </p:spPr>
        <p:txBody>
          <a:bodyPr vert="horz" lIns="91440" tIns="45720" rIns="91440" bIns="45720" rtlCol="0" anchor="t">
            <a:normAutofit/>
          </a:bodyPr>
          <a:lstStyle/>
          <a:p>
            <a:pPr algn="l"/>
            <a:r>
              <a:rPr lang="en-US" sz="2800" dirty="0"/>
              <a:t>Researchers: Hannah Sackles, Malak Anshassi, Yalan Liu, Steve Laux, Tim Townsend</a:t>
            </a:r>
          </a:p>
          <a:p>
            <a:pPr algn="l"/>
            <a:r>
              <a:rPr lang="en-US" sz="2800" dirty="0"/>
              <a:t>FDEP: Karen Moore, Chris Perry</a:t>
            </a:r>
          </a:p>
        </p:txBody>
      </p:sp>
      <p:pic>
        <p:nvPicPr>
          <p:cNvPr id="1026" name="Picture 2" descr="Florida Department of Environmental Protection Logo – Small Version">
            <a:extLst>
              <a:ext uri="{FF2B5EF4-FFF2-40B4-BE49-F238E27FC236}">
                <a16:creationId xmlns:a16="http://schemas.microsoft.com/office/drawing/2014/main" id="{00AC0303-057D-564F-9677-0B112EE210C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2284" y="-1"/>
            <a:ext cx="776177" cy="77617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18470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08B808-F78D-69F1-1139-E7CFF185B87C}"/>
            </a:ext>
          </a:extLst>
        </p:cNvPr>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4FE0C465-E1E9-BAA0-4D59-56B6F3AADB32}"/>
              </a:ext>
            </a:extLst>
          </p:cNvPr>
          <p:cNvGraphicFramePr>
            <a:graphicFrameLocks/>
          </p:cNvGraphicFramePr>
          <p:nvPr>
            <p:custDataLst>
              <p:tags r:id="rId1"/>
            </p:custDataLst>
            <p:extLst>
              <p:ext uri="{D42A27DB-BD31-4B8C-83A1-F6EECF244321}">
                <p14:modId xmlns:p14="http://schemas.microsoft.com/office/powerpoint/2010/main" val="857896090"/>
              </p:ext>
            </p:extLst>
          </p:nvPr>
        </p:nvGraphicFramePr>
        <p:xfrm>
          <a:off x="1" y="1274165"/>
          <a:ext cx="12192000" cy="5583835"/>
        </p:xfrm>
        <a:graphic>
          <a:graphicData uri="http://schemas.openxmlformats.org/drawingml/2006/chart">
            <c:chart xmlns:c="http://schemas.openxmlformats.org/drawingml/2006/chart" xmlns:r="http://schemas.openxmlformats.org/officeDocument/2006/relationships" r:id="rId4"/>
          </a:graphicData>
        </a:graphic>
      </p:graphicFrame>
      <p:sp>
        <p:nvSpPr>
          <p:cNvPr id="2" name="Title 1">
            <a:extLst>
              <a:ext uri="{FF2B5EF4-FFF2-40B4-BE49-F238E27FC236}">
                <a16:creationId xmlns:a16="http://schemas.microsoft.com/office/drawing/2014/main" id="{52FF6E61-7D6D-DA9B-53EC-37327CC91CA5}"/>
              </a:ext>
            </a:extLst>
          </p:cNvPr>
          <p:cNvSpPr>
            <a:spLocks noGrp="1"/>
          </p:cNvSpPr>
          <p:nvPr>
            <p:ph type="title"/>
          </p:nvPr>
        </p:nvSpPr>
        <p:spPr/>
        <p:txBody>
          <a:bodyPr/>
          <a:lstStyle/>
          <a:p>
            <a:r>
              <a:rPr lang="en-US" dirty="0"/>
              <a:t>Statewide Class I Landfill Capacity</a:t>
            </a:r>
          </a:p>
        </p:txBody>
      </p:sp>
      <p:sp>
        <p:nvSpPr>
          <p:cNvPr id="7" name="TextBox 6">
            <a:extLst>
              <a:ext uri="{FF2B5EF4-FFF2-40B4-BE49-F238E27FC236}">
                <a16:creationId xmlns:a16="http://schemas.microsoft.com/office/drawing/2014/main" id="{CE85A9DE-6912-FE12-49E3-33AB1FFA9980}"/>
              </a:ext>
            </a:extLst>
          </p:cNvPr>
          <p:cNvSpPr txBox="1"/>
          <p:nvPr/>
        </p:nvSpPr>
        <p:spPr>
          <a:xfrm>
            <a:off x="9393640" y="1909101"/>
            <a:ext cx="2875477" cy="646331"/>
          </a:xfrm>
          <a:prstGeom prst="rect">
            <a:avLst/>
          </a:prstGeom>
          <a:noFill/>
        </p:spPr>
        <p:txBody>
          <a:bodyPr wrap="square" rtlCol="0">
            <a:spAutoFit/>
          </a:bodyPr>
          <a:lstStyle/>
          <a:p>
            <a:pPr algn="ctr"/>
            <a:r>
              <a:rPr lang="en-US" b="1" dirty="0">
                <a:solidFill>
                  <a:schemeClr val="tx1">
                    <a:lumMod val="65000"/>
                    <a:lumOff val="35000"/>
                  </a:schemeClr>
                </a:solidFill>
              </a:rPr>
              <a:t>458.1 M permitted tons remaining as of Jan. 1, 2025</a:t>
            </a:r>
          </a:p>
        </p:txBody>
      </p:sp>
      <p:sp>
        <p:nvSpPr>
          <p:cNvPr id="4" name="TextBox 3">
            <a:extLst>
              <a:ext uri="{FF2B5EF4-FFF2-40B4-BE49-F238E27FC236}">
                <a16:creationId xmlns:a16="http://schemas.microsoft.com/office/drawing/2014/main" id="{5019B094-023E-4648-F2E0-8D5261F97945}"/>
              </a:ext>
            </a:extLst>
          </p:cNvPr>
          <p:cNvSpPr txBox="1"/>
          <p:nvPr/>
        </p:nvSpPr>
        <p:spPr>
          <a:xfrm>
            <a:off x="9393641" y="5152784"/>
            <a:ext cx="2875476" cy="646331"/>
          </a:xfrm>
          <a:prstGeom prst="rect">
            <a:avLst/>
          </a:prstGeom>
          <a:noFill/>
        </p:spPr>
        <p:txBody>
          <a:bodyPr wrap="square" rtlCol="0">
            <a:spAutoFit/>
          </a:bodyPr>
          <a:lstStyle/>
          <a:p>
            <a:pPr algn="ctr"/>
            <a:r>
              <a:rPr lang="en-US" b="1" dirty="0">
                <a:solidFill>
                  <a:schemeClr val="tx1">
                    <a:lumMod val="65000"/>
                    <a:lumOff val="35000"/>
                  </a:schemeClr>
                </a:solidFill>
              </a:rPr>
              <a:t>123.1 M constructed tons remaining as of Jan. 1, 2025</a:t>
            </a:r>
          </a:p>
        </p:txBody>
      </p:sp>
      <p:sp>
        <p:nvSpPr>
          <p:cNvPr id="5" name="TextBox 4">
            <a:extLst>
              <a:ext uri="{FF2B5EF4-FFF2-40B4-BE49-F238E27FC236}">
                <a16:creationId xmlns:a16="http://schemas.microsoft.com/office/drawing/2014/main" id="{B0C9DC45-CCF3-AB79-D9C4-26A95C5E0A61}"/>
              </a:ext>
            </a:extLst>
          </p:cNvPr>
          <p:cNvSpPr txBox="1"/>
          <p:nvPr/>
        </p:nvSpPr>
        <p:spPr>
          <a:xfrm>
            <a:off x="6542324" y="1255628"/>
            <a:ext cx="793875" cy="369332"/>
          </a:xfrm>
          <a:prstGeom prst="rect">
            <a:avLst/>
          </a:prstGeom>
          <a:noFill/>
        </p:spPr>
        <p:txBody>
          <a:bodyPr wrap="square" rtlCol="0">
            <a:spAutoFit/>
          </a:bodyPr>
          <a:lstStyle/>
          <a:p>
            <a:pPr algn="ctr"/>
            <a:r>
              <a:rPr lang="en-US" b="1" dirty="0">
                <a:solidFill>
                  <a:schemeClr val="tx1">
                    <a:lumMod val="65000"/>
                    <a:lumOff val="35000"/>
                  </a:schemeClr>
                </a:solidFill>
              </a:rPr>
              <a:t>0%</a:t>
            </a:r>
          </a:p>
        </p:txBody>
      </p:sp>
      <p:cxnSp>
        <p:nvCxnSpPr>
          <p:cNvPr id="6" name="Straight Connector 5">
            <a:extLst>
              <a:ext uri="{FF2B5EF4-FFF2-40B4-BE49-F238E27FC236}">
                <a16:creationId xmlns:a16="http://schemas.microsoft.com/office/drawing/2014/main" id="{0A143323-C46A-DE4E-1E81-3F4410A032D1}"/>
              </a:ext>
            </a:extLst>
          </p:cNvPr>
          <p:cNvCxnSpPr>
            <a:cxnSpLocks/>
          </p:cNvCxnSpPr>
          <p:nvPr/>
        </p:nvCxnSpPr>
        <p:spPr>
          <a:xfrm>
            <a:off x="6675388" y="1883343"/>
            <a:ext cx="0" cy="4484406"/>
          </a:xfrm>
          <a:prstGeom prst="line">
            <a:avLst/>
          </a:prstGeom>
          <a:ln w="28575">
            <a:solidFill>
              <a:schemeClr val="accent3">
                <a:lumMod val="5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46B19817-AEDD-B8B2-9035-A921AD9A264E}"/>
              </a:ext>
            </a:extLst>
          </p:cNvPr>
          <p:cNvCxnSpPr>
            <a:cxnSpLocks/>
          </p:cNvCxnSpPr>
          <p:nvPr/>
        </p:nvCxnSpPr>
        <p:spPr>
          <a:xfrm>
            <a:off x="2360807" y="5152784"/>
            <a:ext cx="0" cy="1214965"/>
          </a:xfrm>
          <a:prstGeom prst="line">
            <a:avLst/>
          </a:prstGeom>
          <a:ln w="28575">
            <a:solidFill>
              <a:schemeClr val="accent3">
                <a:lumMod val="50000"/>
              </a:schemeClr>
            </a:solidFill>
            <a:prstDash val="sysDash"/>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7B3682CC-AF73-DE28-8AF5-7ADD07777BAC}"/>
              </a:ext>
            </a:extLst>
          </p:cNvPr>
          <p:cNvGrpSpPr/>
          <p:nvPr/>
        </p:nvGrpSpPr>
        <p:grpSpPr>
          <a:xfrm>
            <a:off x="6508034" y="1756118"/>
            <a:ext cx="1074385" cy="528964"/>
            <a:chOff x="8505574" y="2033927"/>
            <a:chExt cx="1074385" cy="528964"/>
          </a:xfrm>
        </p:grpSpPr>
        <p:sp>
          <p:nvSpPr>
            <p:cNvPr id="10" name="TextBox 9">
              <a:extLst>
                <a:ext uri="{FF2B5EF4-FFF2-40B4-BE49-F238E27FC236}">
                  <a16:creationId xmlns:a16="http://schemas.microsoft.com/office/drawing/2014/main" id="{D8AB4EBE-E545-86DC-54D9-71E4C3C33583}"/>
                </a:ext>
              </a:extLst>
            </p:cNvPr>
            <p:cNvSpPr txBox="1"/>
            <p:nvPr/>
          </p:nvSpPr>
          <p:spPr>
            <a:xfrm>
              <a:off x="8505574" y="2193559"/>
              <a:ext cx="1074385" cy="369332"/>
            </a:xfrm>
            <a:prstGeom prst="rect">
              <a:avLst/>
            </a:prstGeom>
            <a:noFill/>
          </p:spPr>
          <p:txBody>
            <a:bodyPr wrap="square" rtlCol="0">
              <a:spAutoFit/>
            </a:bodyPr>
            <a:lstStyle/>
            <a:p>
              <a:pPr algn="ctr"/>
              <a:r>
                <a:rPr lang="en-US" b="1" dirty="0">
                  <a:solidFill>
                    <a:schemeClr val="tx1">
                      <a:lumMod val="65000"/>
                      <a:lumOff val="35000"/>
                    </a:schemeClr>
                  </a:solidFill>
                </a:rPr>
                <a:t>2046</a:t>
              </a:r>
            </a:p>
          </p:txBody>
        </p:sp>
        <p:grpSp>
          <p:nvGrpSpPr>
            <p:cNvPr id="11" name="Group 10">
              <a:extLst>
                <a:ext uri="{FF2B5EF4-FFF2-40B4-BE49-F238E27FC236}">
                  <a16:creationId xmlns:a16="http://schemas.microsoft.com/office/drawing/2014/main" id="{2C191906-F5DF-47C5-E124-D3C90999AA84}"/>
                </a:ext>
              </a:extLst>
            </p:cNvPr>
            <p:cNvGrpSpPr/>
            <p:nvPr/>
          </p:nvGrpSpPr>
          <p:grpSpPr>
            <a:xfrm>
              <a:off x="8557363" y="2033927"/>
              <a:ext cx="228600" cy="232124"/>
              <a:chOff x="8557363" y="2033927"/>
              <a:chExt cx="228600" cy="232124"/>
            </a:xfrm>
          </p:grpSpPr>
          <p:cxnSp>
            <p:nvCxnSpPr>
              <p:cNvPr id="12" name="Straight Connector 11">
                <a:extLst>
                  <a:ext uri="{FF2B5EF4-FFF2-40B4-BE49-F238E27FC236}">
                    <a16:creationId xmlns:a16="http://schemas.microsoft.com/office/drawing/2014/main" id="{CF9DADA2-19D4-AFF6-75C5-6FC97CD45529}"/>
                  </a:ext>
                </a:extLst>
              </p:cNvPr>
              <p:cNvCxnSpPr/>
              <p:nvPr/>
            </p:nvCxnSpPr>
            <p:spPr>
              <a:xfrm>
                <a:off x="8557363" y="2037451"/>
                <a:ext cx="228600" cy="228600"/>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3332B99-2575-E559-BF82-0947CED4B849}"/>
                  </a:ext>
                </a:extLst>
              </p:cNvPr>
              <p:cNvCxnSpPr>
                <a:cxnSpLocks/>
              </p:cNvCxnSpPr>
              <p:nvPr/>
            </p:nvCxnSpPr>
            <p:spPr>
              <a:xfrm flipH="1">
                <a:off x="8557363" y="2033927"/>
                <a:ext cx="228600" cy="228600"/>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grpSp>
      <p:grpSp>
        <p:nvGrpSpPr>
          <p:cNvPr id="14" name="Group 13">
            <a:extLst>
              <a:ext uri="{FF2B5EF4-FFF2-40B4-BE49-F238E27FC236}">
                <a16:creationId xmlns:a16="http://schemas.microsoft.com/office/drawing/2014/main" id="{83F0BC3C-483B-85E5-D122-37796831E7B1}"/>
              </a:ext>
            </a:extLst>
          </p:cNvPr>
          <p:cNvGrpSpPr/>
          <p:nvPr/>
        </p:nvGrpSpPr>
        <p:grpSpPr>
          <a:xfrm>
            <a:off x="2193108" y="5041992"/>
            <a:ext cx="1074385" cy="528964"/>
            <a:chOff x="3831725" y="4531672"/>
            <a:chExt cx="1074385" cy="528964"/>
          </a:xfrm>
        </p:grpSpPr>
        <p:sp>
          <p:nvSpPr>
            <p:cNvPr id="15" name="TextBox 14">
              <a:extLst>
                <a:ext uri="{FF2B5EF4-FFF2-40B4-BE49-F238E27FC236}">
                  <a16:creationId xmlns:a16="http://schemas.microsoft.com/office/drawing/2014/main" id="{78DB49FD-9F1B-A73A-2D3B-822CB80ED24C}"/>
                </a:ext>
              </a:extLst>
            </p:cNvPr>
            <p:cNvSpPr txBox="1"/>
            <p:nvPr/>
          </p:nvSpPr>
          <p:spPr>
            <a:xfrm>
              <a:off x="3831725" y="4691304"/>
              <a:ext cx="1074385" cy="369332"/>
            </a:xfrm>
            <a:prstGeom prst="rect">
              <a:avLst/>
            </a:prstGeom>
            <a:noFill/>
          </p:spPr>
          <p:txBody>
            <a:bodyPr wrap="square" rtlCol="0">
              <a:spAutoFit/>
            </a:bodyPr>
            <a:lstStyle/>
            <a:p>
              <a:pPr algn="ctr"/>
              <a:r>
                <a:rPr lang="en-US" b="1" dirty="0">
                  <a:solidFill>
                    <a:schemeClr val="tx1">
                      <a:lumMod val="65000"/>
                      <a:lumOff val="35000"/>
                    </a:schemeClr>
                  </a:solidFill>
                </a:rPr>
                <a:t>2030</a:t>
              </a:r>
            </a:p>
          </p:txBody>
        </p:sp>
        <p:grpSp>
          <p:nvGrpSpPr>
            <p:cNvPr id="16" name="Group 15">
              <a:extLst>
                <a:ext uri="{FF2B5EF4-FFF2-40B4-BE49-F238E27FC236}">
                  <a16:creationId xmlns:a16="http://schemas.microsoft.com/office/drawing/2014/main" id="{6E8DEC2C-C21E-795F-4C18-D25160CC6A3C}"/>
                </a:ext>
              </a:extLst>
            </p:cNvPr>
            <p:cNvGrpSpPr/>
            <p:nvPr/>
          </p:nvGrpSpPr>
          <p:grpSpPr>
            <a:xfrm>
              <a:off x="3883514" y="4531672"/>
              <a:ext cx="228600" cy="232124"/>
              <a:chOff x="3883514" y="4531672"/>
              <a:chExt cx="228600" cy="232124"/>
            </a:xfrm>
          </p:grpSpPr>
          <p:cxnSp>
            <p:nvCxnSpPr>
              <p:cNvPr id="17" name="Straight Connector 16">
                <a:extLst>
                  <a:ext uri="{FF2B5EF4-FFF2-40B4-BE49-F238E27FC236}">
                    <a16:creationId xmlns:a16="http://schemas.microsoft.com/office/drawing/2014/main" id="{E0CF17F7-1B15-65DA-8570-91869E391F56}"/>
                  </a:ext>
                </a:extLst>
              </p:cNvPr>
              <p:cNvCxnSpPr/>
              <p:nvPr/>
            </p:nvCxnSpPr>
            <p:spPr>
              <a:xfrm>
                <a:off x="3883514" y="4535196"/>
                <a:ext cx="228600" cy="228600"/>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18D98D0-9F76-0310-FFDF-CB10185DA797}"/>
                  </a:ext>
                </a:extLst>
              </p:cNvPr>
              <p:cNvCxnSpPr>
                <a:cxnSpLocks/>
              </p:cNvCxnSpPr>
              <p:nvPr/>
            </p:nvCxnSpPr>
            <p:spPr>
              <a:xfrm flipH="1">
                <a:off x="3883514" y="4531672"/>
                <a:ext cx="228600" cy="228600"/>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2309098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44DCCB-B46C-8E22-7D64-1BD04096E8CC}"/>
            </a:ext>
          </a:extLst>
        </p:cNvPr>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6E886EE3-D595-D5A7-0DC1-FD9FCDC10367}"/>
              </a:ext>
            </a:extLst>
          </p:cNvPr>
          <p:cNvGraphicFramePr>
            <a:graphicFrameLocks/>
          </p:cNvGraphicFramePr>
          <p:nvPr>
            <p:custDataLst>
              <p:tags r:id="rId1"/>
            </p:custDataLst>
            <p:extLst>
              <p:ext uri="{D42A27DB-BD31-4B8C-83A1-F6EECF244321}">
                <p14:modId xmlns:p14="http://schemas.microsoft.com/office/powerpoint/2010/main" val="4190700881"/>
              </p:ext>
            </p:extLst>
          </p:nvPr>
        </p:nvGraphicFramePr>
        <p:xfrm>
          <a:off x="1" y="1274165"/>
          <a:ext cx="12192000" cy="5583835"/>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E8567B36-9040-E1B3-8826-2F1F04422C31}"/>
              </a:ext>
            </a:extLst>
          </p:cNvPr>
          <p:cNvSpPr>
            <a:spLocks noGrp="1"/>
          </p:cNvSpPr>
          <p:nvPr>
            <p:ph type="title"/>
          </p:nvPr>
        </p:nvSpPr>
        <p:spPr/>
        <p:txBody>
          <a:bodyPr/>
          <a:lstStyle/>
          <a:p>
            <a:r>
              <a:rPr lang="en-US" dirty="0"/>
              <a:t>Statewide Class I Landfill Capacity</a:t>
            </a:r>
          </a:p>
        </p:txBody>
      </p:sp>
      <p:sp>
        <p:nvSpPr>
          <p:cNvPr id="7" name="TextBox 6">
            <a:extLst>
              <a:ext uri="{FF2B5EF4-FFF2-40B4-BE49-F238E27FC236}">
                <a16:creationId xmlns:a16="http://schemas.microsoft.com/office/drawing/2014/main" id="{245BBE58-8C74-04B7-6637-06A54F66817F}"/>
              </a:ext>
            </a:extLst>
          </p:cNvPr>
          <p:cNvSpPr txBox="1"/>
          <p:nvPr/>
        </p:nvSpPr>
        <p:spPr>
          <a:xfrm>
            <a:off x="9393640" y="1909101"/>
            <a:ext cx="2875477" cy="646331"/>
          </a:xfrm>
          <a:prstGeom prst="rect">
            <a:avLst/>
          </a:prstGeom>
          <a:noFill/>
        </p:spPr>
        <p:txBody>
          <a:bodyPr wrap="square" rtlCol="0">
            <a:spAutoFit/>
          </a:bodyPr>
          <a:lstStyle/>
          <a:p>
            <a:pPr algn="ctr"/>
            <a:r>
              <a:rPr lang="en-US" b="1" dirty="0">
                <a:solidFill>
                  <a:schemeClr val="tx1">
                    <a:lumMod val="65000"/>
                    <a:lumOff val="35000"/>
                  </a:schemeClr>
                </a:solidFill>
              </a:rPr>
              <a:t>458.1 M permitted tons remaining as of Jan. 1, 2025</a:t>
            </a:r>
          </a:p>
        </p:txBody>
      </p:sp>
      <p:sp>
        <p:nvSpPr>
          <p:cNvPr id="4" name="TextBox 3">
            <a:extLst>
              <a:ext uri="{FF2B5EF4-FFF2-40B4-BE49-F238E27FC236}">
                <a16:creationId xmlns:a16="http://schemas.microsoft.com/office/drawing/2014/main" id="{74C44ECF-F5EA-7CBA-BBF3-5DA61FA18F79}"/>
              </a:ext>
            </a:extLst>
          </p:cNvPr>
          <p:cNvSpPr txBox="1"/>
          <p:nvPr/>
        </p:nvSpPr>
        <p:spPr>
          <a:xfrm>
            <a:off x="9393641" y="5152784"/>
            <a:ext cx="2875476" cy="646331"/>
          </a:xfrm>
          <a:prstGeom prst="rect">
            <a:avLst/>
          </a:prstGeom>
          <a:noFill/>
        </p:spPr>
        <p:txBody>
          <a:bodyPr wrap="square" rtlCol="0">
            <a:spAutoFit/>
          </a:bodyPr>
          <a:lstStyle/>
          <a:p>
            <a:pPr algn="ctr"/>
            <a:r>
              <a:rPr lang="en-US" b="1" dirty="0">
                <a:solidFill>
                  <a:schemeClr val="tx1">
                    <a:lumMod val="65000"/>
                    <a:lumOff val="35000"/>
                  </a:schemeClr>
                </a:solidFill>
              </a:rPr>
              <a:t>123.1 M constructed tons remaining as of Jan. 1, 2025</a:t>
            </a:r>
          </a:p>
        </p:txBody>
      </p:sp>
      <p:sp>
        <p:nvSpPr>
          <p:cNvPr id="5" name="TextBox 4">
            <a:extLst>
              <a:ext uri="{FF2B5EF4-FFF2-40B4-BE49-F238E27FC236}">
                <a16:creationId xmlns:a16="http://schemas.microsoft.com/office/drawing/2014/main" id="{961FA329-8607-67E2-BF9A-07869DF191AE}"/>
              </a:ext>
            </a:extLst>
          </p:cNvPr>
          <p:cNvSpPr txBox="1"/>
          <p:nvPr/>
        </p:nvSpPr>
        <p:spPr>
          <a:xfrm>
            <a:off x="2200686" y="5614449"/>
            <a:ext cx="887343" cy="369332"/>
          </a:xfrm>
          <a:prstGeom prst="rect">
            <a:avLst/>
          </a:prstGeom>
          <a:noFill/>
        </p:spPr>
        <p:txBody>
          <a:bodyPr wrap="square" rtlCol="0">
            <a:spAutoFit/>
          </a:bodyPr>
          <a:lstStyle/>
          <a:p>
            <a:pPr algn="ctr"/>
            <a:r>
              <a:rPr lang="en-US" b="1" dirty="0">
                <a:solidFill>
                  <a:schemeClr val="tx1">
                    <a:lumMod val="65000"/>
                    <a:lumOff val="35000"/>
                  </a:schemeClr>
                </a:solidFill>
              </a:rPr>
              <a:t>2030</a:t>
            </a:r>
          </a:p>
        </p:txBody>
      </p:sp>
      <p:sp>
        <p:nvSpPr>
          <p:cNvPr id="6" name="TextBox 5">
            <a:extLst>
              <a:ext uri="{FF2B5EF4-FFF2-40B4-BE49-F238E27FC236}">
                <a16:creationId xmlns:a16="http://schemas.microsoft.com/office/drawing/2014/main" id="{D9938D0B-9D93-713A-6FFC-59A04A116080}"/>
              </a:ext>
            </a:extLst>
          </p:cNvPr>
          <p:cNvSpPr txBox="1"/>
          <p:nvPr/>
        </p:nvSpPr>
        <p:spPr>
          <a:xfrm>
            <a:off x="5814990" y="2370766"/>
            <a:ext cx="887343" cy="369332"/>
          </a:xfrm>
          <a:prstGeom prst="rect">
            <a:avLst/>
          </a:prstGeom>
          <a:noFill/>
        </p:spPr>
        <p:txBody>
          <a:bodyPr wrap="square" rtlCol="0">
            <a:spAutoFit/>
          </a:bodyPr>
          <a:lstStyle/>
          <a:p>
            <a:pPr algn="ctr"/>
            <a:r>
              <a:rPr lang="en-US" b="1" dirty="0">
                <a:solidFill>
                  <a:schemeClr val="tx1">
                    <a:lumMod val="65000"/>
                    <a:lumOff val="35000"/>
                  </a:schemeClr>
                </a:solidFill>
              </a:rPr>
              <a:t>2044</a:t>
            </a:r>
          </a:p>
        </p:txBody>
      </p:sp>
      <p:cxnSp>
        <p:nvCxnSpPr>
          <p:cNvPr id="8" name="Straight Arrow Connector 7">
            <a:extLst>
              <a:ext uri="{FF2B5EF4-FFF2-40B4-BE49-F238E27FC236}">
                <a16:creationId xmlns:a16="http://schemas.microsoft.com/office/drawing/2014/main" id="{AF040447-C46A-3C39-4B9B-D562ECFD6190}"/>
              </a:ext>
            </a:extLst>
          </p:cNvPr>
          <p:cNvCxnSpPr>
            <a:cxnSpLocks/>
            <a:stCxn id="6" idx="0"/>
          </p:cNvCxnSpPr>
          <p:nvPr/>
        </p:nvCxnSpPr>
        <p:spPr>
          <a:xfrm flipH="1" flipV="1">
            <a:off x="6096000" y="1909101"/>
            <a:ext cx="162662" cy="461665"/>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329DFD71-A2A9-5391-FD36-E5781C129888}"/>
              </a:ext>
            </a:extLst>
          </p:cNvPr>
          <p:cNvCxnSpPr>
            <a:cxnSpLocks/>
            <a:stCxn id="5" idx="0"/>
          </p:cNvCxnSpPr>
          <p:nvPr/>
        </p:nvCxnSpPr>
        <p:spPr>
          <a:xfrm flipH="1" flipV="1">
            <a:off x="2390935" y="5152784"/>
            <a:ext cx="253423" cy="461665"/>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860D023F-3028-E5F5-E9D8-07FB2D77A6A1}"/>
              </a:ext>
            </a:extLst>
          </p:cNvPr>
          <p:cNvCxnSpPr>
            <a:cxnSpLocks/>
            <a:stCxn id="5" idx="0"/>
          </p:cNvCxnSpPr>
          <p:nvPr/>
        </p:nvCxnSpPr>
        <p:spPr>
          <a:xfrm flipH="1" flipV="1">
            <a:off x="2305878" y="5152784"/>
            <a:ext cx="338480" cy="461665"/>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7BA6DBF4-DC9B-235C-07E7-2E51BE6382E6}"/>
              </a:ext>
            </a:extLst>
          </p:cNvPr>
          <p:cNvSpPr txBox="1"/>
          <p:nvPr/>
        </p:nvSpPr>
        <p:spPr>
          <a:xfrm>
            <a:off x="6428024" y="1255628"/>
            <a:ext cx="793875" cy="369332"/>
          </a:xfrm>
          <a:prstGeom prst="rect">
            <a:avLst/>
          </a:prstGeom>
          <a:noFill/>
        </p:spPr>
        <p:txBody>
          <a:bodyPr wrap="square" rtlCol="0">
            <a:spAutoFit/>
          </a:bodyPr>
          <a:lstStyle/>
          <a:p>
            <a:pPr algn="ctr"/>
            <a:r>
              <a:rPr lang="en-US" b="1" dirty="0">
                <a:solidFill>
                  <a:schemeClr val="tx1">
                    <a:lumMod val="65000"/>
                    <a:lumOff val="35000"/>
                  </a:schemeClr>
                </a:solidFill>
              </a:rPr>
              <a:t>0%</a:t>
            </a:r>
          </a:p>
        </p:txBody>
      </p:sp>
      <p:sp>
        <p:nvSpPr>
          <p:cNvPr id="12" name="TextBox 11">
            <a:extLst>
              <a:ext uri="{FF2B5EF4-FFF2-40B4-BE49-F238E27FC236}">
                <a16:creationId xmlns:a16="http://schemas.microsoft.com/office/drawing/2014/main" id="{B6C405AB-ED31-8CDA-4737-D3A49AEC7722}"/>
              </a:ext>
            </a:extLst>
          </p:cNvPr>
          <p:cNvSpPr txBox="1"/>
          <p:nvPr/>
        </p:nvSpPr>
        <p:spPr>
          <a:xfrm>
            <a:off x="6450968" y="1938610"/>
            <a:ext cx="1074385" cy="369332"/>
          </a:xfrm>
          <a:prstGeom prst="rect">
            <a:avLst/>
          </a:prstGeom>
          <a:noFill/>
        </p:spPr>
        <p:txBody>
          <a:bodyPr wrap="square" rtlCol="0">
            <a:spAutoFit/>
          </a:bodyPr>
          <a:lstStyle/>
          <a:p>
            <a:pPr algn="ctr"/>
            <a:r>
              <a:rPr lang="en-US" b="1" dirty="0">
                <a:solidFill>
                  <a:schemeClr val="tx1">
                    <a:lumMod val="65000"/>
                    <a:lumOff val="35000"/>
                  </a:schemeClr>
                </a:solidFill>
              </a:rPr>
              <a:t>2046</a:t>
            </a:r>
          </a:p>
        </p:txBody>
      </p:sp>
      <p:sp>
        <p:nvSpPr>
          <p:cNvPr id="13" name="TextBox 12">
            <a:extLst>
              <a:ext uri="{FF2B5EF4-FFF2-40B4-BE49-F238E27FC236}">
                <a16:creationId xmlns:a16="http://schemas.microsoft.com/office/drawing/2014/main" id="{E0487902-98E3-A3A9-6BEE-4222D4E1F952}"/>
              </a:ext>
            </a:extLst>
          </p:cNvPr>
          <p:cNvSpPr txBox="1"/>
          <p:nvPr/>
        </p:nvSpPr>
        <p:spPr>
          <a:xfrm>
            <a:off x="5787766" y="1252208"/>
            <a:ext cx="793875" cy="369332"/>
          </a:xfrm>
          <a:prstGeom prst="rect">
            <a:avLst/>
          </a:prstGeom>
          <a:noFill/>
        </p:spPr>
        <p:txBody>
          <a:bodyPr wrap="square" rtlCol="0">
            <a:spAutoFit/>
          </a:bodyPr>
          <a:lstStyle/>
          <a:p>
            <a:pPr algn="ctr"/>
            <a:r>
              <a:rPr lang="en-US" b="1" dirty="0">
                <a:solidFill>
                  <a:schemeClr val="tx1">
                    <a:lumMod val="65000"/>
                    <a:lumOff val="35000"/>
                  </a:schemeClr>
                </a:solidFill>
              </a:rPr>
              <a:t>1%</a:t>
            </a:r>
          </a:p>
        </p:txBody>
      </p:sp>
    </p:spTree>
    <p:extLst>
      <p:ext uri="{BB962C8B-B14F-4D97-AF65-F5344CB8AC3E}">
        <p14:creationId xmlns:p14="http://schemas.microsoft.com/office/powerpoint/2010/main" val="34120821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123830-A7CA-4DA7-8F82-1F7E391BEF64}"/>
            </a:ext>
          </a:extLst>
        </p:cNvPr>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4F24BC61-86DD-8CB3-7FFF-A7C0A45E2291}"/>
              </a:ext>
            </a:extLst>
          </p:cNvPr>
          <p:cNvGraphicFramePr>
            <a:graphicFrameLocks/>
          </p:cNvGraphicFramePr>
          <p:nvPr>
            <p:custDataLst>
              <p:tags r:id="rId1"/>
            </p:custDataLst>
            <p:extLst>
              <p:ext uri="{D42A27DB-BD31-4B8C-83A1-F6EECF244321}">
                <p14:modId xmlns:p14="http://schemas.microsoft.com/office/powerpoint/2010/main" val="3207222831"/>
              </p:ext>
            </p:extLst>
          </p:nvPr>
        </p:nvGraphicFramePr>
        <p:xfrm>
          <a:off x="1" y="1274165"/>
          <a:ext cx="12192000" cy="5583835"/>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DED73606-8C85-A324-5BF9-4FE89B59CE39}"/>
              </a:ext>
            </a:extLst>
          </p:cNvPr>
          <p:cNvSpPr>
            <a:spLocks noGrp="1"/>
          </p:cNvSpPr>
          <p:nvPr>
            <p:ph type="title"/>
          </p:nvPr>
        </p:nvSpPr>
        <p:spPr/>
        <p:txBody>
          <a:bodyPr/>
          <a:lstStyle/>
          <a:p>
            <a:r>
              <a:rPr lang="en-US" dirty="0"/>
              <a:t>Statewide Class I Landfill Capacity</a:t>
            </a:r>
          </a:p>
        </p:txBody>
      </p:sp>
      <p:sp>
        <p:nvSpPr>
          <p:cNvPr id="7" name="TextBox 6">
            <a:extLst>
              <a:ext uri="{FF2B5EF4-FFF2-40B4-BE49-F238E27FC236}">
                <a16:creationId xmlns:a16="http://schemas.microsoft.com/office/drawing/2014/main" id="{1FD3FDC0-3A07-4C82-9BB1-DF991B9F0596}"/>
              </a:ext>
            </a:extLst>
          </p:cNvPr>
          <p:cNvSpPr txBox="1"/>
          <p:nvPr/>
        </p:nvSpPr>
        <p:spPr>
          <a:xfrm>
            <a:off x="9393640" y="1909101"/>
            <a:ext cx="2875477" cy="646331"/>
          </a:xfrm>
          <a:prstGeom prst="rect">
            <a:avLst/>
          </a:prstGeom>
          <a:noFill/>
        </p:spPr>
        <p:txBody>
          <a:bodyPr wrap="square" rtlCol="0">
            <a:spAutoFit/>
          </a:bodyPr>
          <a:lstStyle/>
          <a:p>
            <a:pPr algn="ctr"/>
            <a:r>
              <a:rPr lang="en-US" b="1" dirty="0">
                <a:solidFill>
                  <a:schemeClr val="tx1">
                    <a:lumMod val="65000"/>
                    <a:lumOff val="35000"/>
                  </a:schemeClr>
                </a:solidFill>
              </a:rPr>
              <a:t>458.1 M permitted tons remaining as of Jan. 1, 2025</a:t>
            </a:r>
          </a:p>
        </p:txBody>
      </p:sp>
      <p:sp>
        <p:nvSpPr>
          <p:cNvPr id="4" name="TextBox 3">
            <a:extLst>
              <a:ext uri="{FF2B5EF4-FFF2-40B4-BE49-F238E27FC236}">
                <a16:creationId xmlns:a16="http://schemas.microsoft.com/office/drawing/2014/main" id="{2F5E8483-7ED8-76FE-AEE4-01B340F395C9}"/>
              </a:ext>
            </a:extLst>
          </p:cNvPr>
          <p:cNvSpPr txBox="1"/>
          <p:nvPr/>
        </p:nvSpPr>
        <p:spPr>
          <a:xfrm>
            <a:off x="9393641" y="5152784"/>
            <a:ext cx="2875476" cy="646331"/>
          </a:xfrm>
          <a:prstGeom prst="rect">
            <a:avLst/>
          </a:prstGeom>
          <a:noFill/>
        </p:spPr>
        <p:txBody>
          <a:bodyPr wrap="square" rtlCol="0">
            <a:spAutoFit/>
          </a:bodyPr>
          <a:lstStyle/>
          <a:p>
            <a:pPr algn="ctr"/>
            <a:r>
              <a:rPr lang="en-US" b="1" dirty="0">
                <a:solidFill>
                  <a:schemeClr val="tx1">
                    <a:lumMod val="65000"/>
                    <a:lumOff val="35000"/>
                  </a:schemeClr>
                </a:solidFill>
              </a:rPr>
              <a:t>123.1 M constructed tons remaining as of Jan. 1, 2025</a:t>
            </a:r>
          </a:p>
        </p:txBody>
      </p:sp>
      <p:sp>
        <p:nvSpPr>
          <p:cNvPr id="5" name="TextBox 4">
            <a:extLst>
              <a:ext uri="{FF2B5EF4-FFF2-40B4-BE49-F238E27FC236}">
                <a16:creationId xmlns:a16="http://schemas.microsoft.com/office/drawing/2014/main" id="{FC5BFC54-BD06-0DA9-5710-9134D4CF0385}"/>
              </a:ext>
            </a:extLst>
          </p:cNvPr>
          <p:cNvSpPr txBox="1"/>
          <p:nvPr/>
        </p:nvSpPr>
        <p:spPr>
          <a:xfrm>
            <a:off x="2200686" y="5614449"/>
            <a:ext cx="887343" cy="369332"/>
          </a:xfrm>
          <a:prstGeom prst="rect">
            <a:avLst/>
          </a:prstGeom>
          <a:noFill/>
        </p:spPr>
        <p:txBody>
          <a:bodyPr wrap="square" rtlCol="0">
            <a:spAutoFit/>
          </a:bodyPr>
          <a:lstStyle/>
          <a:p>
            <a:pPr algn="ctr"/>
            <a:r>
              <a:rPr lang="en-US" b="1" dirty="0">
                <a:solidFill>
                  <a:schemeClr val="tx1">
                    <a:lumMod val="65000"/>
                    <a:lumOff val="35000"/>
                  </a:schemeClr>
                </a:solidFill>
              </a:rPr>
              <a:t>2030</a:t>
            </a:r>
          </a:p>
        </p:txBody>
      </p:sp>
      <p:sp>
        <p:nvSpPr>
          <p:cNvPr id="6" name="TextBox 5">
            <a:extLst>
              <a:ext uri="{FF2B5EF4-FFF2-40B4-BE49-F238E27FC236}">
                <a16:creationId xmlns:a16="http://schemas.microsoft.com/office/drawing/2014/main" id="{6C189B4A-869A-6E1B-2C38-3C1678746ABD}"/>
              </a:ext>
            </a:extLst>
          </p:cNvPr>
          <p:cNvSpPr txBox="1"/>
          <p:nvPr/>
        </p:nvSpPr>
        <p:spPr>
          <a:xfrm>
            <a:off x="5814990" y="2370766"/>
            <a:ext cx="887343" cy="369332"/>
          </a:xfrm>
          <a:prstGeom prst="rect">
            <a:avLst/>
          </a:prstGeom>
          <a:noFill/>
        </p:spPr>
        <p:txBody>
          <a:bodyPr wrap="square" rtlCol="0">
            <a:spAutoFit/>
          </a:bodyPr>
          <a:lstStyle/>
          <a:p>
            <a:pPr algn="ctr"/>
            <a:r>
              <a:rPr lang="en-US" b="1" dirty="0">
                <a:solidFill>
                  <a:schemeClr val="tx1">
                    <a:lumMod val="65000"/>
                    <a:lumOff val="35000"/>
                  </a:schemeClr>
                </a:solidFill>
              </a:rPr>
              <a:t>2044</a:t>
            </a:r>
          </a:p>
        </p:txBody>
      </p:sp>
      <p:cxnSp>
        <p:nvCxnSpPr>
          <p:cNvPr id="8" name="Straight Arrow Connector 7">
            <a:extLst>
              <a:ext uri="{FF2B5EF4-FFF2-40B4-BE49-F238E27FC236}">
                <a16:creationId xmlns:a16="http://schemas.microsoft.com/office/drawing/2014/main" id="{61E39E42-5173-C7C1-C204-B64DF0774E96}"/>
              </a:ext>
            </a:extLst>
          </p:cNvPr>
          <p:cNvCxnSpPr>
            <a:cxnSpLocks/>
            <a:stCxn id="6" idx="0"/>
          </p:cNvCxnSpPr>
          <p:nvPr/>
        </p:nvCxnSpPr>
        <p:spPr>
          <a:xfrm flipH="1" flipV="1">
            <a:off x="6096000" y="1909101"/>
            <a:ext cx="162662" cy="461665"/>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EC7FBB41-6269-4499-DCC4-EE5968A28DF0}"/>
              </a:ext>
            </a:extLst>
          </p:cNvPr>
          <p:cNvCxnSpPr>
            <a:cxnSpLocks/>
            <a:stCxn id="5" idx="0"/>
          </p:cNvCxnSpPr>
          <p:nvPr/>
        </p:nvCxnSpPr>
        <p:spPr>
          <a:xfrm flipH="1" flipV="1">
            <a:off x="2390935" y="5152784"/>
            <a:ext cx="253423" cy="461665"/>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26C7176E-6018-407E-7810-8B0E4D318A46}"/>
              </a:ext>
            </a:extLst>
          </p:cNvPr>
          <p:cNvCxnSpPr>
            <a:cxnSpLocks/>
            <a:stCxn id="5" idx="0"/>
          </p:cNvCxnSpPr>
          <p:nvPr/>
        </p:nvCxnSpPr>
        <p:spPr>
          <a:xfrm flipH="1" flipV="1">
            <a:off x="2305878" y="5152784"/>
            <a:ext cx="338480" cy="461665"/>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475ACCFF-AB60-9416-2B11-16151C9F04D3}"/>
              </a:ext>
            </a:extLst>
          </p:cNvPr>
          <p:cNvSpPr txBox="1"/>
          <p:nvPr/>
        </p:nvSpPr>
        <p:spPr>
          <a:xfrm>
            <a:off x="6428024" y="1255628"/>
            <a:ext cx="793875" cy="369332"/>
          </a:xfrm>
          <a:prstGeom prst="rect">
            <a:avLst/>
          </a:prstGeom>
          <a:noFill/>
        </p:spPr>
        <p:txBody>
          <a:bodyPr wrap="square" rtlCol="0">
            <a:spAutoFit/>
          </a:bodyPr>
          <a:lstStyle/>
          <a:p>
            <a:pPr algn="ctr"/>
            <a:r>
              <a:rPr lang="en-US" b="1" dirty="0">
                <a:solidFill>
                  <a:schemeClr val="tx1">
                    <a:lumMod val="65000"/>
                    <a:lumOff val="35000"/>
                  </a:schemeClr>
                </a:solidFill>
              </a:rPr>
              <a:t>0%</a:t>
            </a:r>
          </a:p>
        </p:txBody>
      </p:sp>
      <p:sp>
        <p:nvSpPr>
          <p:cNvPr id="12" name="TextBox 11">
            <a:extLst>
              <a:ext uri="{FF2B5EF4-FFF2-40B4-BE49-F238E27FC236}">
                <a16:creationId xmlns:a16="http://schemas.microsoft.com/office/drawing/2014/main" id="{23D19D7F-1598-4894-1B8D-CC42A630BE2F}"/>
              </a:ext>
            </a:extLst>
          </p:cNvPr>
          <p:cNvSpPr txBox="1"/>
          <p:nvPr/>
        </p:nvSpPr>
        <p:spPr>
          <a:xfrm>
            <a:off x="6450968" y="1938610"/>
            <a:ext cx="1074385" cy="369332"/>
          </a:xfrm>
          <a:prstGeom prst="rect">
            <a:avLst/>
          </a:prstGeom>
          <a:noFill/>
        </p:spPr>
        <p:txBody>
          <a:bodyPr wrap="square" rtlCol="0">
            <a:spAutoFit/>
          </a:bodyPr>
          <a:lstStyle/>
          <a:p>
            <a:pPr algn="ctr"/>
            <a:r>
              <a:rPr lang="en-US" b="1" dirty="0">
                <a:solidFill>
                  <a:schemeClr val="tx1">
                    <a:lumMod val="65000"/>
                    <a:lumOff val="35000"/>
                  </a:schemeClr>
                </a:solidFill>
              </a:rPr>
              <a:t>2046</a:t>
            </a:r>
          </a:p>
        </p:txBody>
      </p:sp>
      <p:sp>
        <p:nvSpPr>
          <p:cNvPr id="13" name="TextBox 12">
            <a:extLst>
              <a:ext uri="{FF2B5EF4-FFF2-40B4-BE49-F238E27FC236}">
                <a16:creationId xmlns:a16="http://schemas.microsoft.com/office/drawing/2014/main" id="{367F5349-4BB1-DB55-C670-EEA601061A63}"/>
              </a:ext>
            </a:extLst>
          </p:cNvPr>
          <p:cNvSpPr txBox="1"/>
          <p:nvPr/>
        </p:nvSpPr>
        <p:spPr>
          <a:xfrm>
            <a:off x="5787766" y="1252208"/>
            <a:ext cx="793875" cy="369332"/>
          </a:xfrm>
          <a:prstGeom prst="rect">
            <a:avLst/>
          </a:prstGeom>
          <a:noFill/>
        </p:spPr>
        <p:txBody>
          <a:bodyPr wrap="square" rtlCol="0">
            <a:spAutoFit/>
          </a:bodyPr>
          <a:lstStyle/>
          <a:p>
            <a:pPr algn="ctr"/>
            <a:r>
              <a:rPr lang="en-US" b="1" dirty="0">
                <a:solidFill>
                  <a:schemeClr val="tx1">
                    <a:lumMod val="65000"/>
                    <a:lumOff val="35000"/>
                  </a:schemeClr>
                </a:solidFill>
              </a:rPr>
              <a:t>1%</a:t>
            </a:r>
          </a:p>
        </p:txBody>
      </p:sp>
      <p:sp>
        <p:nvSpPr>
          <p:cNvPr id="14" name="TextBox 13">
            <a:extLst>
              <a:ext uri="{FF2B5EF4-FFF2-40B4-BE49-F238E27FC236}">
                <a16:creationId xmlns:a16="http://schemas.microsoft.com/office/drawing/2014/main" id="{1C928586-87B6-AC86-53B7-F7DA0A83449A}"/>
              </a:ext>
            </a:extLst>
          </p:cNvPr>
          <p:cNvSpPr txBox="1"/>
          <p:nvPr/>
        </p:nvSpPr>
        <p:spPr>
          <a:xfrm>
            <a:off x="4970102" y="1252208"/>
            <a:ext cx="793875" cy="369332"/>
          </a:xfrm>
          <a:prstGeom prst="rect">
            <a:avLst/>
          </a:prstGeom>
          <a:noFill/>
        </p:spPr>
        <p:txBody>
          <a:bodyPr wrap="square" rtlCol="0">
            <a:spAutoFit/>
          </a:bodyPr>
          <a:lstStyle/>
          <a:p>
            <a:pPr algn="ctr"/>
            <a:r>
              <a:rPr lang="en-US" b="1" dirty="0">
                <a:solidFill>
                  <a:schemeClr val="tx1">
                    <a:lumMod val="65000"/>
                    <a:lumOff val="35000"/>
                  </a:schemeClr>
                </a:solidFill>
              </a:rPr>
              <a:t>3%</a:t>
            </a:r>
          </a:p>
        </p:txBody>
      </p:sp>
      <p:sp>
        <p:nvSpPr>
          <p:cNvPr id="17" name="TextBox 16">
            <a:extLst>
              <a:ext uri="{FF2B5EF4-FFF2-40B4-BE49-F238E27FC236}">
                <a16:creationId xmlns:a16="http://schemas.microsoft.com/office/drawing/2014/main" id="{D033DFDC-44A9-F3E5-FF21-FF3599B1AD4B}"/>
              </a:ext>
            </a:extLst>
          </p:cNvPr>
          <p:cNvSpPr txBox="1"/>
          <p:nvPr/>
        </p:nvSpPr>
        <p:spPr>
          <a:xfrm>
            <a:off x="4909288" y="2116256"/>
            <a:ext cx="887343" cy="369332"/>
          </a:xfrm>
          <a:prstGeom prst="rect">
            <a:avLst/>
          </a:prstGeom>
          <a:noFill/>
        </p:spPr>
        <p:txBody>
          <a:bodyPr wrap="square" rtlCol="0">
            <a:spAutoFit/>
          </a:bodyPr>
          <a:lstStyle/>
          <a:p>
            <a:pPr algn="ctr"/>
            <a:r>
              <a:rPr lang="en-US" b="1" dirty="0">
                <a:solidFill>
                  <a:schemeClr val="tx1">
                    <a:lumMod val="65000"/>
                    <a:lumOff val="35000"/>
                  </a:schemeClr>
                </a:solidFill>
              </a:rPr>
              <a:t>2041</a:t>
            </a:r>
          </a:p>
        </p:txBody>
      </p:sp>
      <p:cxnSp>
        <p:nvCxnSpPr>
          <p:cNvPr id="18" name="Straight Arrow Connector 17">
            <a:extLst>
              <a:ext uri="{FF2B5EF4-FFF2-40B4-BE49-F238E27FC236}">
                <a16:creationId xmlns:a16="http://schemas.microsoft.com/office/drawing/2014/main" id="{513489A4-0310-0F90-5B22-6B0FD830B22C}"/>
              </a:ext>
            </a:extLst>
          </p:cNvPr>
          <p:cNvCxnSpPr>
            <a:cxnSpLocks/>
          </p:cNvCxnSpPr>
          <p:nvPr/>
        </p:nvCxnSpPr>
        <p:spPr>
          <a:xfrm flipH="1" flipV="1">
            <a:off x="5352961" y="1862131"/>
            <a:ext cx="91635" cy="287176"/>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D1A29C96-FB57-63DB-5D4B-0A5BF3062A6A}"/>
              </a:ext>
            </a:extLst>
          </p:cNvPr>
          <p:cNvSpPr txBox="1"/>
          <p:nvPr/>
        </p:nvSpPr>
        <p:spPr>
          <a:xfrm>
            <a:off x="1503592" y="4263771"/>
            <a:ext cx="887343" cy="369332"/>
          </a:xfrm>
          <a:prstGeom prst="rect">
            <a:avLst/>
          </a:prstGeom>
          <a:noFill/>
        </p:spPr>
        <p:txBody>
          <a:bodyPr wrap="square" rtlCol="0">
            <a:spAutoFit/>
          </a:bodyPr>
          <a:lstStyle/>
          <a:p>
            <a:pPr algn="ctr"/>
            <a:r>
              <a:rPr lang="en-US" b="1" dirty="0">
                <a:solidFill>
                  <a:schemeClr val="tx1">
                    <a:lumMod val="65000"/>
                    <a:lumOff val="35000"/>
                  </a:schemeClr>
                </a:solidFill>
              </a:rPr>
              <a:t>2029</a:t>
            </a:r>
          </a:p>
        </p:txBody>
      </p:sp>
      <p:cxnSp>
        <p:nvCxnSpPr>
          <p:cNvPr id="22" name="Straight Arrow Connector 21">
            <a:extLst>
              <a:ext uri="{FF2B5EF4-FFF2-40B4-BE49-F238E27FC236}">
                <a16:creationId xmlns:a16="http://schemas.microsoft.com/office/drawing/2014/main" id="{B83F64E5-242F-BA38-A5BD-617AD643A9EA}"/>
              </a:ext>
            </a:extLst>
          </p:cNvPr>
          <p:cNvCxnSpPr>
            <a:cxnSpLocks/>
          </p:cNvCxnSpPr>
          <p:nvPr/>
        </p:nvCxnSpPr>
        <p:spPr>
          <a:xfrm>
            <a:off x="1947264" y="4633103"/>
            <a:ext cx="358614" cy="513350"/>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39638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CE917C-486C-A88F-4429-EDA11926495D}"/>
            </a:ext>
          </a:extLst>
        </p:cNvPr>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0641BE66-F2A2-DC6D-E91B-3DE527C6C881}"/>
              </a:ext>
            </a:extLst>
          </p:cNvPr>
          <p:cNvGraphicFramePr>
            <a:graphicFrameLocks/>
          </p:cNvGraphicFramePr>
          <p:nvPr>
            <p:custDataLst>
              <p:tags r:id="rId1"/>
            </p:custDataLst>
            <p:extLst>
              <p:ext uri="{D42A27DB-BD31-4B8C-83A1-F6EECF244321}">
                <p14:modId xmlns:p14="http://schemas.microsoft.com/office/powerpoint/2010/main" val="1272883327"/>
              </p:ext>
            </p:extLst>
          </p:nvPr>
        </p:nvGraphicFramePr>
        <p:xfrm>
          <a:off x="1" y="1274165"/>
          <a:ext cx="12192000" cy="5583835"/>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41AD9849-B57B-26F4-1AA6-61122929BAC7}"/>
              </a:ext>
            </a:extLst>
          </p:cNvPr>
          <p:cNvSpPr>
            <a:spLocks noGrp="1"/>
          </p:cNvSpPr>
          <p:nvPr>
            <p:ph type="title"/>
          </p:nvPr>
        </p:nvSpPr>
        <p:spPr/>
        <p:txBody>
          <a:bodyPr/>
          <a:lstStyle/>
          <a:p>
            <a:r>
              <a:rPr lang="en-US" dirty="0"/>
              <a:t>Statewide Class I Landfill Capacity</a:t>
            </a:r>
          </a:p>
        </p:txBody>
      </p:sp>
      <p:sp>
        <p:nvSpPr>
          <p:cNvPr id="7" name="TextBox 6">
            <a:extLst>
              <a:ext uri="{FF2B5EF4-FFF2-40B4-BE49-F238E27FC236}">
                <a16:creationId xmlns:a16="http://schemas.microsoft.com/office/drawing/2014/main" id="{7A97648A-F491-4402-258F-A28C6B4726E2}"/>
              </a:ext>
            </a:extLst>
          </p:cNvPr>
          <p:cNvSpPr txBox="1"/>
          <p:nvPr/>
        </p:nvSpPr>
        <p:spPr>
          <a:xfrm>
            <a:off x="9393640" y="1909101"/>
            <a:ext cx="2875477" cy="646331"/>
          </a:xfrm>
          <a:prstGeom prst="rect">
            <a:avLst/>
          </a:prstGeom>
          <a:noFill/>
        </p:spPr>
        <p:txBody>
          <a:bodyPr wrap="square" rtlCol="0">
            <a:spAutoFit/>
          </a:bodyPr>
          <a:lstStyle/>
          <a:p>
            <a:pPr algn="ctr"/>
            <a:r>
              <a:rPr lang="en-US" b="1" dirty="0">
                <a:solidFill>
                  <a:schemeClr val="tx1">
                    <a:lumMod val="65000"/>
                    <a:lumOff val="35000"/>
                  </a:schemeClr>
                </a:solidFill>
              </a:rPr>
              <a:t>458.1 M permitted tons remaining as of Jan. 1, 2025</a:t>
            </a:r>
          </a:p>
        </p:txBody>
      </p:sp>
      <p:sp>
        <p:nvSpPr>
          <p:cNvPr id="4" name="TextBox 3">
            <a:extLst>
              <a:ext uri="{FF2B5EF4-FFF2-40B4-BE49-F238E27FC236}">
                <a16:creationId xmlns:a16="http://schemas.microsoft.com/office/drawing/2014/main" id="{4E45ED04-6628-4ADE-A547-36CD6CAC3C37}"/>
              </a:ext>
            </a:extLst>
          </p:cNvPr>
          <p:cNvSpPr txBox="1"/>
          <p:nvPr/>
        </p:nvSpPr>
        <p:spPr>
          <a:xfrm>
            <a:off x="9393641" y="5152784"/>
            <a:ext cx="2875476" cy="646331"/>
          </a:xfrm>
          <a:prstGeom prst="rect">
            <a:avLst/>
          </a:prstGeom>
          <a:noFill/>
        </p:spPr>
        <p:txBody>
          <a:bodyPr wrap="square" rtlCol="0">
            <a:spAutoFit/>
          </a:bodyPr>
          <a:lstStyle/>
          <a:p>
            <a:pPr algn="ctr"/>
            <a:r>
              <a:rPr lang="en-US" b="1" dirty="0">
                <a:solidFill>
                  <a:schemeClr val="tx1">
                    <a:lumMod val="65000"/>
                    <a:lumOff val="35000"/>
                  </a:schemeClr>
                </a:solidFill>
              </a:rPr>
              <a:t>123.1 M constructed tons remaining as of Jan. 1, 2025</a:t>
            </a:r>
          </a:p>
        </p:txBody>
      </p:sp>
      <p:sp>
        <p:nvSpPr>
          <p:cNvPr id="5" name="TextBox 4">
            <a:extLst>
              <a:ext uri="{FF2B5EF4-FFF2-40B4-BE49-F238E27FC236}">
                <a16:creationId xmlns:a16="http://schemas.microsoft.com/office/drawing/2014/main" id="{A6AAC1B2-52A8-C873-DCE1-78103C342C5F}"/>
              </a:ext>
            </a:extLst>
          </p:cNvPr>
          <p:cNvSpPr txBox="1"/>
          <p:nvPr/>
        </p:nvSpPr>
        <p:spPr>
          <a:xfrm>
            <a:off x="2200686" y="5614449"/>
            <a:ext cx="887343" cy="369332"/>
          </a:xfrm>
          <a:prstGeom prst="rect">
            <a:avLst/>
          </a:prstGeom>
          <a:noFill/>
        </p:spPr>
        <p:txBody>
          <a:bodyPr wrap="square" rtlCol="0">
            <a:spAutoFit/>
          </a:bodyPr>
          <a:lstStyle/>
          <a:p>
            <a:pPr algn="ctr"/>
            <a:r>
              <a:rPr lang="en-US" b="1" dirty="0">
                <a:solidFill>
                  <a:schemeClr val="tx1">
                    <a:lumMod val="65000"/>
                    <a:lumOff val="35000"/>
                  </a:schemeClr>
                </a:solidFill>
              </a:rPr>
              <a:t>2030</a:t>
            </a:r>
          </a:p>
        </p:txBody>
      </p:sp>
      <p:sp>
        <p:nvSpPr>
          <p:cNvPr id="6" name="TextBox 5">
            <a:extLst>
              <a:ext uri="{FF2B5EF4-FFF2-40B4-BE49-F238E27FC236}">
                <a16:creationId xmlns:a16="http://schemas.microsoft.com/office/drawing/2014/main" id="{B207AE7C-5E24-1232-0707-2CFD6D83EA7F}"/>
              </a:ext>
            </a:extLst>
          </p:cNvPr>
          <p:cNvSpPr txBox="1"/>
          <p:nvPr/>
        </p:nvSpPr>
        <p:spPr>
          <a:xfrm>
            <a:off x="5814990" y="2370766"/>
            <a:ext cx="887343" cy="369332"/>
          </a:xfrm>
          <a:prstGeom prst="rect">
            <a:avLst/>
          </a:prstGeom>
          <a:noFill/>
        </p:spPr>
        <p:txBody>
          <a:bodyPr wrap="square" rtlCol="0">
            <a:spAutoFit/>
          </a:bodyPr>
          <a:lstStyle/>
          <a:p>
            <a:pPr algn="ctr"/>
            <a:r>
              <a:rPr lang="en-US" b="1" dirty="0">
                <a:solidFill>
                  <a:schemeClr val="tx1">
                    <a:lumMod val="65000"/>
                    <a:lumOff val="35000"/>
                  </a:schemeClr>
                </a:solidFill>
              </a:rPr>
              <a:t>2044</a:t>
            </a:r>
          </a:p>
        </p:txBody>
      </p:sp>
      <p:cxnSp>
        <p:nvCxnSpPr>
          <p:cNvPr id="8" name="Straight Arrow Connector 7">
            <a:extLst>
              <a:ext uri="{FF2B5EF4-FFF2-40B4-BE49-F238E27FC236}">
                <a16:creationId xmlns:a16="http://schemas.microsoft.com/office/drawing/2014/main" id="{D86AD49B-3FE6-9C4C-AC06-5069BAEEB695}"/>
              </a:ext>
            </a:extLst>
          </p:cNvPr>
          <p:cNvCxnSpPr>
            <a:cxnSpLocks/>
            <a:stCxn id="6" idx="0"/>
          </p:cNvCxnSpPr>
          <p:nvPr/>
        </p:nvCxnSpPr>
        <p:spPr>
          <a:xfrm flipH="1" flipV="1">
            <a:off x="6096000" y="1909101"/>
            <a:ext cx="162662" cy="461665"/>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32FDBD00-3F20-0D97-B94E-D05608CEEAC9}"/>
              </a:ext>
            </a:extLst>
          </p:cNvPr>
          <p:cNvCxnSpPr>
            <a:cxnSpLocks/>
            <a:stCxn id="5" idx="0"/>
          </p:cNvCxnSpPr>
          <p:nvPr/>
        </p:nvCxnSpPr>
        <p:spPr>
          <a:xfrm flipH="1" flipV="1">
            <a:off x="2390935" y="5152784"/>
            <a:ext cx="253423" cy="461665"/>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62D6E7CE-AAD9-36DA-50E4-7E07491BBE0D}"/>
              </a:ext>
            </a:extLst>
          </p:cNvPr>
          <p:cNvCxnSpPr>
            <a:cxnSpLocks/>
            <a:stCxn id="5" idx="0"/>
          </p:cNvCxnSpPr>
          <p:nvPr/>
        </p:nvCxnSpPr>
        <p:spPr>
          <a:xfrm flipH="1" flipV="1">
            <a:off x="2305878" y="5152784"/>
            <a:ext cx="338480" cy="461665"/>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A5D1DC3D-B6D5-12AE-6A32-BA91897CCD81}"/>
              </a:ext>
            </a:extLst>
          </p:cNvPr>
          <p:cNvSpPr txBox="1"/>
          <p:nvPr/>
        </p:nvSpPr>
        <p:spPr>
          <a:xfrm>
            <a:off x="6428024" y="1255628"/>
            <a:ext cx="793875" cy="369332"/>
          </a:xfrm>
          <a:prstGeom prst="rect">
            <a:avLst/>
          </a:prstGeom>
          <a:noFill/>
        </p:spPr>
        <p:txBody>
          <a:bodyPr wrap="square" rtlCol="0">
            <a:spAutoFit/>
          </a:bodyPr>
          <a:lstStyle/>
          <a:p>
            <a:pPr algn="ctr"/>
            <a:r>
              <a:rPr lang="en-US" b="1" dirty="0">
                <a:solidFill>
                  <a:schemeClr val="tx1">
                    <a:lumMod val="65000"/>
                    <a:lumOff val="35000"/>
                  </a:schemeClr>
                </a:solidFill>
              </a:rPr>
              <a:t>0%</a:t>
            </a:r>
          </a:p>
        </p:txBody>
      </p:sp>
      <p:sp>
        <p:nvSpPr>
          <p:cNvPr id="12" name="TextBox 11">
            <a:extLst>
              <a:ext uri="{FF2B5EF4-FFF2-40B4-BE49-F238E27FC236}">
                <a16:creationId xmlns:a16="http://schemas.microsoft.com/office/drawing/2014/main" id="{D3692132-32B3-BFE2-02FF-E4C04878B375}"/>
              </a:ext>
            </a:extLst>
          </p:cNvPr>
          <p:cNvSpPr txBox="1"/>
          <p:nvPr/>
        </p:nvSpPr>
        <p:spPr>
          <a:xfrm>
            <a:off x="6450968" y="1938610"/>
            <a:ext cx="1074385" cy="369332"/>
          </a:xfrm>
          <a:prstGeom prst="rect">
            <a:avLst/>
          </a:prstGeom>
          <a:noFill/>
        </p:spPr>
        <p:txBody>
          <a:bodyPr wrap="square" rtlCol="0">
            <a:spAutoFit/>
          </a:bodyPr>
          <a:lstStyle/>
          <a:p>
            <a:pPr algn="ctr"/>
            <a:r>
              <a:rPr lang="en-US" b="1" dirty="0">
                <a:solidFill>
                  <a:schemeClr val="tx1">
                    <a:lumMod val="65000"/>
                    <a:lumOff val="35000"/>
                  </a:schemeClr>
                </a:solidFill>
              </a:rPr>
              <a:t>2046</a:t>
            </a:r>
          </a:p>
        </p:txBody>
      </p:sp>
      <p:sp>
        <p:nvSpPr>
          <p:cNvPr id="13" name="TextBox 12">
            <a:extLst>
              <a:ext uri="{FF2B5EF4-FFF2-40B4-BE49-F238E27FC236}">
                <a16:creationId xmlns:a16="http://schemas.microsoft.com/office/drawing/2014/main" id="{183BFCAC-0D34-92CE-65F6-95634FDDB38F}"/>
              </a:ext>
            </a:extLst>
          </p:cNvPr>
          <p:cNvSpPr txBox="1"/>
          <p:nvPr/>
        </p:nvSpPr>
        <p:spPr>
          <a:xfrm>
            <a:off x="5787766" y="1252208"/>
            <a:ext cx="793875" cy="369332"/>
          </a:xfrm>
          <a:prstGeom prst="rect">
            <a:avLst/>
          </a:prstGeom>
          <a:noFill/>
        </p:spPr>
        <p:txBody>
          <a:bodyPr wrap="square" rtlCol="0">
            <a:spAutoFit/>
          </a:bodyPr>
          <a:lstStyle/>
          <a:p>
            <a:pPr algn="ctr"/>
            <a:r>
              <a:rPr lang="en-US" b="1" dirty="0">
                <a:solidFill>
                  <a:schemeClr val="tx1">
                    <a:lumMod val="65000"/>
                    <a:lumOff val="35000"/>
                  </a:schemeClr>
                </a:solidFill>
              </a:rPr>
              <a:t>1%</a:t>
            </a:r>
          </a:p>
        </p:txBody>
      </p:sp>
      <p:sp>
        <p:nvSpPr>
          <p:cNvPr id="14" name="TextBox 13">
            <a:extLst>
              <a:ext uri="{FF2B5EF4-FFF2-40B4-BE49-F238E27FC236}">
                <a16:creationId xmlns:a16="http://schemas.microsoft.com/office/drawing/2014/main" id="{99B43C2A-A15A-9B1D-263C-738CD7A2F607}"/>
              </a:ext>
            </a:extLst>
          </p:cNvPr>
          <p:cNvSpPr txBox="1"/>
          <p:nvPr/>
        </p:nvSpPr>
        <p:spPr>
          <a:xfrm>
            <a:off x="4970102" y="1252208"/>
            <a:ext cx="793875" cy="369332"/>
          </a:xfrm>
          <a:prstGeom prst="rect">
            <a:avLst/>
          </a:prstGeom>
          <a:noFill/>
        </p:spPr>
        <p:txBody>
          <a:bodyPr wrap="square" rtlCol="0">
            <a:spAutoFit/>
          </a:bodyPr>
          <a:lstStyle/>
          <a:p>
            <a:pPr algn="ctr"/>
            <a:r>
              <a:rPr lang="en-US" b="1" dirty="0">
                <a:solidFill>
                  <a:schemeClr val="tx1">
                    <a:lumMod val="65000"/>
                    <a:lumOff val="35000"/>
                  </a:schemeClr>
                </a:solidFill>
              </a:rPr>
              <a:t>3%</a:t>
            </a:r>
          </a:p>
        </p:txBody>
      </p:sp>
      <p:sp>
        <p:nvSpPr>
          <p:cNvPr id="16" name="TextBox 15">
            <a:extLst>
              <a:ext uri="{FF2B5EF4-FFF2-40B4-BE49-F238E27FC236}">
                <a16:creationId xmlns:a16="http://schemas.microsoft.com/office/drawing/2014/main" id="{B972A1B5-E5CE-CE5B-CCE9-F36185F54D87}"/>
              </a:ext>
            </a:extLst>
          </p:cNvPr>
          <p:cNvSpPr txBox="1"/>
          <p:nvPr/>
        </p:nvSpPr>
        <p:spPr>
          <a:xfrm>
            <a:off x="4344112" y="1255628"/>
            <a:ext cx="793875" cy="369332"/>
          </a:xfrm>
          <a:prstGeom prst="rect">
            <a:avLst/>
          </a:prstGeom>
          <a:noFill/>
        </p:spPr>
        <p:txBody>
          <a:bodyPr wrap="square" rtlCol="0">
            <a:spAutoFit/>
          </a:bodyPr>
          <a:lstStyle/>
          <a:p>
            <a:pPr algn="ctr"/>
            <a:r>
              <a:rPr lang="en-US" b="1" dirty="0">
                <a:solidFill>
                  <a:schemeClr val="tx1">
                    <a:lumMod val="65000"/>
                    <a:lumOff val="35000"/>
                  </a:schemeClr>
                </a:solidFill>
              </a:rPr>
              <a:t>5%</a:t>
            </a:r>
          </a:p>
        </p:txBody>
      </p:sp>
      <p:sp>
        <p:nvSpPr>
          <p:cNvPr id="17" name="TextBox 16">
            <a:extLst>
              <a:ext uri="{FF2B5EF4-FFF2-40B4-BE49-F238E27FC236}">
                <a16:creationId xmlns:a16="http://schemas.microsoft.com/office/drawing/2014/main" id="{DDCDF9E4-5D5C-B330-16D3-49E92E7CB9C6}"/>
              </a:ext>
            </a:extLst>
          </p:cNvPr>
          <p:cNvSpPr txBox="1"/>
          <p:nvPr/>
        </p:nvSpPr>
        <p:spPr>
          <a:xfrm>
            <a:off x="4909288" y="2116256"/>
            <a:ext cx="887343" cy="369332"/>
          </a:xfrm>
          <a:prstGeom prst="rect">
            <a:avLst/>
          </a:prstGeom>
          <a:noFill/>
        </p:spPr>
        <p:txBody>
          <a:bodyPr wrap="square" rtlCol="0">
            <a:spAutoFit/>
          </a:bodyPr>
          <a:lstStyle/>
          <a:p>
            <a:pPr algn="ctr"/>
            <a:r>
              <a:rPr lang="en-US" b="1" dirty="0">
                <a:solidFill>
                  <a:schemeClr val="tx1">
                    <a:lumMod val="65000"/>
                    <a:lumOff val="35000"/>
                  </a:schemeClr>
                </a:solidFill>
              </a:rPr>
              <a:t>2041</a:t>
            </a:r>
          </a:p>
        </p:txBody>
      </p:sp>
      <p:cxnSp>
        <p:nvCxnSpPr>
          <p:cNvPr id="18" name="Straight Arrow Connector 17">
            <a:extLst>
              <a:ext uri="{FF2B5EF4-FFF2-40B4-BE49-F238E27FC236}">
                <a16:creationId xmlns:a16="http://schemas.microsoft.com/office/drawing/2014/main" id="{2DF9A2BD-00A2-EAEE-890E-CC437787ABEC}"/>
              </a:ext>
            </a:extLst>
          </p:cNvPr>
          <p:cNvCxnSpPr>
            <a:cxnSpLocks/>
          </p:cNvCxnSpPr>
          <p:nvPr/>
        </p:nvCxnSpPr>
        <p:spPr>
          <a:xfrm flipH="1" flipV="1">
            <a:off x="5352961" y="1862131"/>
            <a:ext cx="91635" cy="287176"/>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01577C92-808B-8F6A-A8C6-BF2DB30F3F26}"/>
              </a:ext>
            </a:extLst>
          </p:cNvPr>
          <p:cNvSpPr txBox="1"/>
          <p:nvPr/>
        </p:nvSpPr>
        <p:spPr>
          <a:xfrm>
            <a:off x="3757786" y="1889662"/>
            <a:ext cx="1074385" cy="369332"/>
          </a:xfrm>
          <a:prstGeom prst="rect">
            <a:avLst/>
          </a:prstGeom>
          <a:noFill/>
        </p:spPr>
        <p:txBody>
          <a:bodyPr wrap="square" rtlCol="0">
            <a:spAutoFit/>
          </a:bodyPr>
          <a:lstStyle/>
          <a:p>
            <a:pPr algn="ctr"/>
            <a:r>
              <a:rPr lang="en-US" b="1" dirty="0">
                <a:solidFill>
                  <a:schemeClr val="tx1">
                    <a:lumMod val="65000"/>
                    <a:lumOff val="35000"/>
                  </a:schemeClr>
                </a:solidFill>
              </a:rPr>
              <a:t>2039</a:t>
            </a:r>
          </a:p>
        </p:txBody>
      </p:sp>
      <p:sp>
        <p:nvSpPr>
          <p:cNvPr id="21" name="TextBox 20">
            <a:extLst>
              <a:ext uri="{FF2B5EF4-FFF2-40B4-BE49-F238E27FC236}">
                <a16:creationId xmlns:a16="http://schemas.microsoft.com/office/drawing/2014/main" id="{921E214A-2FC8-98F2-7E71-967E015467EB}"/>
              </a:ext>
            </a:extLst>
          </p:cNvPr>
          <p:cNvSpPr txBox="1"/>
          <p:nvPr/>
        </p:nvSpPr>
        <p:spPr>
          <a:xfrm>
            <a:off x="1503592" y="4263771"/>
            <a:ext cx="887343" cy="369332"/>
          </a:xfrm>
          <a:prstGeom prst="rect">
            <a:avLst/>
          </a:prstGeom>
          <a:noFill/>
        </p:spPr>
        <p:txBody>
          <a:bodyPr wrap="square" rtlCol="0">
            <a:spAutoFit/>
          </a:bodyPr>
          <a:lstStyle/>
          <a:p>
            <a:pPr algn="ctr"/>
            <a:r>
              <a:rPr lang="en-US" b="1" dirty="0">
                <a:solidFill>
                  <a:schemeClr val="tx1">
                    <a:lumMod val="65000"/>
                    <a:lumOff val="35000"/>
                  </a:schemeClr>
                </a:solidFill>
              </a:rPr>
              <a:t>2029</a:t>
            </a:r>
          </a:p>
        </p:txBody>
      </p:sp>
      <p:cxnSp>
        <p:nvCxnSpPr>
          <p:cNvPr id="22" name="Straight Arrow Connector 21">
            <a:extLst>
              <a:ext uri="{FF2B5EF4-FFF2-40B4-BE49-F238E27FC236}">
                <a16:creationId xmlns:a16="http://schemas.microsoft.com/office/drawing/2014/main" id="{66C57D3D-A867-B0B5-B167-51480F7C8D58}"/>
              </a:ext>
            </a:extLst>
          </p:cNvPr>
          <p:cNvCxnSpPr>
            <a:cxnSpLocks/>
          </p:cNvCxnSpPr>
          <p:nvPr/>
        </p:nvCxnSpPr>
        <p:spPr>
          <a:xfrm>
            <a:off x="1947264" y="4633103"/>
            <a:ext cx="358614" cy="513350"/>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113C91D5-55F1-E7CD-714D-9237E49BC7FA}"/>
              </a:ext>
            </a:extLst>
          </p:cNvPr>
          <p:cNvCxnSpPr>
            <a:cxnSpLocks/>
            <a:stCxn id="21" idx="2"/>
          </p:cNvCxnSpPr>
          <p:nvPr/>
        </p:nvCxnSpPr>
        <p:spPr>
          <a:xfrm>
            <a:off x="1947264" y="4633103"/>
            <a:ext cx="253422" cy="519681"/>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72253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58EE3B-B430-BFB9-314A-B10ACD18D2E8}"/>
            </a:ext>
          </a:extLst>
        </p:cNvPr>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64E3422E-31FE-BAE3-93E0-A837807033BD}"/>
              </a:ext>
            </a:extLst>
          </p:cNvPr>
          <p:cNvGraphicFramePr>
            <a:graphicFrameLocks/>
          </p:cNvGraphicFramePr>
          <p:nvPr>
            <p:custDataLst>
              <p:tags r:id="rId1"/>
            </p:custDataLst>
            <p:extLst>
              <p:ext uri="{D42A27DB-BD31-4B8C-83A1-F6EECF244321}">
                <p14:modId xmlns:p14="http://schemas.microsoft.com/office/powerpoint/2010/main" val="1982797269"/>
              </p:ext>
            </p:extLst>
          </p:nvPr>
        </p:nvGraphicFramePr>
        <p:xfrm>
          <a:off x="1" y="1274165"/>
          <a:ext cx="12192000" cy="5583835"/>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29D3F460-56E0-69CB-5E94-538FB1A038C7}"/>
              </a:ext>
            </a:extLst>
          </p:cNvPr>
          <p:cNvSpPr>
            <a:spLocks noGrp="1"/>
          </p:cNvSpPr>
          <p:nvPr>
            <p:ph type="title"/>
          </p:nvPr>
        </p:nvSpPr>
        <p:spPr/>
        <p:txBody>
          <a:bodyPr/>
          <a:lstStyle/>
          <a:p>
            <a:r>
              <a:rPr lang="en-US" dirty="0"/>
              <a:t>Statewide Class I Landfill Capacity</a:t>
            </a:r>
          </a:p>
        </p:txBody>
      </p:sp>
      <p:sp>
        <p:nvSpPr>
          <p:cNvPr id="7" name="TextBox 6">
            <a:extLst>
              <a:ext uri="{FF2B5EF4-FFF2-40B4-BE49-F238E27FC236}">
                <a16:creationId xmlns:a16="http://schemas.microsoft.com/office/drawing/2014/main" id="{B46BF10D-6166-EEB7-D40A-B7936180D54B}"/>
              </a:ext>
            </a:extLst>
          </p:cNvPr>
          <p:cNvSpPr txBox="1"/>
          <p:nvPr/>
        </p:nvSpPr>
        <p:spPr>
          <a:xfrm>
            <a:off x="9393640" y="1909101"/>
            <a:ext cx="2875477" cy="646331"/>
          </a:xfrm>
          <a:prstGeom prst="rect">
            <a:avLst/>
          </a:prstGeom>
          <a:noFill/>
        </p:spPr>
        <p:txBody>
          <a:bodyPr wrap="square" rtlCol="0">
            <a:spAutoFit/>
          </a:bodyPr>
          <a:lstStyle/>
          <a:p>
            <a:pPr algn="ctr"/>
            <a:r>
              <a:rPr lang="en-US" b="1" dirty="0">
                <a:solidFill>
                  <a:schemeClr val="tx1">
                    <a:lumMod val="65000"/>
                    <a:lumOff val="35000"/>
                  </a:schemeClr>
                </a:solidFill>
              </a:rPr>
              <a:t>458.1 M permitted tons remaining as of Jan. 1, 2025</a:t>
            </a:r>
          </a:p>
        </p:txBody>
      </p:sp>
      <p:sp>
        <p:nvSpPr>
          <p:cNvPr id="4" name="TextBox 3">
            <a:extLst>
              <a:ext uri="{FF2B5EF4-FFF2-40B4-BE49-F238E27FC236}">
                <a16:creationId xmlns:a16="http://schemas.microsoft.com/office/drawing/2014/main" id="{5CEB9490-E264-CE3D-F5CA-BBB2A68D45D7}"/>
              </a:ext>
            </a:extLst>
          </p:cNvPr>
          <p:cNvSpPr txBox="1"/>
          <p:nvPr/>
        </p:nvSpPr>
        <p:spPr>
          <a:xfrm>
            <a:off x="9393641" y="5152784"/>
            <a:ext cx="2875476" cy="646331"/>
          </a:xfrm>
          <a:prstGeom prst="rect">
            <a:avLst/>
          </a:prstGeom>
          <a:noFill/>
        </p:spPr>
        <p:txBody>
          <a:bodyPr wrap="square" rtlCol="0">
            <a:spAutoFit/>
          </a:bodyPr>
          <a:lstStyle/>
          <a:p>
            <a:pPr algn="ctr"/>
            <a:r>
              <a:rPr lang="en-US" b="1" dirty="0">
                <a:solidFill>
                  <a:schemeClr val="tx1">
                    <a:lumMod val="65000"/>
                    <a:lumOff val="35000"/>
                  </a:schemeClr>
                </a:solidFill>
              </a:rPr>
              <a:t>123.1 M constructed tons remaining as of Jan. 1, 2025</a:t>
            </a:r>
          </a:p>
        </p:txBody>
      </p:sp>
      <p:sp>
        <p:nvSpPr>
          <p:cNvPr id="22" name="TextBox 21">
            <a:extLst>
              <a:ext uri="{FF2B5EF4-FFF2-40B4-BE49-F238E27FC236}">
                <a16:creationId xmlns:a16="http://schemas.microsoft.com/office/drawing/2014/main" id="{BAC44E12-8259-138C-ADDF-7BA971335BB5}"/>
              </a:ext>
            </a:extLst>
          </p:cNvPr>
          <p:cNvSpPr txBox="1"/>
          <p:nvPr/>
        </p:nvSpPr>
        <p:spPr>
          <a:xfrm>
            <a:off x="6428024" y="1255628"/>
            <a:ext cx="793875" cy="369332"/>
          </a:xfrm>
          <a:prstGeom prst="rect">
            <a:avLst/>
          </a:prstGeom>
          <a:noFill/>
        </p:spPr>
        <p:txBody>
          <a:bodyPr wrap="square" rtlCol="0">
            <a:spAutoFit/>
          </a:bodyPr>
          <a:lstStyle/>
          <a:p>
            <a:pPr algn="ctr"/>
            <a:r>
              <a:rPr lang="en-US" b="1" dirty="0">
                <a:solidFill>
                  <a:schemeClr val="tx1">
                    <a:lumMod val="65000"/>
                    <a:lumOff val="35000"/>
                  </a:schemeClr>
                </a:solidFill>
              </a:rPr>
              <a:t>0%</a:t>
            </a:r>
          </a:p>
        </p:txBody>
      </p:sp>
      <p:sp>
        <p:nvSpPr>
          <p:cNvPr id="23" name="TextBox 22">
            <a:extLst>
              <a:ext uri="{FF2B5EF4-FFF2-40B4-BE49-F238E27FC236}">
                <a16:creationId xmlns:a16="http://schemas.microsoft.com/office/drawing/2014/main" id="{B09AF502-A470-B6BD-F64A-AB67E010807C}"/>
              </a:ext>
            </a:extLst>
          </p:cNvPr>
          <p:cNvSpPr txBox="1"/>
          <p:nvPr/>
        </p:nvSpPr>
        <p:spPr>
          <a:xfrm>
            <a:off x="6037943" y="1971295"/>
            <a:ext cx="1074385" cy="369332"/>
          </a:xfrm>
          <a:prstGeom prst="rect">
            <a:avLst/>
          </a:prstGeom>
          <a:noFill/>
        </p:spPr>
        <p:txBody>
          <a:bodyPr wrap="square" rtlCol="0">
            <a:spAutoFit/>
          </a:bodyPr>
          <a:lstStyle/>
          <a:p>
            <a:pPr algn="ctr"/>
            <a:r>
              <a:rPr lang="en-US" b="1" dirty="0">
                <a:solidFill>
                  <a:schemeClr val="tx1">
                    <a:lumMod val="65000"/>
                    <a:lumOff val="35000"/>
                  </a:schemeClr>
                </a:solidFill>
              </a:rPr>
              <a:t>2046</a:t>
            </a:r>
          </a:p>
        </p:txBody>
      </p:sp>
      <p:sp>
        <p:nvSpPr>
          <p:cNvPr id="24" name="TextBox 23">
            <a:extLst>
              <a:ext uri="{FF2B5EF4-FFF2-40B4-BE49-F238E27FC236}">
                <a16:creationId xmlns:a16="http://schemas.microsoft.com/office/drawing/2014/main" id="{FC01DA24-2633-C500-BC1D-0FA4F2B2EB11}"/>
              </a:ext>
            </a:extLst>
          </p:cNvPr>
          <p:cNvSpPr txBox="1"/>
          <p:nvPr/>
        </p:nvSpPr>
        <p:spPr>
          <a:xfrm>
            <a:off x="7266224" y="1255628"/>
            <a:ext cx="793875" cy="369332"/>
          </a:xfrm>
          <a:prstGeom prst="rect">
            <a:avLst/>
          </a:prstGeom>
          <a:noFill/>
        </p:spPr>
        <p:txBody>
          <a:bodyPr wrap="square" rtlCol="0">
            <a:spAutoFit/>
          </a:bodyPr>
          <a:lstStyle/>
          <a:p>
            <a:pPr algn="ctr"/>
            <a:r>
              <a:rPr lang="en-US" b="1" dirty="0">
                <a:solidFill>
                  <a:schemeClr val="tx1">
                    <a:lumMod val="65000"/>
                    <a:lumOff val="35000"/>
                  </a:schemeClr>
                </a:solidFill>
              </a:rPr>
              <a:t>-1%</a:t>
            </a:r>
          </a:p>
        </p:txBody>
      </p:sp>
      <p:cxnSp>
        <p:nvCxnSpPr>
          <p:cNvPr id="25" name="Straight Arrow Connector 24">
            <a:extLst>
              <a:ext uri="{FF2B5EF4-FFF2-40B4-BE49-F238E27FC236}">
                <a16:creationId xmlns:a16="http://schemas.microsoft.com/office/drawing/2014/main" id="{257B5357-BA81-8F58-E39B-D5EC6118631E}"/>
              </a:ext>
            </a:extLst>
          </p:cNvPr>
          <p:cNvCxnSpPr>
            <a:cxnSpLocks/>
          </p:cNvCxnSpPr>
          <p:nvPr/>
        </p:nvCxnSpPr>
        <p:spPr>
          <a:xfrm flipH="1" flipV="1">
            <a:off x="6629842" y="1866204"/>
            <a:ext cx="75758" cy="197058"/>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7D66C9AA-EBF7-7E75-8E1B-7252593619B8}"/>
              </a:ext>
            </a:extLst>
          </p:cNvPr>
          <p:cNvSpPr txBox="1"/>
          <p:nvPr/>
        </p:nvSpPr>
        <p:spPr>
          <a:xfrm>
            <a:off x="6866643" y="2024750"/>
            <a:ext cx="1074385" cy="369332"/>
          </a:xfrm>
          <a:prstGeom prst="rect">
            <a:avLst/>
          </a:prstGeom>
          <a:noFill/>
        </p:spPr>
        <p:txBody>
          <a:bodyPr wrap="square" rtlCol="0">
            <a:spAutoFit/>
          </a:bodyPr>
          <a:lstStyle/>
          <a:p>
            <a:pPr algn="ctr"/>
            <a:r>
              <a:rPr lang="en-US" b="1" dirty="0">
                <a:solidFill>
                  <a:schemeClr val="tx1">
                    <a:lumMod val="65000"/>
                    <a:lumOff val="35000"/>
                  </a:schemeClr>
                </a:solidFill>
              </a:rPr>
              <a:t>2049</a:t>
            </a:r>
          </a:p>
        </p:txBody>
      </p:sp>
      <p:sp>
        <p:nvSpPr>
          <p:cNvPr id="33" name="TextBox 32">
            <a:extLst>
              <a:ext uri="{FF2B5EF4-FFF2-40B4-BE49-F238E27FC236}">
                <a16:creationId xmlns:a16="http://schemas.microsoft.com/office/drawing/2014/main" id="{4BD0A8C3-12A3-F044-203F-3D732A0C4EBA}"/>
              </a:ext>
            </a:extLst>
          </p:cNvPr>
          <p:cNvSpPr txBox="1"/>
          <p:nvPr/>
        </p:nvSpPr>
        <p:spPr>
          <a:xfrm>
            <a:off x="2200686" y="5614449"/>
            <a:ext cx="887343" cy="369332"/>
          </a:xfrm>
          <a:prstGeom prst="rect">
            <a:avLst/>
          </a:prstGeom>
          <a:noFill/>
        </p:spPr>
        <p:txBody>
          <a:bodyPr wrap="square" rtlCol="0">
            <a:spAutoFit/>
          </a:bodyPr>
          <a:lstStyle/>
          <a:p>
            <a:pPr algn="ctr"/>
            <a:r>
              <a:rPr lang="en-US" b="1" dirty="0">
                <a:solidFill>
                  <a:schemeClr val="tx1">
                    <a:lumMod val="65000"/>
                    <a:lumOff val="35000"/>
                  </a:schemeClr>
                </a:solidFill>
              </a:rPr>
              <a:t>2030</a:t>
            </a:r>
          </a:p>
        </p:txBody>
      </p:sp>
      <p:cxnSp>
        <p:nvCxnSpPr>
          <p:cNvPr id="34" name="Straight Arrow Connector 33">
            <a:extLst>
              <a:ext uri="{FF2B5EF4-FFF2-40B4-BE49-F238E27FC236}">
                <a16:creationId xmlns:a16="http://schemas.microsoft.com/office/drawing/2014/main" id="{8317E2A0-B469-3716-E305-95A27F3EB157}"/>
              </a:ext>
            </a:extLst>
          </p:cNvPr>
          <p:cNvCxnSpPr>
            <a:cxnSpLocks/>
            <a:stCxn id="33" idx="0"/>
          </p:cNvCxnSpPr>
          <p:nvPr/>
        </p:nvCxnSpPr>
        <p:spPr>
          <a:xfrm flipH="1" flipV="1">
            <a:off x="2390935" y="5152784"/>
            <a:ext cx="253423" cy="461665"/>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9D73F7EC-7373-D431-8C10-1D4A700E2452}"/>
              </a:ext>
            </a:extLst>
          </p:cNvPr>
          <p:cNvCxnSpPr>
            <a:cxnSpLocks/>
            <a:stCxn id="33" idx="0"/>
          </p:cNvCxnSpPr>
          <p:nvPr/>
        </p:nvCxnSpPr>
        <p:spPr>
          <a:xfrm flipH="1" flipV="1">
            <a:off x="2305878" y="5152784"/>
            <a:ext cx="338480" cy="461665"/>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67144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28D80A-EE47-234F-4C48-B24036F22341}"/>
            </a:ext>
          </a:extLst>
        </p:cNvPr>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36050913-B442-92B3-6F07-7B1F0E3BE733}"/>
              </a:ext>
            </a:extLst>
          </p:cNvPr>
          <p:cNvGraphicFramePr>
            <a:graphicFrameLocks/>
          </p:cNvGraphicFramePr>
          <p:nvPr>
            <p:custDataLst>
              <p:tags r:id="rId1"/>
            </p:custDataLst>
          </p:nvPr>
        </p:nvGraphicFramePr>
        <p:xfrm>
          <a:off x="1" y="1274165"/>
          <a:ext cx="12192000" cy="5583835"/>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52BAD76D-074C-4E28-A8EC-D51E05C310DE}"/>
              </a:ext>
            </a:extLst>
          </p:cNvPr>
          <p:cNvSpPr>
            <a:spLocks noGrp="1"/>
          </p:cNvSpPr>
          <p:nvPr>
            <p:ph type="title"/>
          </p:nvPr>
        </p:nvSpPr>
        <p:spPr/>
        <p:txBody>
          <a:bodyPr/>
          <a:lstStyle/>
          <a:p>
            <a:r>
              <a:rPr lang="en-US" dirty="0"/>
              <a:t>Statewide Class I Landfill Capacity</a:t>
            </a:r>
          </a:p>
        </p:txBody>
      </p:sp>
      <p:sp>
        <p:nvSpPr>
          <p:cNvPr id="7" name="TextBox 6">
            <a:extLst>
              <a:ext uri="{FF2B5EF4-FFF2-40B4-BE49-F238E27FC236}">
                <a16:creationId xmlns:a16="http://schemas.microsoft.com/office/drawing/2014/main" id="{EF7E2831-A5DF-5E95-BF07-73EE5C78B9FE}"/>
              </a:ext>
            </a:extLst>
          </p:cNvPr>
          <p:cNvSpPr txBox="1"/>
          <p:nvPr/>
        </p:nvSpPr>
        <p:spPr>
          <a:xfrm>
            <a:off x="9393640" y="1909101"/>
            <a:ext cx="2875477" cy="646331"/>
          </a:xfrm>
          <a:prstGeom prst="rect">
            <a:avLst/>
          </a:prstGeom>
          <a:noFill/>
        </p:spPr>
        <p:txBody>
          <a:bodyPr wrap="square" rtlCol="0">
            <a:spAutoFit/>
          </a:bodyPr>
          <a:lstStyle/>
          <a:p>
            <a:pPr algn="ctr"/>
            <a:r>
              <a:rPr lang="en-US" b="1" dirty="0">
                <a:solidFill>
                  <a:schemeClr val="tx1">
                    <a:lumMod val="65000"/>
                    <a:lumOff val="35000"/>
                  </a:schemeClr>
                </a:solidFill>
              </a:rPr>
              <a:t>458.1 M permitted tons remaining as of Jan. 1, 2025</a:t>
            </a:r>
          </a:p>
        </p:txBody>
      </p:sp>
      <p:sp>
        <p:nvSpPr>
          <p:cNvPr id="4" name="TextBox 3">
            <a:extLst>
              <a:ext uri="{FF2B5EF4-FFF2-40B4-BE49-F238E27FC236}">
                <a16:creationId xmlns:a16="http://schemas.microsoft.com/office/drawing/2014/main" id="{30146EA9-B3F2-F3C2-133A-02059DFD2802}"/>
              </a:ext>
            </a:extLst>
          </p:cNvPr>
          <p:cNvSpPr txBox="1"/>
          <p:nvPr/>
        </p:nvSpPr>
        <p:spPr>
          <a:xfrm>
            <a:off x="9393641" y="5152784"/>
            <a:ext cx="2875476" cy="646331"/>
          </a:xfrm>
          <a:prstGeom prst="rect">
            <a:avLst/>
          </a:prstGeom>
          <a:noFill/>
        </p:spPr>
        <p:txBody>
          <a:bodyPr wrap="square" rtlCol="0">
            <a:spAutoFit/>
          </a:bodyPr>
          <a:lstStyle/>
          <a:p>
            <a:pPr algn="ctr"/>
            <a:r>
              <a:rPr lang="en-US" b="1" dirty="0">
                <a:solidFill>
                  <a:schemeClr val="tx1">
                    <a:lumMod val="65000"/>
                    <a:lumOff val="35000"/>
                  </a:schemeClr>
                </a:solidFill>
              </a:rPr>
              <a:t>123.1 M constructed tons remaining as of Jan. 1, 2025</a:t>
            </a:r>
          </a:p>
        </p:txBody>
      </p:sp>
      <p:sp>
        <p:nvSpPr>
          <p:cNvPr id="22" name="TextBox 21">
            <a:extLst>
              <a:ext uri="{FF2B5EF4-FFF2-40B4-BE49-F238E27FC236}">
                <a16:creationId xmlns:a16="http://schemas.microsoft.com/office/drawing/2014/main" id="{64AFA177-53E9-22DE-C8A3-21701092E9F9}"/>
              </a:ext>
            </a:extLst>
          </p:cNvPr>
          <p:cNvSpPr txBox="1"/>
          <p:nvPr/>
        </p:nvSpPr>
        <p:spPr>
          <a:xfrm>
            <a:off x="6428024" y="1255628"/>
            <a:ext cx="793875" cy="369332"/>
          </a:xfrm>
          <a:prstGeom prst="rect">
            <a:avLst/>
          </a:prstGeom>
          <a:noFill/>
        </p:spPr>
        <p:txBody>
          <a:bodyPr wrap="square" rtlCol="0">
            <a:spAutoFit/>
          </a:bodyPr>
          <a:lstStyle/>
          <a:p>
            <a:pPr algn="ctr"/>
            <a:r>
              <a:rPr lang="en-US" b="1" dirty="0">
                <a:solidFill>
                  <a:schemeClr val="tx1">
                    <a:lumMod val="65000"/>
                    <a:lumOff val="35000"/>
                  </a:schemeClr>
                </a:solidFill>
              </a:rPr>
              <a:t>0%</a:t>
            </a:r>
          </a:p>
        </p:txBody>
      </p:sp>
      <p:sp>
        <p:nvSpPr>
          <p:cNvPr id="23" name="TextBox 22">
            <a:extLst>
              <a:ext uri="{FF2B5EF4-FFF2-40B4-BE49-F238E27FC236}">
                <a16:creationId xmlns:a16="http://schemas.microsoft.com/office/drawing/2014/main" id="{412FE21A-27E2-DD06-7D28-B7A27C555B05}"/>
              </a:ext>
            </a:extLst>
          </p:cNvPr>
          <p:cNvSpPr txBox="1"/>
          <p:nvPr/>
        </p:nvSpPr>
        <p:spPr>
          <a:xfrm>
            <a:off x="6037943" y="1971295"/>
            <a:ext cx="1074385" cy="369332"/>
          </a:xfrm>
          <a:prstGeom prst="rect">
            <a:avLst/>
          </a:prstGeom>
          <a:noFill/>
        </p:spPr>
        <p:txBody>
          <a:bodyPr wrap="square" rtlCol="0">
            <a:spAutoFit/>
          </a:bodyPr>
          <a:lstStyle/>
          <a:p>
            <a:pPr algn="ctr"/>
            <a:r>
              <a:rPr lang="en-US" b="1" dirty="0">
                <a:solidFill>
                  <a:schemeClr val="tx1">
                    <a:lumMod val="65000"/>
                    <a:lumOff val="35000"/>
                  </a:schemeClr>
                </a:solidFill>
              </a:rPr>
              <a:t>2046</a:t>
            </a:r>
          </a:p>
        </p:txBody>
      </p:sp>
      <p:sp>
        <p:nvSpPr>
          <p:cNvPr id="24" name="TextBox 23">
            <a:extLst>
              <a:ext uri="{FF2B5EF4-FFF2-40B4-BE49-F238E27FC236}">
                <a16:creationId xmlns:a16="http://schemas.microsoft.com/office/drawing/2014/main" id="{658B4C62-F445-E8E7-F09F-2C7F770760CE}"/>
              </a:ext>
            </a:extLst>
          </p:cNvPr>
          <p:cNvSpPr txBox="1"/>
          <p:nvPr/>
        </p:nvSpPr>
        <p:spPr>
          <a:xfrm>
            <a:off x="7266224" y="1255628"/>
            <a:ext cx="793875" cy="369332"/>
          </a:xfrm>
          <a:prstGeom prst="rect">
            <a:avLst/>
          </a:prstGeom>
          <a:noFill/>
        </p:spPr>
        <p:txBody>
          <a:bodyPr wrap="square" rtlCol="0">
            <a:spAutoFit/>
          </a:bodyPr>
          <a:lstStyle/>
          <a:p>
            <a:pPr algn="ctr"/>
            <a:r>
              <a:rPr lang="en-US" b="1" dirty="0">
                <a:solidFill>
                  <a:schemeClr val="tx1">
                    <a:lumMod val="65000"/>
                    <a:lumOff val="35000"/>
                  </a:schemeClr>
                </a:solidFill>
              </a:rPr>
              <a:t>-1%</a:t>
            </a:r>
          </a:p>
        </p:txBody>
      </p:sp>
      <p:cxnSp>
        <p:nvCxnSpPr>
          <p:cNvPr id="25" name="Straight Arrow Connector 24">
            <a:extLst>
              <a:ext uri="{FF2B5EF4-FFF2-40B4-BE49-F238E27FC236}">
                <a16:creationId xmlns:a16="http://schemas.microsoft.com/office/drawing/2014/main" id="{617A647E-BAB2-1EAF-297E-D4E6A482290B}"/>
              </a:ext>
            </a:extLst>
          </p:cNvPr>
          <p:cNvCxnSpPr>
            <a:cxnSpLocks/>
          </p:cNvCxnSpPr>
          <p:nvPr/>
        </p:nvCxnSpPr>
        <p:spPr>
          <a:xfrm flipH="1" flipV="1">
            <a:off x="6629842" y="1866204"/>
            <a:ext cx="75758" cy="197058"/>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0E5A7DC4-97BD-2E54-D233-078D104A5AB5}"/>
              </a:ext>
            </a:extLst>
          </p:cNvPr>
          <p:cNvSpPr txBox="1"/>
          <p:nvPr/>
        </p:nvSpPr>
        <p:spPr>
          <a:xfrm>
            <a:off x="6866643" y="2024750"/>
            <a:ext cx="1074385" cy="369332"/>
          </a:xfrm>
          <a:prstGeom prst="rect">
            <a:avLst/>
          </a:prstGeom>
          <a:noFill/>
        </p:spPr>
        <p:txBody>
          <a:bodyPr wrap="square" rtlCol="0">
            <a:spAutoFit/>
          </a:bodyPr>
          <a:lstStyle/>
          <a:p>
            <a:pPr algn="ctr"/>
            <a:r>
              <a:rPr lang="en-US" b="1" dirty="0">
                <a:solidFill>
                  <a:schemeClr val="tx1">
                    <a:lumMod val="65000"/>
                    <a:lumOff val="35000"/>
                  </a:schemeClr>
                </a:solidFill>
              </a:rPr>
              <a:t>2049</a:t>
            </a:r>
          </a:p>
        </p:txBody>
      </p:sp>
      <p:sp>
        <p:nvSpPr>
          <p:cNvPr id="30" name="TextBox 29">
            <a:extLst>
              <a:ext uri="{FF2B5EF4-FFF2-40B4-BE49-F238E27FC236}">
                <a16:creationId xmlns:a16="http://schemas.microsoft.com/office/drawing/2014/main" id="{75AF517F-F885-4BED-2B8F-C486B189D3ED}"/>
              </a:ext>
            </a:extLst>
          </p:cNvPr>
          <p:cNvSpPr txBox="1"/>
          <p:nvPr/>
        </p:nvSpPr>
        <p:spPr>
          <a:xfrm>
            <a:off x="10197784" y="1255628"/>
            <a:ext cx="793875" cy="369332"/>
          </a:xfrm>
          <a:prstGeom prst="rect">
            <a:avLst/>
          </a:prstGeom>
          <a:noFill/>
        </p:spPr>
        <p:txBody>
          <a:bodyPr wrap="square" rtlCol="0">
            <a:spAutoFit/>
          </a:bodyPr>
          <a:lstStyle/>
          <a:p>
            <a:pPr algn="ctr"/>
            <a:r>
              <a:rPr lang="en-US" b="1" dirty="0">
                <a:solidFill>
                  <a:schemeClr val="tx1">
                    <a:lumMod val="65000"/>
                    <a:lumOff val="35000"/>
                  </a:schemeClr>
                </a:solidFill>
              </a:rPr>
              <a:t>-3%</a:t>
            </a:r>
          </a:p>
        </p:txBody>
      </p:sp>
      <p:sp>
        <p:nvSpPr>
          <p:cNvPr id="31" name="TextBox 30">
            <a:extLst>
              <a:ext uri="{FF2B5EF4-FFF2-40B4-BE49-F238E27FC236}">
                <a16:creationId xmlns:a16="http://schemas.microsoft.com/office/drawing/2014/main" id="{67C3824A-F9C0-9C99-E64F-6A351A82A3DF}"/>
              </a:ext>
            </a:extLst>
          </p:cNvPr>
          <p:cNvSpPr txBox="1"/>
          <p:nvPr/>
        </p:nvSpPr>
        <p:spPr>
          <a:xfrm>
            <a:off x="8319255" y="1878596"/>
            <a:ext cx="1074385" cy="369332"/>
          </a:xfrm>
          <a:prstGeom prst="rect">
            <a:avLst/>
          </a:prstGeom>
          <a:noFill/>
        </p:spPr>
        <p:txBody>
          <a:bodyPr wrap="square" rtlCol="0">
            <a:spAutoFit/>
          </a:bodyPr>
          <a:lstStyle/>
          <a:p>
            <a:pPr algn="ctr"/>
            <a:r>
              <a:rPr lang="en-US" b="1" dirty="0">
                <a:solidFill>
                  <a:schemeClr val="tx1">
                    <a:lumMod val="65000"/>
                    <a:lumOff val="35000"/>
                  </a:schemeClr>
                </a:solidFill>
              </a:rPr>
              <a:t>2059</a:t>
            </a:r>
          </a:p>
        </p:txBody>
      </p:sp>
      <p:sp>
        <p:nvSpPr>
          <p:cNvPr id="33" name="TextBox 32">
            <a:extLst>
              <a:ext uri="{FF2B5EF4-FFF2-40B4-BE49-F238E27FC236}">
                <a16:creationId xmlns:a16="http://schemas.microsoft.com/office/drawing/2014/main" id="{72A85460-0A88-F910-3457-4C8F58028241}"/>
              </a:ext>
            </a:extLst>
          </p:cNvPr>
          <p:cNvSpPr txBox="1"/>
          <p:nvPr/>
        </p:nvSpPr>
        <p:spPr>
          <a:xfrm>
            <a:off x="2200686" y="5614449"/>
            <a:ext cx="887343" cy="369332"/>
          </a:xfrm>
          <a:prstGeom prst="rect">
            <a:avLst/>
          </a:prstGeom>
          <a:noFill/>
        </p:spPr>
        <p:txBody>
          <a:bodyPr wrap="square" rtlCol="0">
            <a:spAutoFit/>
          </a:bodyPr>
          <a:lstStyle/>
          <a:p>
            <a:pPr algn="ctr"/>
            <a:r>
              <a:rPr lang="en-US" b="1" dirty="0">
                <a:solidFill>
                  <a:schemeClr val="tx1">
                    <a:lumMod val="65000"/>
                    <a:lumOff val="35000"/>
                  </a:schemeClr>
                </a:solidFill>
              </a:rPr>
              <a:t>2030</a:t>
            </a:r>
          </a:p>
        </p:txBody>
      </p:sp>
      <p:cxnSp>
        <p:nvCxnSpPr>
          <p:cNvPr id="34" name="Straight Arrow Connector 33">
            <a:extLst>
              <a:ext uri="{FF2B5EF4-FFF2-40B4-BE49-F238E27FC236}">
                <a16:creationId xmlns:a16="http://schemas.microsoft.com/office/drawing/2014/main" id="{80F9850D-CDD3-4A09-00D8-FB1ECB585517}"/>
              </a:ext>
            </a:extLst>
          </p:cNvPr>
          <p:cNvCxnSpPr>
            <a:cxnSpLocks/>
            <a:stCxn id="33" idx="0"/>
          </p:cNvCxnSpPr>
          <p:nvPr/>
        </p:nvCxnSpPr>
        <p:spPr>
          <a:xfrm flipH="1" flipV="1">
            <a:off x="2390935" y="5152784"/>
            <a:ext cx="253423" cy="461665"/>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2D3937E8-FDA2-DDE9-A3F2-C1048C454AE2}"/>
              </a:ext>
            </a:extLst>
          </p:cNvPr>
          <p:cNvCxnSpPr>
            <a:cxnSpLocks/>
            <a:stCxn id="33" idx="0"/>
          </p:cNvCxnSpPr>
          <p:nvPr/>
        </p:nvCxnSpPr>
        <p:spPr>
          <a:xfrm flipH="1" flipV="1">
            <a:off x="2305878" y="5152784"/>
            <a:ext cx="338480" cy="461665"/>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DB6858B9-561B-00F8-1A21-11DCDF52D776}"/>
              </a:ext>
            </a:extLst>
          </p:cNvPr>
          <p:cNvCxnSpPr>
            <a:cxnSpLocks/>
            <a:stCxn id="33" idx="0"/>
          </p:cNvCxnSpPr>
          <p:nvPr/>
        </p:nvCxnSpPr>
        <p:spPr>
          <a:xfrm flipH="1" flipV="1">
            <a:off x="2491740" y="5152784"/>
            <a:ext cx="152618" cy="461665"/>
          </a:xfrm>
          <a:prstGeom prst="straightConnector1">
            <a:avLst/>
          </a:prstGeom>
          <a:ln w="28575">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91741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5D0D256-4DF3-3650-C7C9-14726548F175}"/>
              </a:ext>
            </a:extLst>
          </p:cNvPr>
          <p:cNvSpPr/>
          <p:nvPr/>
        </p:nvSpPr>
        <p:spPr>
          <a:xfrm>
            <a:off x="564368" y="5681494"/>
            <a:ext cx="10775914" cy="892484"/>
          </a:xfrm>
          <a:prstGeom prst="rect">
            <a:avLst/>
          </a:prstGeom>
          <a:solidFill>
            <a:schemeClr val="accent6">
              <a:alpha val="1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E01264BB-A405-55F8-E31D-BF161DB5B11A}"/>
              </a:ext>
            </a:extLst>
          </p:cNvPr>
          <p:cNvPicPr>
            <a:picLocks noChangeAspect="1"/>
          </p:cNvPicPr>
          <p:nvPr/>
        </p:nvPicPr>
        <p:blipFill>
          <a:blip r:embed="rId2"/>
          <a:srcRect b="11506"/>
          <a:stretch/>
        </p:blipFill>
        <p:spPr>
          <a:xfrm>
            <a:off x="356551" y="665297"/>
            <a:ext cx="9097645" cy="1854637"/>
          </a:xfrm>
          <a:prstGeom prst="rect">
            <a:avLst/>
          </a:prstGeom>
          <a:ln>
            <a:noFill/>
          </a:ln>
          <a:effectLst>
            <a:outerShdw blurRad="292100" dist="139700" dir="2700000" algn="tl" rotWithShape="0">
              <a:srgbClr val="333333">
                <a:alpha val="65000"/>
              </a:srgbClr>
            </a:outerShdw>
          </a:effectLst>
        </p:spPr>
      </p:pic>
      <p:pic>
        <p:nvPicPr>
          <p:cNvPr id="12" name="Picture 11">
            <a:extLst>
              <a:ext uri="{FF2B5EF4-FFF2-40B4-BE49-F238E27FC236}">
                <a16:creationId xmlns:a16="http://schemas.microsoft.com/office/drawing/2014/main" id="{B0048A88-AF23-110E-32C2-8B1B02865510}"/>
              </a:ext>
            </a:extLst>
          </p:cNvPr>
          <p:cNvPicPr>
            <a:picLocks noChangeAspect="1"/>
          </p:cNvPicPr>
          <p:nvPr/>
        </p:nvPicPr>
        <p:blipFill>
          <a:blip r:embed="rId3"/>
          <a:stretch>
            <a:fillRect/>
          </a:stretch>
        </p:blipFill>
        <p:spPr>
          <a:xfrm>
            <a:off x="3700293" y="3167635"/>
            <a:ext cx="5753903" cy="2124371"/>
          </a:xfrm>
          <a:prstGeom prst="rect">
            <a:avLst/>
          </a:prstGeom>
          <a:ln>
            <a:noFill/>
          </a:ln>
          <a:effectLst>
            <a:outerShdw blurRad="292100" dist="139700" dir="2700000" algn="tl" rotWithShape="0">
              <a:srgbClr val="333333">
                <a:alpha val="65000"/>
              </a:srgbClr>
            </a:outerShdw>
          </a:effectLst>
        </p:spPr>
      </p:pic>
      <p:sp>
        <p:nvSpPr>
          <p:cNvPr id="18" name="TextBox 17">
            <a:extLst>
              <a:ext uri="{FF2B5EF4-FFF2-40B4-BE49-F238E27FC236}">
                <a16:creationId xmlns:a16="http://schemas.microsoft.com/office/drawing/2014/main" id="{1D9244BE-90A4-7810-5AAB-AC65CB493558}"/>
              </a:ext>
            </a:extLst>
          </p:cNvPr>
          <p:cNvSpPr txBox="1"/>
          <p:nvPr/>
        </p:nvSpPr>
        <p:spPr>
          <a:xfrm>
            <a:off x="9316523" y="1269449"/>
            <a:ext cx="2743200" cy="646331"/>
          </a:xfrm>
          <a:prstGeom prst="rect">
            <a:avLst/>
          </a:prstGeom>
          <a:noFill/>
        </p:spPr>
        <p:txBody>
          <a:bodyPr wrap="square" rtlCol="0">
            <a:spAutoFit/>
          </a:bodyPr>
          <a:lstStyle/>
          <a:p>
            <a:pPr algn="ctr"/>
            <a:r>
              <a:rPr lang="en-US" b="1" dirty="0">
                <a:solidFill>
                  <a:schemeClr val="tx1">
                    <a:lumMod val="65000"/>
                    <a:lumOff val="35000"/>
                  </a:schemeClr>
                </a:solidFill>
              </a:rPr>
              <a:t>Washington Post, </a:t>
            </a:r>
          </a:p>
          <a:p>
            <a:pPr algn="ctr"/>
            <a:r>
              <a:rPr lang="en-US" b="1" dirty="0">
                <a:solidFill>
                  <a:schemeClr val="tx1">
                    <a:lumMod val="65000"/>
                    <a:lumOff val="35000"/>
                  </a:schemeClr>
                </a:solidFill>
              </a:rPr>
              <a:t>January 28, 2025</a:t>
            </a:r>
          </a:p>
        </p:txBody>
      </p:sp>
      <p:sp>
        <p:nvSpPr>
          <p:cNvPr id="19" name="TextBox 18">
            <a:extLst>
              <a:ext uri="{FF2B5EF4-FFF2-40B4-BE49-F238E27FC236}">
                <a16:creationId xmlns:a16="http://schemas.microsoft.com/office/drawing/2014/main" id="{13E18012-C464-852A-2212-2D0F5222FD7B}"/>
              </a:ext>
            </a:extLst>
          </p:cNvPr>
          <p:cNvSpPr txBox="1"/>
          <p:nvPr/>
        </p:nvSpPr>
        <p:spPr>
          <a:xfrm>
            <a:off x="1191698" y="3906654"/>
            <a:ext cx="2743200" cy="646331"/>
          </a:xfrm>
          <a:prstGeom prst="rect">
            <a:avLst/>
          </a:prstGeom>
          <a:noFill/>
        </p:spPr>
        <p:txBody>
          <a:bodyPr wrap="square" rtlCol="0">
            <a:spAutoFit/>
          </a:bodyPr>
          <a:lstStyle/>
          <a:p>
            <a:pPr algn="ctr"/>
            <a:r>
              <a:rPr lang="en-US" b="1" dirty="0">
                <a:solidFill>
                  <a:schemeClr val="tx1">
                    <a:lumMod val="65000"/>
                    <a:lumOff val="35000"/>
                  </a:schemeClr>
                </a:solidFill>
              </a:rPr>
              <a:t>Tampa Bay Times, </a:t>
            </a:r>
          </a:p>
          <a:p>
            <a:pPr algn="ctr"/>
            <a:r>
              <a:rPr lang="en-US" b="1" dirty="0">
                <a:solidFill>
                  <a:schemeClr val="tx1">
                    <a:lumMod val="65000"/>
                    <a:lumOff val="35000"/>
                  </a:schemeClr>
                </a:solidFill>
              </a:rPr>
              <a:t>February 4, 2025</a:t>
            </a:r>
          </a:p>
        </p:txBody>
      </p:sp>
      <p:sp>
        <p:nvSpPr>
          <p:cNvPr id="3" name="TextBox 2">
            <a:extLst>
              <a:ext uri="{FF2B5EF4-FFF2-40B4-BE49-F238E27FC236}">
                <a16:creationId xmlns:a16="http://schemas.microsoft.com/office/drawing/2014/main" id="{14A73E8B-5D6B-C18C-2AA4-F466D5DF4B9E}"/>
              </a:ext>
            </a:extLst>
          </p:cNvPr>
          <p:cNvSpPr txBox="1"/>
          <p:nvPr/>
        </p:nvSpPr>
        <p:spPr>
          <a:xfrm>
            <a:off x="1335372" y="5773793"/>
            <a:ext cx="9521255" cy="707886"/>
          </a:xfrm>
          <a:prstGeom prst="rect">
            <a:avLst/>
          </a:prstGeom>
          <a:noFill/>
        </p:spPr>
        <p:txBody>
          <a:bodyPr wrap="square" rtlCol="0">
            <a:spAutoFit/>
          </a:bodyPr>
          <a:lstStyle/>
          <a:p>
            <a:pPr algn="ctr"/>
            <a:r>
              <a:rPr lang="en-US" sz="4000" b="1" dirty="0"/>
              <a:t>How does landfill capacity vary by region?</a:t>
            </a:r>
          </a:p>
        </p:txBody>
      </p:sp>
    </p:spTree>
    <p:extLst>
      <p:ext uri="{BB962C8B-B14F-4D97-AF65-F5344CB8AC3E}">
        <p14:creationId xmlns:p14="http://schemas.microsoft.com/office/powerpoint/2010/main" val="23392871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5ABC7A-F79A-1226-A881-089F7A96DD02}"/>
            </a:ext>
          </a:extLst>
        </p:cNvPr>
        <p:cNvGrpSpPr/>
        <p:nvPr/>
      </p:nvGrpSpPr>
      <p:grpSpPr>
        <a:xfrm>
          <a:off x="0" y="0"/>
          <a:ext cx="0" cy="0"/>
          <a:chOff x="0" y="0"/>
          <a:chExt cx="0" cy="0"/>
        </a:xfrm>
      </p:grpSpPr>
      <mc:AlternateContent xmlns:mc="http://schemas.openxmlformats.org/markup-compatibility/2006" xmlns:cx6="http://schemas.microsoft.com/office/drawing/2016/5/12/chartex">
        <mc:Choice Requires="cx6">
          <p:graphicFrame>
            <p:nvGraphicFramePr>
              <p:cNvPr id="7" name="Chart 6">
                <a:extLst>
                  <a:ext uri="{FF2B5EF4-FFF2-40B4-BE49-F238E27FC236}">
                    <a16:creationId xmlns:a16="http://schemas.microsoft.com/office/drawing/2014/main" id="{772C1A3E-4DED-1E4D-8F0F-44729B2214CE}"/>
                  </a:ext>
                </a:extLst>
              </p:cNvPr>
              <p:cNvGraphicFramePr/>
              <p:nvPr>
                <p:custDataLst>
                  <p:tags r:id="rId1"/>
                </p:custDataLst>
                <p:extLst>
                  <p:ext uri="{D42A27DB-BD31-4B8C-83A1-F6EECF244321}">
                    <p14:modId xmlns:p14="http://schemas.microsoft.com/office/powerpoint/2010/main" val="1651102810"/>
                  </p:ext>
                </p:extLst>
              </p:nvPr>
            </p:nvGraphicFramePr>
            <p:xfrm>
              <a:off x="1328738" y="1203048"/>
              <a:ext cx="9286874" cy="5714999"/>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7" name="Chart 6">
                <a:extLst>
                  <a:ext uri="{FF2B5EF4-FFF2-40B4-BE49-F238E27FC236}">
                    <a16:creationId xmlns:a16="http://schemas.microsoft.com/office/drawing/2014/main" id="{772C1A3E-4DED-1E4D-8F0F-44729B2214CE}"/>
                  </a:ext>
                </a:extLst>
              </p:cNvPr>
              <p:cNvPicPr>
                <a:picLocks noGrp="1" noRot="1" noChangeAspect="1" noMove="1" noResize="1" noEditPoints="1" noAdjustHandles="1" noChangeArrowheads="1" noChangeShapeType="1"/>
              </p:cNvPicPr>
              <p:nvPr/>
            </p:nvPicPr>
            <p:blipFill>
              <a:blip r:embed="rId4"/>
              <a:stretch>
                <a:fillRect/>
              </a:stretch>
            </p:blipFill>
            <p:spPr>
              <a:xfrm>
                <a:off x="1328738" y="1203048"/>
                <a:ext cx="9286874" cy="5714999"/>
              </a:xfrm>
              <a:prstGeom prst="rect">
                <a:avLst/>
              </a:prstGeom>
            </p:spPr>
          </p:pic>
        </mc:Fallback>
      </mc:AlternateContent>
      <p:sp>
        <p:nvSpPr>
          <p:cNvPr id="9" name="TextBox 8">
            <a:extLst>
              <a:ext uri="{FF2B5EF4-FFF2-40B4-BE49-F238E27FC236}">
                <a16:creationId xmlns:a16="http://schemas.microsoft.com/office/drawing/2014/main" id="{0F77D95A-155C-244A-6511-2CDFE5EB996D}"/>
              </a:ext>
            </a:extLst>
          </p:cNvPr>
          <p:cNvSpPr txBox="1"/>
          <p:nvPr/>
        </p:nvSpPr>
        <p:spPr>
          <a:xfrm>
            <a:off x="9328298" y="6241200"/>
            <a:ext cx="1307804" cy="595423"/>
          </a:xfrm>
          <a:prstGeom prst="rect">
            <a:avLst/>
          </a:prstGeom>
          <a:solidFill>
            <a:schemeClr val="bg1"/>
          </a:solidFill>
        </p:spPr>
        <p:txBody>
          <a:bodyPr wrap="square" rtlCol="0">
            <a:spAutoFit/>
          </a:bodyPr>
          <a:lstStyle/>
          <a:p>
            <a:endParaRPr lang="en-US" dirty="0"/>
          </a:p>
        </p:txBody>
      </p:sp>
      <p:sp>
        <p:nvSpPr>
          <p:cNvPr id="2" name="Title 1">
            <a:extLst>
              <a:ext uri="{FF2B5EF4-FFF2-40B4-BE49-F238E27FC236}">
                <a16:creationId xmlns:a16="http://schemas.microsoft.com/office/drawing/2014/main" id="{2504B19E-2376-1EE1-97C9-91C0F3162F24}"/>
              </a:ext>
            </a:extLst>
          </p:cNvPr>
          <p:cNvSpPr>
            <a:spLocks noGrp="1"/>
          </p:cNvSpPr>
          <p:nvPr>
            <p:ph type="title"/>
          </p:nvPr>
        </p:nvSpPr>
        <p:spPr>
          <a:xfrm>
            <a:off x="-9428" y="365125"/>
            <a:ext cx="12349113" cy="1325563"/>
          </a:xfrm>
        </p:spPr>
        <p:txBody>
          <a:bodyPr/>
          <a:lstStyle/>
          <a:p>
            <a:r>
              <a:rPr lang="en-US" dirty="0"/>
              <a:t>Origin of Waste Disposed of in Class I Landfills in 2023</a:t>
            </a:r>
          </a:p>
        </p:txBody>
      </p:sp>
      <p:pic>
        <p:nvPicPr>
          <p:cNvPr id="11" name="Picture 10">
            <a:extLst>
              <a:ext uri="{FF2B5EF4-FFF2-40B4-BE49-F238E27FC236}">
                <a16:creationId xmlns:a16="http://schemas.microsoft.com/office/drawing/2014/main" id="{117A9796-D658-890E-E942-60F76C55BA61}"/>
              </a:ext>
            </a:extLst>
          </p:cNvPr>
          <p:cNvPicPr>
            <a:picLocks noChangeAspect="1"/>
          </p:cNvPicPr>
          <p:nvPr/>
        </p:nvPicPr>
        <p:blipFill>
          <a:blip r:embed="rId5"/>
          <a:stretch>
            <a:fillRect/>
          </a:stretch>
        </p:blipFill>
        <p:spPr>
          <a:xfrm>
            <a:off x="3294726" y="3699473"/>
            <a:ext cx="628687" cy="2563104"/>
          </a:xfrm>
          <a:prstGeom prst="rect">
            <a:avLst/>
          </a:prstGeom>
        </p:spPr>
      </p:pic>
      <p:sp>
        <p:nvSpPr>
          <p:cNvPr id="13" name="TextBox 12">
            <a:extLst>
              <a:ext uri="{FF2B5EF4-FFF2-40B4-BE49-F238E27FC236}">
                <a16:creationId xmlns:a16="http://schemas.microsoft.com/office/drawing/2014/main" id="{4110E2A4-2F0E-F339-3573-794D3011522F}"/>
              </a:ext>
            </a:extLst>
          </p:cNvPr>
          <p:cNvSpPr txBox="1"/>
          <p:nvPr/>
        </p:nvSpPr>
        <p:spPr>
          <a:xfrm>
            <a:off x="3923413" y="5630514"/>
            <a:ext cx="1497330" cy="369332"/>
          </a:xfrm>
          <a:prstGeom prst="rect">
            <a:avLst/>
          </a:prstGeom>
          <a:noFill/>
        </p:spPr>
        <p:txBody>
          <a:bodyPr wrap="square" rtlCol="0">
            <a:spAutoFit/>
          </a:bodyPr>
          <a:lstStyle/>
          <a:p>
            <a:r>
              <a:rPr lang="en-US" dirty="0"/>
              <a:t>0 tons</a:t>
            </a:r>
          </a:p>
        </p:txBody>
      </p:sp>
      <p:sp>
        <p:nvSpPr>
          <p:cNvPr id="14" name="TextBox 13">
            <a:extLst>
              <a:ext uri="{FF2B5EF4-FFF2-40B4-BE49-F238E27FC236}">
                <a16:creationId xmlns:a16="http://schemas.microsoft.com/office/drawing/2014/main" id="{273B5F55-F959-B17E-137D-A759AA5E8133}"/>
              </a:ext>
            </a:extLst>
          </p:cNvPr>
          <p:cNvSpPr txBox="1"/>
          <p:nvPr/>
        </p:nvSpPr>
        <p:spPr>
          <a:xfrm>
            <a:off x="3923413" y="3929745"/>
            <a:ext cx="1497330" cy="369332"/>
          </a:xfrm>
          <a:prstGeom prst="rect">
            <a:avLst/>
          </a:prstGeom>
          <a:noFill/>
        </p:spPr>
        <p:txBody>
          <a:bodyPr wrap="square" rtlCol="0">
            <a:spAutoFit/>
          </a:bodyPr>
          <a:lstStyle/>
          <a:p>
            <a:r>
              <a:rPr lang="en-US" dirty="0"/>
              <a:t>2.6 M tons</a:t>
            </a:r>
          </a:p>
        </p:txBody>
      </p:sp>
      <p:sp>
        <p:nvSpPr>
          <p:cNvPr id="15" name="TextBox 14">
            <a:extLst>
              <a:ext uri="{FF2B5EF4-FFF2-40B4-BE49-F238E27FC236}">
                <a16:creationId xmlns:a16="http://schemas.microsoft.com/office/drawing/2014/main" id="{BFA33945-37A6-089A-DDB5-026D03F1E444}"/>
              </a:ext>
            </a:extLst>
          </p:cNvPr>
          <p:cNvSpPr txBox="1"/>
          <p:nvPr/>
        </p:nvSpPr>
        <p:spPr>
          <a:xfrm rot="16200000">
            <a:off x="2158248" y="4632214"/>
            <a:ext cx="2673067" cy="400110"/>
          </a:xfrm>
          <a:prstGeom prst="rect">
            <a:avLst/>
          </a:prstGeom>
          <a:noFill/>
        </p:spPr>
        <p:txBody>
          <a:bodyPr wrap="square" rtlCol="0">
            <a:spAutoFit/>
          </a:bodyPr>
          <a:lstStyle/>
          <a:p>
            <a:r>
              <a:rPr lang="en-US" sz="2000" b="1" dirty="0"/>
              <a:t>2023 Tons Landfilled</a:t>
            </a:r>
          </a:p>
        </p:txBody>
      </p:sp>
    </p:spTree>
    <p:extLst>
      <p:ext uri="{BB962C8B-B14F-4D97-AF65-F5344CB8AC3E}">
        <p14:creationId xmlns:p14="http://schemas.microsoft.com/office/powerpoint/2010/main" val="13531001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EB9F62-C020-B5DE-9EA6-EAB4FB92730C}"/>
            </a:ext>
          </a:extLst>
        </p:cNvPr>
        <p:cNvGrpSpPr/>
        <p:nvPr/>
      </p:nvGrpSpPr>
      <p:grpSpPr>
        <a:xfrm>
          <a:off x="0" y="0"/>
          <a:ext cx="0" cy="0"/>
          <a:chOff x="0" y="0"/>
          <a:chExt cx="0" cy="0"/>
        </a:xfrm>
      </p:grpSpPr>
      <mc:AlternateContent xmlns:mc="http://schemas.openxmlformats.org/markup-compatibility/2006" xmlns:cx6="http://schemas.microsoft.com/office/drawing/2016/5/12/chartex">
        <mc:Choice Requires="cx6">
          <p:graphicFrame>
            <p:nvGraphicFramePr>
              <p:cNvPr id="12" name="Chart 11">
                <a:extLst>
                  <a:ext uri="{FF2B5EF4-FFF2-40B4-BE49-F238E27FC236}">
                    <a16:creationId xmlns:a16="http://schemas.microsoft.com/office/drawing/2014/main" id="{79F5BA60-30B8-0962-3B1C-171FD413CACA}"/>
                  </a:ext>
                </a:extLst>
              </p:cNvPr>
              <p:cNvGraphicFramePr/>
              <p:nvPr>
                <p:custDataLst>
                  <p:tags r:id="rId1"/>
                </p:custDataLst>
              </p:nvPr>
            </p:nvGraphicFramePr>
            <p:xfrm>
              <a:off x="-1645920" y="1496818"/>
              <a:ext cx="9073212" cy="5545755"/>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2" name="Chart 11">
                <a:extLst>
                  <a:ext uri="{FF2B5EF4-FFF2-40B4-BE49-F238E27FC236}">
                    <a16:creationId xmlns:a16="http://schemas.microsoft.com/office/drawing/2014/main" id="{79F5BA60-30B8-0962-3B1C-171FD413CACA}"/>
                  </a:ext>
                </a:extLst>
              </p:cNvPr>
              <p:cNvPicPr>
                <a:picLocks noGrp="1" noRot="1" noChangeAspect="1" noMove="1" noResize="1" noEditPoints="1" noAdjustHandles="1" noChangeArrowheads="1" noChangeShapeType="1"/>
              </p:cNvPicPr>
              <p:nvPr/>
            </p:nvPicPr>
            <p:blipFill>
              <a:blip r:embed="rId4"/>
              <a:stretch>
                <a:fillRect/>
              </a:stretch>
            </p:blipFill>
            <p:spPr>
              <a:xfrm>
                <a:off x="-1645920" y="1496818"/>
                <a:ext cx="9073212" cy="5545755"/>
              </a:xfrm>
              <a:prstGeom prst="rect">
                <a:avLst/>
              </a:prstGeom>
            </p:spPr>
          </p:pic>
        </mc:Fallback>
      </mc:AlternateContent>
      <p:pic>
        <p:nvPicPr>
          <p:cNvPr id="10" name="Picture 9">
            <a:extLst>
              <a:ext uri="{FF2B5EF4-FFF2-40B4-BE49-F238E27FC236}">
                <a16:creationId xmlns:a16="http://schemas.microsoft.com/office/drawing/2014/main" id="{4CC55A75-D77B-E302-9B0C-7DDF8CD5ECC4}"/>
              </a:ext>
            </a:extLst>
          </p:cNvPr>
          <p:cNvPicPr>
            <a:picLocks noChangeAspect="1"/>
          </p:cNvPicPr>
          <p:nvPr/>
        </p:nvPicPr>
        <p:blipFill>
          <a:blip r:embed="rId5"/>
          <a:srcRect l="5543"/>
          <a:stretch/>
        </p:blipFill>
        <p:spPr>
          <a:xfrm>
            <a:off x="5870448" y="1626997"/>
            <a:ext cx="6321552" cy="5231003"/>
          </a:xfrm>
          <a:prstGeom prst="rect">
            <a:avLst/>
          </a:prstGeom>
        </p:spPr>
      </p:pic>
      <p:sp>
        <p:nvSpPr>
          <p:cNvPr id="6" name="Title 5">
            <a:extLst>
              <a:ext uri="{FF2B5EF4-FFF2-40B4-BE49-F238E27FC236}">
                <a16:creationId xmlns:a16="http://schemas.microsoft.com/office/drawing/2014/main" id="{5BA63CC0-34A5-98CE-CB79-37DA794E59D2}"/>
              </a:ext>
            </a:extLst>
          </p:cNvPr>
          <p:cNvSpPr>
            <a:spLocks noGrp="1"/>
          </p:cNvSpPr>
          <p:nvPr>
            <p:ph type="title"/>
          </p:nvPr>
        </p:nvSpPr>
        <p:spPr>
          <a:xfrm>
            <a:off x="838200" y="365125"/>
            <a:ext cx="10975848" cy="1325563"/>
          </a:xfrm>
        </p:spPr>
        <p:txBody>
          <a:bodyPr/>
          <a:lstStyle/>
          <a:p>
            <a:r>
              <a:rPr lang="en-US" dirty="0"/>
              <a:t>Origin of Waste and Location of Class I Landfills</a:t>
            </a:r>
          </a:p>
        </p:txBody>
      </p:sp>
      <p:pic>
        <p:nvPicPr>
          <p:cNvPr id="17" name="Picture 16">
            <a:extLst>
              <a:ext uri="{FF2B5EF4-FFF2-40B4-BE49-F238E27FC236}">
                <a16:creationId xmlns:a16="http://schemas.microsoft.com/office/drawing/2014/main" id="{D8379558-B80C-5F36-DF4C-5A648BB518A9}"/>
              </a:ext>
            </a:extLst>
          </p:cNvPr>
          <p:cNvPicPr>
            <a:picLocks noChangeAspect="1"/>
          </p:cNvPicPr>
          <p:nvPr/>
        </p:nvPicPr>
        <p:blipFill>
          <a:blip r:embed="rId6"/>
          <a:stretch>
            <a:fillRect/>
          </a:stretch>
        </p:blipFill>
        <p:spPr>
          <a:xfrm>
            <a:off x="216134" y="3726213"/>
            <a:ext cx="628687" cy="2563104"/>
          </a:xfrm>
          <a:prstGeom prst="rect">
            <a:avLst/>
          </a:prstGeom>
        </p:spPr>
      </p:pic>
      <p:sp>
        <p:nvSpPr>
          <p:cNvPr id="18" name="TextBox 17">
            <a:extLst>
              <a:ext uri="{FF2B5EF4-FFF2-40B4-BE49-F238E27FC236}">
                <a16:creationId xmlns:a16="http://schemas.microsoft.com/office/drawing/2014/main" id="{967FE11D-030C-4820-79DA-1C7B7E23DF8D}"/>
              </a:ext>
            </a:extLst>
          </p:cNvPr>
          <p:cNvSpPr txBox="1"/>
          <p:nvPr/>
        </p:nvSpPr>
        <p:spPr>
          <a:xfrm>
            <a:off x="844821" y="5657254"/>
            <a:ext cx="1497330" cy="369332"/>
          </a:xfrm>
          <a:prstGeom prst="rect">
            <a:avLst/>
          </a:prstGeom>
          <a:noFill/>
        </p:spPr>
        <p:txBody>
          <a:bodyPr wrap="square" rtlCol="0">
            <a:spAutoFit/>
          </a:bodyPr>
          <a:lstStyle/>
          <a:p>
            <a:r>
              <a:rPr lang="en-US" dirty="0"/>
              <a:t>0 tons</a:t>
            </a:r>
          </a:p>
        </p:txBody>
      </p:sp>
      <p:sp>
        <p:nvSpPr>
          <p:cNvPr id="19" name="TextBox 18">
            <a:extLst>
              <a:ext uri="{FF2B5EF4-FFF2-40B4-BE49-F238E27FC236}">
                <a16:creationId xmlns:a16="http://schemas.microsoft.com/office/drawing/2014/main" id="{C9A7AAB3-B904-7CB9-AB64-49D0FB5102C8}"/>
              </a:ext>
            </a:extLst>
          </p:cNvPr>
          <p:cNvSpPr txBox="1"/>
          <p:nvPr/>
        </p:nvSpPr>
        <p:spPr>
          <a:xfrm>
            <a:off x="844821" y="3956485"/>
            <a:ext cx="1497330" cy="369332"/>
          </a:xfrm>
          <a:prstGeom prst="rect">
            <a:avLst/>
          </a:prstGeom>
          <a:noFill/>
        </p:spPr>
        <p:txBody>
          <a:bodyPr wrap="square" rtlCol="0">
            <a:spAutoFit/>
          </a:bodyPr>
          <a:lstStyle/>
          <a:p>
            <a:r>
              <a:rPr lang="en-US" dirty="0"/>
              <a:t>2.6 M tons</a:t>
            </a:r>
          </a:p>
        </p:txBody>
      </p:sp>
      <p:sp>
        <p:nvSpPr>
          <p:cNvPr id="2" name="TextBox 1">
            <a:extLst>
              <a:ext uri="{FF2B5EF4-FFF2-40B4-BE49-F238E27FC236}">
                <a16:creationId xmlns:a16="http://schemas.microsoft.com/office/drawing/2014/main" id="{10FC1EF2-8E38-F34F-591D-B5DD5B70F6D5}"/>
              </a:ext>
            </a:extLst>
          </p:cNvPr>
          <p:cNvSpPr txBox="1"/>
          <p:nvPr/>
        </p:nvSpPr>
        <p:spPr>
          <a:xfrm>
            <a:off x="6267449" y="6410265"/>
            <a:ext cx="2792817" cy="400110"/>
          </a:xfrm>
          <a:prstGeom prst="rect">
            <a:avLst/>
          </a:prstGeom>
          <a:noFill/>
        </p:spPr>
        <p:txBody>
          <a:bodyPr wrap="square" rtlCol="0">
            <a:spAutoFit/>
          </a:bodyPr>
          <a:lstStyle/>
          <a:p>
            <a:r>
              <a:rPr lang="en-US" sz="2000" b="1" dirty="0"/>
              <a:t>Class I Landfill</a:t>
            </a:r>
          </a:p>
        </p:txBody>
      </p:sp>
      <p:sp>
        <p:nvSpPr>
          <p:cNvPr id="3" name="Oval 2">
            <a:extLst>
              <a:ext uri="{FF2B5EF4-FFF2-40B4-BE49-F238E27FC236}">
                <a16:creationId xmlns:a16="http://schemas.microsoft.com/office/drawing/2014/main" id="{6CC44CCA-66BC-8F02-32CC-971F3B36430F}"/>
              </a:ext>
            </a:extLst>
          </p:cNvPr>
          <p:cNvSpPr/>
          <p:nvPr/>
        </p:nvSpPr>
        <p:spPr>
          <a:xfrm>
            <a:off x="5993129" y="6489699"/>
            <a:ext cx="274320" cy="276225"/>
          </a:xfrm>
          <a:prstGeom prst="ellipse">
            <a:avLst/>
          </a:prstGeom>
          <a:solidFill>
            <a:srgbClr val="014E7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9CF5DAAB-D40F-427B-762A-4929B70A47CA}"/>
              </a:ext>
            </a:extLst>
          </p:cNvPr>
          <p:cNvSpPr txBox="1"/>
          <p:nvPr/>
        </p:nvSpPr>
        <p:spPr>
          <a:xfrm rot="16200000">
            <a:off x="-920343" y="4600943"/>
            <a:ext cx="2673067" cy="400110"/>
          </a:xfrm>
          <a:prstGeom prst="rect">
            <a:avLst/>
          </a:prstGeom>
          <a:noFill/>
        </p:spPr>
        <p:txBody>
          <a:bodyPr wrap="square" rtlCol="0">
            <a:spAutoFit/>
          </a:bodyPr>
          <a:lstStyle/>
          <a:p>
            <a:r>
              <a:rPr lang="en-US" sz="2000" b="1" dirty="0"/>
              <a:t>2023 Tons Landfilled</a:t>
            </a:r>
          </a:p>
        </p:txBody>
      </p:sp>
    </p:spTree>
    <p:extLst>
      <p:ext uri="{BB962C8B-B14F-4D97-AF65-F5344CB8AC3E}">
        <p14:creationId xmlns:p14="http://schemas.microsoft.com/office/powerpoint/2010/main" val="20245053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9C4E92-B2D0-FEB8-6561-C256E4270295}"/>
            </a:ext>
          </a:extLst>
        </p:cNvPr>
        <p:cNvGrpSpPr/>
        <p:nvPr/>
      </p:nvGrpSpPr>
      <p:grpSpPr>
        <a:xfrm>
          <a:off x="0" y="0"/>
          <a:ext cx="0" cy="0"/>
          <a:chOff x="0" y="0"/>
          <a:chExt cx="0" cy="0"/>
        </a:xfrm>
      </p:grpSpPr>
      <mc:AlternateContent xmlns:mc="http://schemas.openxmlformats.org/markup-compatibility/2006" xmlns:cx6="http://schemas.microsoft.com/office/drawing/2016/5/12/chartex">
        <mc:Choice Requires="cx6">
          <p:graphicFrame>
            <p:nvGraphicFramePr>
              <p:cNvPr id="12" name="Chart 11">
                <a:extLst>
                  <a:ext uri="{FF2B5EF4-FFF2-40B4-BE49-F238E27FC236}">
                    <a16:creationId xmlns:a16="http://schemas.microsoft.com/office/drawing/2014/main" id="{6B679484-EEF5-8577-F924-1293B5E84C91}"/>
                  </a:ext>
                </a:extLst>
              </p:cNvPr>
              <p:cNvGraphicFramePr/>
              <p:nvPr>
                <p:custDataLst>
                  <p:tags r:id="rId1"/>
                </p:custDataLst>
              </p:nvPr>
            </p:nvGraphicFramePr>
            <p:xfrm>
              <a:off x="-1645920" y="1496818"/>
              <a:ext cx="9073212" cy="5545755"/>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2" name="Chart 11">
                <a:extLst>
                  <a:ext uri="{FF2B5EF4-FFF2-40B4-BE49-F238E27FC236}">
                    <a16:creationId xmlns:a16="http://schemas.microsoft.com/office/drawing/2014/main" id="{6B679484-EEF5-8577-F924-1293B5E84C91}"/>
                  </a:ext>
                </a:extLst>
              </p:cNvPr>
              <p:cNvPicPr>
                <a:picLocks noGrp="1" noRot="1" noChangeAspect="1" noMove="1" noResize="1" noEditPoints="1" noAdjustHandles="1" noChangeArrowheads="1" noChangeShapeType="1"/>
              </p:cNvPicPr>
              <p:nvPr/>
            </p:nvPicPr>
            <p:blipFill>
              <a:blip r:embed="rId4"/>
              <a:stretch>
                <a:fillRect/>
              </a:stretch>
            </p:blipFill>
            <p:spPr>
              <a:xfrm>
                <a:off x="-1645920" y="1496818"/>
                <a:ext cx="9073212" cy="5545755"/>
              </a:xfrm>
              <a:prstGeom prst="rect">
                <a:avLst/>
              </a:prstGeom>
            </p:spPr>
          </p:pic>
        </mc:Fallback>
      </mc:AlternateContent>
      <p:pic>
        <p:nvPicPr>
          <p:cNvPr id="10" name="Picture 9">
            <a:extLst>
              <a:ext uri="{FF2B5EF4-FFF2-40B4-BE49-F238E27FC236}">
                <a16:creationId xmlns:a16="http://schemas.microsoft.com/office/drawing/2014/main" id="{4A126369-6F4F-194E-3EDB-B584BEDEE57D}"/>
              </a:ext>
            </a:extLst>
          </p:cNvPr>
          <p:cNvPicPr>
            <a:picLocks noChangeAspect="1"/>
          </p:cNvPicPr>
          <p:nvPr/>
        </p:nvPicPr>
        <p:blipFill>
          <a:blip r:embed="rId5"/>
          <a:srcRect l="3019"/>
          <a:stretch/>
        </p:blipFill>
        <p:spPr>
          <a:xfrm>
            <a:off x="5870448" y="1612071"/>
            <a:ext cx="6321552" cy="5287717"/>
          </a:xfrm>
          <a:prstGeom prst="rect">
            <a:avLst/>
          </a:prstGeom>
        </p:spPr>
      </p:pic>
      <p:sp>
        <p:nvSpPr>
          <p:cNvPr id="6" name="Title 5">
            <a:extLst>
              <a:ext uri="{FF2B5EF4-FFF2-40B4-BE49-F238E27FC236}">
                <a16:creationId xmlns:a16="http://schemas.microsoft.com/office/drawing/2014/main" id="{D74232CA-CE87-FC66-60D5-1D28BDD8A296}"/>
              </a:ext>
            </a:extLst>
          </p:cNvPr>
          <p:cNvSpPr>
            <a:spLocks noGrp="1"/>
          </p:cNvSpPr>
          <p:nvPr>
            <p:ph type="title"/>
          </p:nvPr>
        </p:nvSpPr>
        <p:spPr>
          <a:xfrm>
            <a:off x="838200" y="365125"/>
            <a:ext cx="10975848" cy="1325563"/>
          </a:xfrm>
        </p:spPr>
        <p:txBody>
          <a:bodyPr/>
          <a:lstStyle/>
          <a:p>
            <a:r>
              <a:rPr lang="en-US" dirty="0"/>
              <a:t>Origin of Waste and Capacity of Class I Landfills</a:t>
            </a:r>
          </a:p>
        </p:txBody>
      </p:sp>
      <p:pic>
        <p:nvPicPr>
          <p:cNvPr id="17" name="Picture 16">
            <a:extLst>
              <a:ext uri="{FF2B5EF4-FFF2-40B4-BE49-F238E27FC236}">
                <a16:creationId xmlns:a16="http://schemas.microsoft.com/office/drawing/2014/main" id="{A74A623E-70D3-F7A4-84C7-715792FE596B}"/>
              </a:ext>
            </a:extLst>
          </p:cNvPr>
          <p:cNvPicPr>
            <a:picLocks noChangeAspect="1"/>
          </p:cNvPicPr>
          <p:nvPr/>
        </p:nvPicPr>
        <p:blipFill>
          <a:blip r:embed="rId6"/>
          <a:stretch>
            <a:fillRect/>
          </a:stretch>
        </p:blipFill>
        <p:spPr>
          <a:xfrm>
            <a:off x="216134" y="3726213"/>
            <a:ext cx="628687" cy="2563104"/>
          </a:xfrm>
          <a:prstGeom prst="rect">
            <a:avLst/>
          </a:prstGeom>
        </p:spPr>
      </p:pic>
      <p:sp>
        <p:nvSpPr>
          <p:cNvPr id="18" name="TextBox 17">
            <a:extLst>
              <a:ext uri="{FF2B5EF4-FFF2-40B4-BE49-F238E27FC236}">
                <a16:creationId xmlns:a16="http://schemas.microsoft.com/office/drawing/2014/main" id="{7C623EB9-7504-556D-B3C2-CCB31C52BD11}"/>
              </a:ext>
            </a:extLst>
          </p:cNvPr>
          <p:cNvSpPr txBox="1"/>
          <p:nvPr/>
        </p:nvSpPr>
        <p:spPr>
          <a:xfrm>
            <a:off x="844821" y="5657254"/>
            <a:ext cx="1497330" cy="369332"/>
          </a:xfrm>
          <a:prstGeom prst="rect">
            <a:avLst/>
          </a:prstGeom>
          <a:noFill/>
        </p:spPr>
        <p:txBody>
          <a:bodyPr wrap="square" rtlCol="0">
            <a:spAutoFit/>
          </a:bodyPr>
          <a:lstStyle/>
          <a:p>
            <a:r>
              <a:rPr lang="en-US" dirty="0"/>
              <a:t>0 tons</a:t>
            </a:r>
          </a:p>
        </p:txBody>
      </p:sp>
      <p:sp>
        <p:nvSpPr>
          <p:cNvPr id="19" name="TextBox 18">
            <a:extLst>
              <a:ext uri="{FF2B5EF4-FFF2-40B4-BE49-F238E27FC236}">
                <a16:creationId xmlns:a16="http://schemas.microsoft.com/office/drawing/2014/main" id="{48175A3B-733F-6CC5-A13B-1B37D72C34FF}"/>
              </a:ext>
            </a:extLst>
          </p:cNvPr>
          <p:cNvSpPr txBox="1"/>
          <p:nvPr/>
        </p:nvSpPr>
        <p:spPr>
          <a:xfrm>
            <a:off x="844821" y="3956485"/>
            <a:ext cx="1497330" cy="369332"/>
          </a:xfrm>
          <a:prstGeom prst="rect">
            <a:avLst/>
          </a:prstGeom>
          <a:noFill/>
        </p:spPr>
        <p:txBody>
          <a:bodyPr wrap="square" rtlCol="0">
            <a:spAutoFit/>
          </a:bodyPr>
          <a:lstStyle/>
          <a:p>
            <a:r>
              <a:rPr lang="en-US" dirty="0"/>
              <a:t>2.6 M tons</a:t>
            </a:r>
          </a:p>
        </p:txBody>
      </p:sp>
      <p:sp>
        <p:nvSpPr>
          <p:cNvPr id="7" name="TextBox 6">
            <a:extLst>
              <a:ext uri="{FF2B5EF4-FFF2-40B4-BE49-F238E27FC236}">
                <a16:creationId xmlns:a16="http://schemas.microsoft.com/office/drawing/2014/main" id="{F72B3D03-C9C3-856B-8238-C09C3551C9BB}"/>
              </a:ext>
            </a:extLst>
          </p:cNvPr>
          <p:cNvSpPr txBox="1"/>
          <p:nvPr/>
        </p:nvSpPr>
        <p:spPr>
          <a:xfrm>
            <a:off x="7143484" y="5698259"/>
            <a:ext cx="3293789" cy="707886"/>
          </a:xfrm>
          <a:prstGeom prst="rect">
            <a:avLst/>
          </a:prstGeom>
          <a:noFill/>
        </p:spPr>
        <p:txBody>
          <a:bodyPr wrap="square" rtlCol="0">
            <a:spAutoFit/>
          </a:bodyPr>
          <a:lstStyle/>
          <a:p>
            <a:r>
              <a:rPr lang="en-US" sz="2000" b="1" dirty="0"/>
              <a:t>Tons of Permitted Capacity Remaining as of Jan. 1, 2025</a:t>
            </a:r>
          </a:p>
        </p:txBody>
      </p:sp>
      <p:sp>
        <p:nvSpPr>
          <p:cNvPr id="2" name="TextBox 1">
            <a:extLst>
              <a:ext uri="{FF2B5EF4-FFF2-40B4-BE49-F238E27FC236}">
                <a16:creationId xmlns:a16="http://schemas.microsoft.com/office/drawing/2014/main" id="{57828469-9857-EEDD-71CA-2C740B315A55}"/>
              </a:ext>
            </a:extLst>
          </p:cNvPr>
          <p:cNvSpPr txBox="1"/>
          <p:nvPr/>
        </p:nvSpPr>
        <p:spPr>
          <a:xfrm rot="16200000">
            <a:off x="-920343" y="4600943"/>
            <a:ext cx="2673067" cy="400110"/>
          </a:xfrm>
          <a:prstGeom prst="rect">
            <a:avLst/>
          </a:prstGeom>
          <a:noFill/>
        </p:spPr>
        <p:txBody>
          <a:bodyPr wrap="square" rtlCol="0">
            <a:spAutoFit/>
          </a:bodyPr>
          <a:lstStyle/>
          <a:p>
            <a:r>
              <a:rPr lang="en-US" sz="2000" b="1" dirty="0"/>
              <a:t>2023 Tons Landfilled</a:t>
            </a:r>
          </a:p>
        </p:txBody>
      </p:sp>
      <p:pic>
        <p:nvPicPr>
          <p:cNvPr id="8" name="Picture 7">
            <a:extLst>
              <a:ext uri="{FF2B5EF4-FFF2-40B4-BE49-F238E27FC236}">
                <a16:creationId xmlns:a16="http://schemas.microsoft.com/office/drawing/2014/main" id="{9B011D07-CE44-CC33-19E2-78DA66897F1B}"/>
              </a:ext>
            </a:extLst>
          </p:cNvPr>
          <p:cNvPicPr>
            <a:picLocks noChangeAspect="1"/>
          </p:cNvPicPr>
          <p:nvPr/>
        </p:nvPicPr>
        <p:blipFill>
          <a:blip r:embed="rId7"/>
          <a:stretch>
            <a:fillRect/>
          </a:stretch>
        </p:blipFill>
        <p:spPr>
          <a:xfrm>
            <a:off x="6028903" y="5528254"/>
            <a:ext cx="1114581" cy="1047896"/>
          </a:xfrm>
          <a:prstGeom prst="rect">
            <a:avLst/>
          </a:prstGeom>
        </p:spPr>
      </p:pic>
    </p:spTree>
    <p:extLst>
      <p:ext uri="{BB962C8B-B14F-4D97-AF65-F5344CB8AC3E}">
        <p14:creationId xmlns:p14="http://schemas.microsoft.com/office/powerpoint/2010/main" val="40270509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01C60AA-B661-4F49-887E-AF2AEB0237A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30409" y="516218"/>
            <a:ext cx="4730713" cy="6122099"/>
          </a:xfrm>
          <a:prstGeom prst="rect">
            <a:avLst/>
          </a:prstGeom>
        </p:spPr>
      </p:pic>
      <p:sp>
        <p:nvSpPr>
          <p:cNvPr id="2" name="Title 1">
            <a:extLst>
              <a:ext uri="{FF2B5EF4-FFF2-40B4-BE49-F238E27FC236}">
                <a16:creationId xmlns:a16="http://schemas.microsoft.com/office/drawing/2014/main" id="{A90DB394-12C3-6746-23C0-ECE50301C20B}"/>
              </a:ext>
            </a:extLst>
          </p:cNvPr>
          <p:cNvSpPr>
            <a:spLocks noGrp="1"/>
          </p:cNvSpPr>
          <p:nvPr>
            <p:ph type="title"/>
          </p:nvPr>
        </p:nvSpPr>
        <p:spPr>
          <a:xfrm>
            <a:off x="838199" y="365125"/>
            <a:ext cx="11261651" cy="1325563"/>
          </a:xfrm>
        </p:spPr>
        <p:txBody>
          <a:bodyPr/>
          <a:lstStyle/>
          <a:p>
            <a:r>
              <a:rPr lang="en-US" dirty="0"/>
              <a:t>Florida SWIFR Activities</a:t>
            </a:r>
          </a:p>
        </p:txBody>
      </p:sp>
      <p:sp>
        <p:nvSpPr>
          <p:cNvPr id="14" name="TextBox 13">
            <a:extLst>
              <a:ext uri="{FF2B5EF4-FFF2-40B4-BE49-F238E27FC236}">
                <a16:creationId xmlns:a16="http://schemas.microsoft.com/office/drawing/2014/main" id="{2F4F40A4-56CF-A047-9C81-CF8A31AD46D6}"/>
              </a:ext>
            </a:extLst>
          </p:cNvPr>
          <p:cNvSpPr txBox="1"/>
          <p:nvPr/>
        </p:nvSpPr>
        <p:spPr>
          <a:xfrm>
            <a:off x="550172" y="1881875"/>
            <a:ext cx="6020750" cy="3447098"/>
          </a:xfrm>
          <a:prstGeom prst="rect">
            <a:avLst/>
          </a:prstGeom>
          <a:noFill/>
        </p:spPr>
        <p:txBody>
          <a:bodyPr wrap="square">
            <a:spAutoFit/>
          </a:bodyPr>
          <a:lstStyle/>
          <a:p>
            <a:pPr marL="514350" indent="-514350">
              <a:spcBef>
                <a:spcPts val="2000"/>
              </a:spcBef>
              <a:buFont typeface="+mj-lt"/>
              <a:buAutoNum type="arabicParenR"/>
            </a:pPr>
            <a:r>
              <a:rPr lang="en-US" sz="2800" i="1" dirty="0">
                <a:solidFill>
                  <a:schemeClr val="accent6"/>
                </a:solidFill>
                <a:cs typeface="Calibri"/>
              </a:rPr>
              <a:t>Capacity Study</a:t>
            </a:r>
          </a:p>
          <a:p>
            <a:pPr lvl="1">
              <a:spcBef>
                <a:spcPts val="2000"/>
              </a:spcBef>
            </a:pPr>
            <a:r>
              <a:rPr lang="en-US" sz="2800" b="1" i="1" dirty="0">
                <a:solidFill>
                  <a:schemeClr val="accent2"/>
                </a:solidFill>
                <a:cs typeface="Calibri"/>
              </a:rPr>
              <a:t>Preliminary</a:t>
            </a:r>
            <a:r>
              <a:rPr lang="en-US" sz="2800" i="1" dirty="0">
                <a:solidFill>
                  <a:schemeClr val="accent2"/>
                </a:solidFill>
                <a:cs typeface="Calibri"/>
              </a:rPr>
              <a:t> results included in this presentation</a:t>
            </a:r>
          </a:p>
          <a:p>
            <a:pPr marL="514350" indent="-514350">
              <a:spcBef>
                <a:spcPts val="2000"/>
              </a:spcBef>
              <a:buFont typeface="+mj-lt"/>
              <a:buAutoNum type="arabicParenR"/>
            </a:pPr>
            <a:r>
              <a:rPr lang="en-US" sz="2800" i="1" dirty="0">
                <a:cs typeface="Calibri"/>
              </a:rPr>
              <a:t>Away from Home Waste and Recycling Study</a:t>
            </a:r>
          </a:p>
          <a:p>
            <a:pPr marL="514350" indent="-514350">
              <a:spcBef>
                <a:spcPts val="2000"/>
              </a:spcBef>
              <a:buFont typeface="+mj-lt"/>
              <a:buAutoNum type="arabicParenR"/>
            </a:pPr>
            <a:r>
              <a:rPr lang="en-US" sz="2800" i="1" dirty="0">
                <a:cs typeface="Calibri"/>
              </a:rPr>
              <a:t>Update </a:t>
            </a:r>
            <a:r>
              <a:rPr lang="en-US" sz="2800" i="1" dirty="0" err="1">
                <a:cs typeface="Calibri"/>
              </a:rPr>
              <a:t>WasteCalc</a:t>
            </a:r>
            <a:r>
              <a:rPr lang="en-US" sz="2800" i="1" dirty="0">
                <a:cs typeface="Calibri"/>
              </a:rPr>
              <a:t> Activity</a:t>
            </a:r>
          </a:p>
        </p:txBody>
      </p:sp>
      <p:sp>
        <p:nvSpPr>
          <p:cNvPr id="16" name="TextBox 15">
            <a:extLst>
              <a:ext uri="{FF2B5EF4-FFF2-40B4-BE49-F238E27FC236}">
                <a16:creationId xmlns:a16="http://schemas.microsoft.com/office/drawing/2014/main" id="{2664B464-6D45-384C-A36D-8E405F652AA0}"/>
              </a:ext>
            </a:extLst>
          </p:cNvPr>
          <p:cNvSpPr txBox="1"/>
          <p:nvPr/>
        </p:nvSpPr>
        <p:spPr>
          <a:xfrm>
            <a:off x="36065" y="6469040"/>
            <a:ext cx="6587022" cy="338554"/>
          </a:xfrm>
          <a:prstGeom prst="rect">
            <a:avLst/>
          </a:prstGeom>
          <a:noFill/>
        </p:spPr>
        <p:txBody>
          <a:bodyPr wrap="square">
            <a:spAutoFit/>
          </a:bodyPr>
          <a:lstStyle/>
          <a:p>
            <a:r>
              <a:rPr lang="en-US" sz="1600" dirty="0"/>
              <a:t>https://</a:t>
            </a:r>
            <a:r>
              <a:rPr lang="en-US" sz="1600" dirty="0" err="1"/>
              <a:t>www.epa.gov</a:t>
            </a:r>
            <a:r>
              <a:rPr lang="en-US" sz="1600" dirty="0"/>
              <a:t>/infrastructure/recycling-grant-selectees-and-recipients</a:t>
            </a:r>
          </a:p>
        </p:txBody>
      </p:sp>
    </p:spTree>
    <p:extLst>
      <p:ext uri="{BB962C8B-B14F-4D97-AF65-F5344CB8AC3E}">
        <p14:creationId xmlns:p14="http://schemas.microsoft.com/office/powerpoint/2010/main" val="11888069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3E088B-4406-FF57-B853-F12BBF7F8A8A}"/>
            </a:ext>
          </a:extLst>
        </p:cNvPr>
        <p:cNvGrpSpPr/>
        <p:nvPr/>
      </p:nvGrpSpPr>
      <p:grpSpPr>
        <a:xfrm>
          <a:off x="0" y="0"/>
          <a:ext cx="0" cy="0"/>
          <a:chOff x="0" y="0"/>
          <a:chExt cx="0" cy="0"/>
        </a:xfrm>
      </p:grpSpPr>
      <mc:AlternateContent xmlns:mc="http://schemas.openxmlformats.org/markup-compatibility/2006" xmlns:cx6="http://schemas.microsoft.com/office/drawing/2016/5/12/chartex">
        <mc:Choice Requires="cx6">
          <p:graphicFrame>
            <p:nvGraphicFramePr>
              <p:cNvPr id="12" name="Chart 11">
                <a:extLst>
                  <a:ext uri="{FF2B5EF4-FFF2-40B4-BE49-F238E27FC236}">
                    <a16:creationId xmlns:a16="http://schemas.microsoft.com/office/drawing/2014/main" id="{D5AB502D-A3C6-074F-8839-0094164B2941}"/>
                  </a:ext>
                </a:extLst>
              </p:cNvPr>
              <p:cNvGraphicFramePr/>
              <p:nvPr>
                <p:custDataLst>
                  <p:tags r:id="rId1"/>
                </p:custDataLst>
              </p:nvPr>
            </p:nvGraphicFramePr>
            <p:xfrm>
              <a:off x="-1645920" y="1496818"/>
              <a:ext cx="9073212" cy="5545755"/>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2" name="Chart 11">
                <a:extLst>
                  <a:ext uri="{FF2B5EF4-FFF2-40B4-BE49-F238E27FC236}">
                    <a16:creationId xmlns:a16="http://schemas.microsoft.com/office/drawing/2014/main" id="{D5AB502D-A3C6-074F-8839-0094164B2941}"/>
                  </a:ext>
                </a:extLst>
              </p:cNvPr>
              <p:cNvPicPr>
                <a:picLocks noGrp="1" noRot="1" noChangeAspect="1" noMove="1" noResize="1" noEditPoints="1" noAdjustHandles="1" noChangeArrowheads="1" noChangeShapeType="1"/>
              </p:cNvPicPr>
              <p:nvPr/>
            </p:nvPicPr>
            <p:blipFill>
              <a:blip r:embed="rId4"/>
              <a:stretch>
                <a:fillRect/>
              </a:stretch>
            </p:blipFill>
            <p:spPr>
              <a:xfrm>
                <a:off x="-1645920" y="1496818"/>
                <a:ext cx="9073212" cy="5545755"/>
              </a:xfrm>
              <a:prstGeom prst="rect">
                <a:avLst/>
              </a:prstGeom>
            </p:spPr>
          </p:pic>
        </mc:Fallback>
      </mc:AlternateContent>
      <p:pic>
        <p:nvPicPr>
          <p:cNvPr id="4" name="Picture 3">
            <a:extLst>
              <a:ext uri="{FF2B5EF4-FFF2-40B4-BE49-F238E27FC236}">
                <a16:creationId xmlns:a16="http://schemas.microsoft.com/office/drawing/2014/main" id="{D10AB3BE-6D48-CE65-7835-AA7A0CAE0D1D}"/>
              </a:ext>
            </a:extLst>
          </p:cNvPr>
          <p:cNvPicPr>
            <a:picLocks noChangeAspect="1"/>
          </p:cNvPicPr>
          <p:nvPr/>
        </p:nvPicPr>
        <p:blipFill>
          <a:blip r:embed="rId5"/>
          <a:srcRect l="1625"/>
          <a:stretch/>
        </p:blipFill>
        <p:spPr>
          <a:xfrm>
            <a:off x="5855883" y="1496817"/>
            <a:ext cx="6342570" cy="5395269"/>
          </a:xfrm>
          <a:prstGeom prst="rect">
            <a:avLst/>
          </a:prstGeom>
        </p:spPr>
      </p:pic>
      <p:sp>
        <p:nvSpPr>
          <p:cNvPr id="6" name="Title 5">
            <a:extLst>
              <a:ext uri="{FF2B5EF4-FFF2-40B4-BE49-F238E27FC236}">
                <a16:creationId xmlns:a16="http://schemas.microsoft.com/office/drawing/2014/main" id="{AABD5717-8FD1-1EF8-C465-A248B0B4E9A8}"/>
              </a:ext>
            </a:extLst>
          </p:cNvPr>
          <p:cNvSpPr>
            <a:spLocks noGrp="1"/>
          </p:cNvSpPr>
          <p:nvPr>
            <p:ph type="title"/>
          </p:nvPr>
        </p:nvSpPr>
        <p:spPr>
          <a:xfrm>
            <a:off x="838200" y="365125"/>
            <a:ext cx="10975848" cy="1325563"/>
          </a:xfrm>
        </p:spPr>
        <p:txBody>
          <a:bodyPr/>
          <a:lstStyle/>
          <a:p>
            <a:r>
              <a:rPr lang="en-US" dirty="0"/>
              <a:t>Origin of Waste and Capacity of Class I Landfills</a:t>
            </a:r>
          </a:p>
        </p:txBody>
      </p:sp>
      <p:pic>
        <p:nvPicPr>
          <p:cNvPr id="17" name="Picture 16">
            <a:extLst>
              <a:ext uri="{FF2B5EF4-FFF2-40B4-BE49-F238E27FC236}">
                <a16:creationId xmlns:a16="http://schemas.microsoft.com/office/drawing/2014/main" id="{9F728CC8-4D3A-45B7-C691-845710C37599}"/>
              </a:ext>
            </a:extLst>
          </p:cNvPr>
          <p:cNvPicPr>
            <a:picLocks noChangeAspect="1"/>
          </p:cNvPicPr>
          <p:nvPr/>
        </p:nvPicPr>
        <p:blipFill>
          <a:blip r:embed="rId6"/>
          <a:stretch>
            <a:fillRect/>
          </a:stretch>
        </p:blipFill>
        <p:spPr>
          <a:xfrm>
            <a:off x="216134" y="3726213"/>
            <a:ext cx="628687" cy="2563104"/>
          </a:xfrm>
          <a:prstGeom prst="rect">
            <a:avLst/>
          </a:prstGeom>
        </p:spPr>
      </p:pic>
      <p:sp>
        <p:nvSpPr>
          <p:cNvPr id="18" name="TextBox 17">
            <a:extLst>
              <a:ext uri="{FF2B5EF4-FFF2-40B4-BE49-F238E27FC236}">
                <a16:creationId xmlns:a16="http://schemas.microsoft.com/office/drawing/2014/main" id="{4C1C29F4-455D-9137-12A6-28CAAC8DCCBE}"/>
              </a:ext>
            </a:extLst>
          </p:cNvPr>
          <p:cNvSpPr txBox="1"/>
          <p:nvPr/>
        </p:nvSpPr>
        <p:spPr>
          <a:xfrm>
            <a:off x="844821" y="5657254"/>
            <a:ext cx="1497330" cy="369332"/>
          </a:xfrm>
          <a:prstGeom prst="rect">
            <a:avLst/>
          </a:prstGeom>
          <a:noFill/>
        </p:spPr>
        <p:txBody>
          <a:bodyPr wrap="square" rtlCol="0">
            <a:spAutoFit/>
          </a:bodyPr>
          <a:lstStyle/>
          <a:p>
            <a:r>
              <a:rPr lang="en-US" dirty="0"/>
              <a:t>0 tons</a:t>
            </a:r>
          </a:p>
        </p:txBody>
      </p:sp>
      <p:sp>
        <p:nvSpPr>
          <p:cNvPr id="19" name="TextBox 18">
            <a:extLst>
              <a:ext uri="{FF2B5EF4-FFF2-40B4-BE49-F238E27FC236}">
                <a16:creationId xmlns:a16="http://schemas.microsoft.com/office/drawing/2014/main" id="{43094A85-64A0-2EE8-C4C6-07A3D84161F5}"/>
              </a:ext>
            </a:extLst>
          </p:cNvPr>
          <p:cNvSpPr txBox="1"/>
          <p:nvPr/>
        </p:nvSpPr>
        <p:spPr>
          <a:xfrm>
            <a:off x="844821" y="3956485"/>
            <a:ext cx="1497330" cy="369332"/>
          </a:xfrm>
          <a:prstGeom prst="rect">
            <a:avLst/>
          </a:prstGeom>
          <a:noFill/>
        </p:spPr>
        <p:txBody>
          <a:bodyPr wrap="square" rtlCol="0">
            <a:spAutoFit/>
          </a:bodyPr>
          <a:lstStyle/>
          <a:p>
            <a:r>
              <a:rPr lang="en-US" dirty="0"/>
              <a:t>2.6 M tons</a:t>
            </a:r>
          </a:p>
        </p:txBody>
      </p:sp>
      <p:pic>
        <p:nvPicPr>
          <p:cNvPr id="10" name="Picture 9">
            <a:extLst>
              <a:ext uri="{FF2B5EF4-FFF2-40B4-BE49-F238E27FC236}">
                <a16:creationId xmlns:a16="http://schemas.microsoft.com/office/drawing/2014/main" id="{F8ED3351-B9DD-3C27-1B7A-54FEED8CB2CD}"/>
              </a:ext>
            </a:extLst>
          </p:cNvPr>
          <p:cNvPicPr>
            <a:picLocks noChangeAspect="1"/>
          </p:cNvPicPr>
          <p:nvPr/>
        </p:nvPicPr>
        <p:blipFill>
          <a:blip r:embed="rId7"/>
          <a:srcRect l="4081" t="1666" r="-1"/>
          <a:stretch/>
        </p:blipFill>
        <p:spPr>
          <a:xfrm>
            <a:off x="6278519" y="3295679"/>
            <a:ext cx="354330" cy="2174822"/>
          </a:xfrm>
          <a:prstGeom prst="rect">
            <a:avLst/>
          </a:prstGeom>
        </p:spPr>
      </p:pic>
      <p:sp>
        <p:nvSpPr>
          <p:cNvPr id="11" name="TextBox 10">
            <a:extLst>
              <a:ext uri="{FF2B5EF4-FFF2-40B4-BE49-F238E27FC236}">
                <a16:creationId xmlns:a16="http://schemas.microsoft.com/office/drawing/2014/main" id="{3B9C1F30-4C78-320F-223E-C63EBFACEF29}"/>
              </a:ext>
            </a:extLst>
          </p:cNvPr>
          <p:cNvSpPr txBox="1"/>
          <p:nvPr/>
        </p:nvSpPr>
        <p:spPr>
          <a:xfrm>
            <a:off x="6693040" y="3295679"/>
            <a:ext cx="1497330" cy="369332"/>
          </a:xfrm>
          <a:prstGeom prst="rect">
            <a:avLst/>
          </a:prstGeom>
          <a:noFill/>
        </p:spPr>
        <p:txBody>
          <a:bodyPr wrap="square" rtlCol="0">
            <a:spAutoFit/>
          </a:bodyPr>
          <a:lstStyle/>
          <a:p>
            <a:r>
              <a:rPr lang="en-US" dirty="0"/>
              <a:t>0 tons</a:t>
            </a:r>
          </a:p>
        </p:txBody>
      </p:sp>
      <p:sp>
        <p:nvSpPr>
          <p:cNvPr id="13" name="TextBox 12">
            <a:extLst>
              <a:ext uri="{FF2B5EF4-FFF2-40B4-BE49-F238E27FC236}">
                <a16:creationId xmlns:a16="http://schemas.microsoft.com/office/drawing/2014/main" id="{51B655CC-BCC8-99CF-7F90-735E83009947}"/>
              </a:ext>
            </a:extLst>
          </p:cNvPr>
          <p:cNvSpPr txBox="1"/>
          <p:nvPr/>
        </p:nvSpPr>
        <p:spPr>
          <a:xfrm>
            <a:off x="6632849" y="5126116"/>
            <a:ext cx="1497330" cy="369332"/>
          </a:xfrm>
          <a:prstGeom prst="rect">
            <a:avLst/>
          </a:prstGeom>
          <a:noFill/>
        </p:spPr>
        <p:txBody>
          <a:bodyPr wrap="square" rtlCol="0">
            <a:spAutoFit/>
          </a:bodyPr>
          <a:lstStyle/>
          <a:p>
            <a:r>
              <a:rPr lang="en-US" dirty="0"/>
              <a:t>2.5 M tons</a:t>
            </a:r>
          </a:p>
        </p:txBody>
      </p:sp>
      <p:sp>
        <p:nvSpPr>
          <p:cNvPr id="14" name="TextBox 13">
            <a:extLst>
              <a:ext uri="{FF2B5EF4-FFF2-40B4-BE49-F238E27FC236}">
                <a16:creationId xmlns:a16="http://schemas.microsoft.com/office/drawing/2014/main" id="{A64C95E9-8A3D-1844-B0D4-997AC45D071B}"/>
              </a:ext>
            </a:extLst>
          </p:cNvPr>
          <p:cNvSpPr txBox="1"/>
          <p:nvPr/>
        </p:nvSpPr>
        <p:spPr>
          <a:xfrm rot="16200000">
            <a:off x="4756342" y="3958859"/>
            <a:ext cx="2673067" cy="400110"/>
          </a:xfrm>
          <a:prstGeom prst="rect">
            <a:avLst/>
          </a:prstGeom>
          <a:noFill/>
        </p:spPr>
        <p:txBody>
          <a:bodyPr wrap="square" rtlCol="0">
            <a:spAutoFit/>
          </a:bodyPr>
          <a:lstStyle/>
          <a:p>
            <a:r>
              <a:rPr lang="en-US" sz="2000" b="1" dirty="0"/>
              <a:t>2023 Tons Accepted</a:t>
            </a:r>
          </a:p>
        </p:txBody>
      </p:sp>
      <p:sp>
        <p:nvSpPr>
          <p:cNvPr id="2" name="TextBox 1">
            <a:extLst>
              <a:ext uri="{FF2B5EF4-FFF2-40B4-BE49-F238E27FC236}">
                <a16:creationId xmlns:a16="http://schemas.microsoft.com/office/drawing/2014/main" id="{0BECC801-B575-DD81-B3C9-0D990A8BB9E2}"/>
              </a:ext>
            </a:extLst>
          </p:cNvPr>
          <p:cNvSpPr txBox="1"/>
          <p:nvPr/>
        </p:nvSpPr>
        <p:spPr>
          <a:xfrm rot="16200000">
            <a:off x="-920343" y="4600943"/>
            <a:ext cx="2673067" cy="400110"/>
          </a:xfrm>
          <a:prstGeom prst="rect">
            <a:avLst/>
          </a:prstGeom>
          <a:noFill/>
        </p:spPr>
        <p:txBody>
          <a:bodyPr wrap="square" rtlCol="0">
            <a:spAutoFit/>
          </a:bodyPr>
          <a:lstStyle/>
          <a:p>
            <a:r>
              <a:rPr lang="en-US" sz="2000" b="1" dirty="0"/>
              <a:t>2023 Tons Landfilled</a:t>
            </a:r>
          </a:p>
        </p:txBody>
      </p:sp>
      <p:sp>
        <p:nvSpPr>
          <p:cNvPr id="8" name="TextBox 7">
            <a:extLst>
              <a:ext uri="{FF2B5EF4-FFF2-40B4-BE49-F238E27FC236}">
                <a16:creationId xmlns:a16="http://schemas.microsoft.com/office/drawing/2014/main" id="{F3DBF33E-CA2B-7B70-AB6F-BB9402C3AB07}"/>
              </a:ext>
            </a:extLst>
          </p:cNvPr>
          <p:cNvSpPr txBox="1"/>
          <p:nvPr/>
        </p:nvSpPr>
        <p:spPr>
          <a:xfrm>
            <a:off x="7143484" y="5698259"/>
            <a:ext cx="3293789" cy="707886"/>
          </a:xfrm>
          <a:prstGeom prst="rect">
            <a:avLst/>
          </a:prstGeom>
          <a:noFill/>
        </p:spPr>
        <p:txBody>
          <a:bodyPr wrap="square" rtlCol="0">
            <a:spAutoFit/>
          </a:bodyPr>
          <a:lstStyle/>
          <a:p>
            <a:r>
              <a:rPr lang="en-US" sz="2000" b="1" dirty="0"/>
              <a:t>Tons of Permitted Capacity Remaining as of Jan. 1, 2025</a:t>
            </a:r>
          </a:p>
        </p:txBody>
      </p:sp>
      <p:pic>
        <p:nvPicPr>
          <p:cNvPr id="15" name="Picture 14">
            <a:extLst>
              <a:ext uri="{FF2B5EF4-FFF2-40B4-BE49-F238E27FC236}">
                <a16:creationId xmlns:a16="http://schemas.microsoft.com/office/drawing/2014/main" id="{DE800716-EE55-CFCA-4D24-A4523099CFFE}"/>
              </a:ext>
            </a:extLst>
          </p:cNvPr>
          <p:cNvPicPr>
            <a:picLocks noChangeAspect="1"/>
          </p:cNvPicPr>
          <p:nvPr/>
        </p:nvPicPr>
        <p:blipFill>
          <a:blip r:embed="rId8"/>
          <a:stretch>
            <a:fillRect/>
          </a:stretch>
        </p:blipFill>
        <p:spPr>
          <a:xfrm>
            <a:off x="6028903" y="5528254"/>
            <a:ext cx="1114581" cy="1047896"/>
          </a:xfrm>
          <a:prstGeom prst="rect">
            <a:avLst/>
          </a:prstGeom>
        </p:spPr>
      </p:pic>
    </p:spTree>
    <p:extLst>
      <p:ext uri="{BB962C8B-B14F-4D97-AF65-F5344CB8AC3E}">
        <p14:creationId xmlns:p14="http://schemas.microsoft.com/office/powerpoint/2010/main" val="18807359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hart 9">
            <a:extLst>
              <a:ext uri="{FF2B5EF4-FFF2-40B4-BE49-F238E27FC236}">
                <a16:creationId xmlns:a16="http://schemas.microsoft.com/office/drawing/2014/main" id="{500CB846-810F-E075-35E2-D9A5412DAFE5}"/>
              </a:ext>
            </a:extLst>
          </p:cNvPr>
          <p:cNvGraphicFramePr>
            <a:graphicFrameLocks/>
          </p:cNvGraphicFramePr>
          <p:nvPr>
            <p:custDataLst>
              <p:tags r:id="rId1"/>
            </p:custDataLst>
            <p:extLst>
              <p:ext uri="{D42A27DB-BD31-4B8C-83A1-F6EECF244321}">
                <p14:modId xmlns:p14="http://schemas.microsoft.com/office/powerpoint/2010/main" val="456845386"/>
              </p:ext>
            </p:extLst>
          </p:nvPr>
        </p:nvGraphicFramePr>
        <p:xfrm>
          <a:off x="1" y="1456660"/>
          <a:ext cx="12192000" cy="5401340"/>
        </p:xfrm>
        <a:graphic>
          <a:graphicData uri="http://schemas.openxmlformats.org/drawingml/2006/chart">
            <c:chart xmlns:c="http://schemas.openxmlformats.org/drawingml/2006/chart" xmlns:r="http://schemas.openxmlformats.org/officeDocument/2006/relationships" r:id="rId4"/>
          </a:graphicData>
        </a:graphic>
      </p:graphicFrame>
      <p:sp>
        <p:nvSpPr>
          <p:cNvPr id="2" name="Title 1">
            <a:extLst>
              <a:ext uri="{FF2B5EF4-FFF2-40B4-BE49-F238E27FC236}">
                <a16:creationId xmlns:a16="http://schemas.microsoft.com/office/drawing/2014/main" id="{A90DB394-12C3-6746-23C0-ECE50301C20B}"/>
              </a:ext>
            </a:extLst>
          </p:cNvPr>
          <p:cNvSpPr>
            <a:spLocks noGrp="1"/>
          </p:cNvSpPr>
          <p:nvPr>
            <p:ph type="title"/>
          </p:nvPr>
        </p:nvSpPr>
        <p:spPr>
          <a:xfrm>
            <a:off x="-73152" y="359308"/>
            <a:ext cx="12461748" cy="1325563"/>
          </a:xfrm>
        </p:spPr>
        <p:txBody>
          <a:bodyPr/>
          <a:lstStyle/>
          <a:p>
            <a:r>
              <a:rPr lang="en-US" dirty="0"/>
              <a:t>Remaining Permitted Class I Capacity as of Jan</a:t>
            </a:r>
            <a:r>
              <a:rPr lang="en-US" sz="3200" dirty="0"/>
              <a:t>.</a:t>
            </a:r>
            <a:r>
              <a:rPr lang="en-US" dirty="0"/>
              <a:t> 1</a:t>
            </a:r>
            <a:r>
              <a:rPr lang="en-US" sz="3200" dirty="0"/>
              <a:t>,</a:t>
            </a:r>
            <a:r>
              <a:rPr lang="en-US" dirty="0"/>
              <a:t> 2025</a:t>
            </a:r>
          </a:p>
        </p:txBody>
      </p:sp>
      <p:sp>
        <p:nvSpPr>
          <p:cNvPr id="4" name="TextBox 3">
            <a:extLst>
              <a:ext uri="{FF2B5EF4-FFF2-40B4-BE49-F238E27FC236}">
                <a16:creationId xmlns:a16="http://schemas.microsoft.com/office/drawing/2014/main" id="{7C1E8CBB-47C6-BBDA-B0C8-7A1760E3BD46}"/>
              </a:ext>
            </a:extLst>
          </p:cNvPr>
          <p:cNvSpPr txBox="1"/>
          <p:nvPr/>
        </p:nvSpPr>
        <p:spPr>
          <a:xfrm>
            <a:off x="1369181" y="1893434"/>
            <a:ext cx="1819275" cy="369332"/>
          </a:xfrm>
          <a:prstGeom prst="rect">
            <a:avLst/>
          </a:prstGeom>
          <a:noFill/>
        </p:spPr>
        <p:txBody>
          <a:bodyPr wrap="square" rtlCol="0">
            <a:spAutoFit/>
          </a:bodyPr>
          <a:lstStyle/>
          <a:p>
            <a:pPr algn="ctr"/>
            <a:r>
              <a:rPr lang="en-US" b="1" dirty="0">
                <a:solidFill>
                  <a:schemeClr val="tx1">
                    <a:lumMod val="65000"/>
                    <a:lumOff val="35000"/>
                  </a:schemeClr>
                </a:solidFill>
              </a:rPr>
              <a:t>139.2 M tons</a:t>
            </a:r>
          </a:p>
        </p:txBody>
      </p:sp>
      <p:sp>
        <p:nvSpPr>
          <p:cNvPr id="5" name="TextBox 4">
            <a:extLst>
              <a:ext uri="{FF2B5EF4-FFF2-40B4-BE49-F238E27FC236}">
                <a16:creationId xmlns:a16="http://schemas.microsoft.com/office/drawing/2014/main" id="{3BDD1A83-D9D9-D31D-A1AF-1FE834E880F7}"/>
              </a:ext>
            </a:extLst>
          </p:cNvPr>
          <p:cNvSpPr txBox="1"/>
          <p:nvPr/>
        </p:nvSpPr>
        <p:spPr>
          <a:xfrm>
            <a:off x="3128009" y="4314829"/>
            <a:ext cx="1819275" cy="369332"/>
          </a:xfrm>
          <a:prstGeom prst="rect">
            <a:avLst/>
          </a:prstGeom>
          <a:noFill/>
        </p:spPr>
        <p:txBody>
          <a:bodyPr wrap="square" rtlCol="0">
            <a:spAutoFit/>
          </a:bodyPr>
          <a:lstStyle/>
          <a:p>
            <a:pPr algn="ctr"/>
            <a:r>
              <a:rPr lang="en-US" b="1" dirty="0">
                <a:solidFill>
                  <a:schemeClr val="tx1">
                    <a:lumMod val="65000"/>
                    <a:lumOff val="35000"/>
                  </a:schemeClr>
                </a:solidFill>
              </a:rPr>
              <a:t>56.5 M tons</a:t>
            </a:r>
          </a:p>
        </p:txBody>
      </p:sp>
      <p:sp>
        <p:nvSpPr>
          <p:cNvPr id="6" name="TextBox 5">
            <a:extLst>
              <a:ext uri="{FF2B5EF4-FFF2-40B4-BE49-F238E27FC236}">
                <a16:creationId xmlns:a16="http://schemas.microsoft.com/office/drawing/2014/main" id="{0BAF24E6-5096-4875-6E97-50F831C438F2}"/>
              </a:ext>
            </a:extLst>
          </p:cNvPr>
          <p:cNvSpPr txBox="1"/>
          <p:nvPr/>
        </p:nvSpPr>
        <p:spPr>
          <a:xfrm>
            <a:off x="4914233" y="4825615"/>
            <a:ext cx="1819275" cy="369332"/>
          </a:xfrm>
          <a:prstGeom prst="rect">
            <a:avLst/>
          </a:prstGeom>
          <a:noFill/>
        </p:spPr>
        <p:txBody>
          <a:bodyPr wrap="square" rtlCol="0">
            <a:spAutoFit/>
          </a:bodyPr>
          <a:lstStyle/>
          <a:p>
            <a:pPr algn="ctr"/>
            <a:r>
              <a:rPr lang="en-US" b="1" dirty="0">
                <a:solidFill>
                  <a:schemeClr val="tx1">
                    <a:lumMod val="65000"/>
                    <a:lumOff val="35000"/>
                  </a:schemeClr>
                </a:solidFill>
              </a:rPr>
              <a:t>38.8 M tons</a:t>
            </a:r>
          </a:p>
        </p:txBody>
      </p:sp>
      <p:sp>
        <p:nvSpPr>
          <p:cNvPr id="7" name="TextBox 6">
            <a:extLst>
              <a:ext uri="{FF2B5EF4-FFF2-40B4-BE49-F238E27FC236}">
                <a16:creationId xmlns:a16="http://schemas.microsoft.com/office/drawing/2014/main" id="{2CE1D953-F412-E43D-A445-2431CC042455}"/>
              </a:ext>
            </a:extLst>
          </p:cNvPr>
          <p:cNvSpPr txBox="1"/>
          <p:nvPr/>
        </p:nvSpPr>
        <p:spPr>
          <a:xfrm>
            <a:off x="8461064" y="2473231"/>
            <a:ext cx="1819275" cy="369332"/>
          </a:xfrm>
          <a:prstGeom prst="rect">
            <a:avLst/>
          </a:prstGeom>
          <a:noFill/>
        </p:spPr>
        <p:txBody>
          <a:bodyPr wrap="square" rtlCol="0">
            <a:spAutoFit/>
          </a:bodyPr>
          <a:lstStyle/>
          <a:p>
            <a:pPr algn="ctr"/>
            <a:r>
              <a:rPr lang="en-US" b="1" dirty="0">
                <a:solidFill>
                  <a:schemeClr val="tx1">
                    <a:lumMod val="65000"/>
                    <a:lumOff val="35000"/>
                  </a:schemeClr>
                </a:solidFill>
              </a:rPr>
              <a:t>119.6 M tons</a:t>
            </a:r>
          </a:p>
        </p:txBody>
      </p:sp>
      <p:sp>
        <p:nvSpPr>
          <p:cNvPr id="9" name="TextBox 8">
            <a:extLst>
              <a:ext uri="{FF2B5EF4-FFF2-40B4-BE49-F238E27FC236}">
                <a16:creationId xmlns:a16="http://schemas.microsoft.com/office/drawing/2014/main" id="{33C23CC4-2963-AE25-09F6-09B3BB976950}"/>
              </a:ext>
            </a:extLst>
          </p:cNvPr>
          <p:cNvSpPr txBox="1"/>
          <p:nvPr/>
        </p:nvSpPr>
        <p:spPr>
          <a:xfrm>
            <a:off x="10215063" y="3761505"/>
            <a:ext cx="1819275" cy="369332"/>
          </a:xfrm>
          <a:prstGeom prst="rect">
            <a:avLst/>
          </a:prstGeom>
          <a:noFill/>
        </p:spPr>
        <p:txBody>
          <a:bodyPr wrap="square" rtlCol="0">
            <a:spAutoFit/>
          </a:bodyPr>
          <a:lstStyle/>
          <a:p>
            <a:pPr algn="ctr"/>
            <a:r>
              <a:rPr lang="en-US" b="1" dirty="0">
                <a:solidFill>
                  <a:schemeClr val="tx1">
                    <a:lumMod val="65000"/>
                    <a:lumOff val="35000"/>
                  </a:schemeClr>
                </a:solidFill>
              </a:rPr>
              <a:t>75.3 M tons</a:t>
            </a:r>
          </a:p>
        </p:txBody>
      </p:sp>
      <p:sp>
        <p:nvSpPr>
          <p:cNvPr id="17" name="TextBox 16">
            <a:extLst>
              <a:ext uri="{FF2B5EF4-FFF2-40B4-BE49-F238E27FC236}">
                <a16:creationId xmlns:a16="http://schemas.microsoft.com/office/drawing/2014/main" id="{4C313549-675C-071F-2F5B-A553A5388CF4}"/>
              </a:ext>
            </a:extLst>
          </p:cNvPr>
          <p:cNvSpPr txBox="1"/>
          <p:nvPr/>
        </p:nvSpPr>
        <p:spPr>
          <a:xfrm>
            <a:off x="6664649" y="5130814"/>
            <a:ext cx="1819275" cy="369332"/>
          </a:xfrm>
          <a:prstGeom prst="rect">
            <a:avLst/>
          </a:prstGeom>
          <a:noFill/>
        </p:spPr>
        <p:txBody>
          <a:bodyPr wrap="square" rtlCol="0">
            <a:spAutoFit/>
          </a:bodyPr>
          <a:lstStyle/>
          <a:p>
            <a:pPr algn="ctr"/>
            <a:r>
              <a:rPr lang="en-US" b="1" dirty="0">
                <a:solidFill>
                  <a:schemeClr val="tx1">
                    <a:lumMod val="65000"/>
                    <a:lumOff val="35000"/>
                  </a:schemeClr>
                </a:solidFill>
              </a:rPr>
              <a:t>28.5 M tons</a:t>
            </a:r>
          </a:p>
        </p:txBody>
      </p:sp>
      <p:sp>
        <p:nvSpPr>
          <p:cNvPr id="8" name="TextBox 7">
            <a:extLst>
              <a:ext uri="{FF2B5EF4-FFF2-40B4-BE49-F238E27FC236}">
                <a16:creationId xmlns:a16="http://schemas.microsoft.com/office/drawing/2014/main" id="{4F190EFB-115B-76D4-CA2D-71E82EB73999}"/>
              </a:ext>
            </a:extLst>
          </p:cNvPr>
          <p:cNvSpPr txBox="1"/>
          <p:nvPr/>
        </p:nvSpPr>
        <p:spPr>
          <a:xfrm>
            <a:off x="8724220" y="1636933"/>
            <a:ext cx="3230108" cy="646331"/>
          </a:xfrm>
          <a:prstGeom prst="rect">
            <a:avLst/>
          </a:prstGeom>
          <a:noFill/>
          <a:ln>
            <a:noFill/>
          </a:ln>
        </p:spPr>
        <p:txBody>
          <a:bodyPr wrap="square" rtlCol="0">
            <a:spAutoFit/>
          </a:bodyPr>
          <a:lstStyle/>
          <a:p>
            <a:r>
              <a:rPr lang="en-US" b="1" dirty="0">
                <a:solidFill>
                  <a:schemeClr val="tx1">
                    <a:lumMod val="65000"/>
                    <a:lumOff val="35000"/>
                  </a:schemeClr>
                </a:solidFill>
              </a:rPr>
              <a:t>Different colors correspond to a separate facility in each district</a:t>
            </a:r>
          </a:p>
        </p:txBody>
      </p:sp>
    </p:spTree>
    <p:extLst>
      <p:ext uri="{BB962C8B-B14F-4D97-AF65-F5344CB8AC3E}">
        <p14:creationId xmlns:p14="http://schemas.microsoft.com/office/powerpoint/2010/main" val="3373796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DB394-12C3-6746-23C0-ECE50301C20B}"/>
              </a:ext>
            </a:extLst>
          </p:cNvPr>
          <p:cNvSpPr>
            <a:spLocks noGrp="1"/>
          </p:cNvSpPr>
          <p:nvPr>
            <p:ph type="title"/>
          </p:nvPr>
        </p:nvSpPr>
        <p:spPr>
          <a:xfrm>
            <a:off x="284356" y="382710"/>
            <a:ext cx="11069443" cy="1325563"/>
          </a:xfrm>
        </p:spPr>
        <p:txBody>
          <a:bodyPr/>
          <a:lstStyle/>
          <a:p>
            <a:r>
              <a:rPr lang="en-US" dirty="0"/>
              <a:t>Method to Project Remaining Regional Capacity</a:t>
            </a:r>
          </a:p>
        </p:txBody>
      </p:sp>
      <p:sp>
        <p:nvSpPr>
          <p:cNvPr id="6" name="TextBox 5">
            <a:extLst>
              <a:ext uri="{FF2B5EF4-FFF2-40B4-BE49-F238E27FC236}">
                <a16:creationId xmlns:a16="http://schemas.microsoft.com/office/drawing/2014/main" id="{BBA6518F-0F77-5A44-9F6E-FEB723097631}"/>
              </a:ext>
            </a:extLst>
          </p:cNvPr>
          <p:cNvSpPr txBox="1"/>
          <p:nvPr/>
        </p:nvSpPr>
        <p:spPr>
          <a:xfrm>
            <a:off x="284356" y="2010543"/>
            <a:ext cx="5576947" cy="3580467"/>
          </a:xfrm>
          <a:prstGeom prst="rect">
            <a:avLst/>
          </a:prstGeom>
          <a:noFill/>
        </p:spPr>
        <p:txBody>
          <a:bodyPr wrap="square">
            <a:spAutoFit/>
          </a:bodyPr>
          <a:lstStyle/>
          <a:p>
            <a:pPr>
              <a:spcBef>
                <a:spcPts val="2000"/>
              </a:spcBef>
            </a:pPr>
            <a:r>
              <a:rPr lang="en-US" sz="2000" dirty="0">
                <a:cs typeface="Calibri"/>
              </a:rPr>
              <a:t>1) Determine tons landfilled in each facility in 2023</a:t>
            </a:r>
          </a:p>
          <a:p>
            <a:pPr>
              <a:spcBef>
                <a:spcPts val="2000"/>
              </a:spcBef>
            </a:pPr>
            <a:r>
              <a:rPr lang="en-US" sz="2000" dirty="0">
                <a:solidFill>
                  <a:schemeClr val="accent6"/>
                </a:solidFill>
                <a:cs typeface="Calibri"/>
              </a:rPr>
              <a:t>Obtained from Solid Waste Quantity Report and verified with operators</a:t>
            </a:r>
          </a:p>
          <a:p>
            <a:pPr>
              <a:spcBef>
                <a:spcPts val="2000"/>
              </a:spcBef>
            </a:pPr>
            <a:r>
              <a:rPr lang="en-US" sz="2000" dirty="0">
                <a:cs typeface="Calibri"/>
              </a:rPr>
              <a:t>2) Apply annual percent increase in waste disposal</a:t>
            </a:r>
          </a:p>
          <a:p>
            <a:pPr>
              <a:spcBef>
                <a:spcPts val="2000"/>
              </a:spcBef>
            </a:pPr>
            <a:r>
              <a:rPr lang="en-US" sz="2000" dirty="0">
                <a:solidFill>
                  <a:schemeClr val="accent6"/>
                </a:solidFill>
                <a:cs typeface="Calibri"/>
              </a:rPr>
              <a:t>5-year average increase in disposal (2018-2023) for all facilities in district</a:t>
            </a:r>
            <a:endParaRPr lang="en-US" sz="2000" dirty="0">
              <a:cs typeface="Calibri"/>
            </a:endParaRPr>
          </a:p>
          <a:p>
            <a:pPr>
              <a:spcBef>
                <a:spcPts val="2000"/>
              </a:spcBef>
            </a:pPr>
            <a:r>
              <a:rPr lang="en-US" sz="2000" dirty="0">
                <a:cs typeface="Calibri"/>
              </a:rPr>
              <a:t>3) Project the remaining capacity (in tons) after accounting for waste disposed in each calendar year</a:t>
            </a:r>
          </a:p>
        </p:txBody>
      </p:sp>
      <p:sp>
        <p:nvSpPr>
          <p:cNvPr id="11" name="Title 1">
            <a:extLst>
              <a:ext uri="{FF2B5EF4-FFF2-40B4-BE49-F238E27FC236}">
                <a16:creationId xmlns:a16="http://schemas.microsoft.com/office/drawing/2014/main" id="{799567B4-8828-DCD0-854A-E8FEA4CA24F0}"/>
              </a:ext>
            </a:extLst>
          </p:cNvPr>
          <p:cNvSpPr txBox="1">
            <a:spLocks/>
          </p:cNvSpPr>
          <p:nvPr/>
        </p:nvSpPr>
        <p:spPr>
          <a:xfrm>
            <a:off x="6688834" y="1153450"/>
            <a:ext cx="4601588" cy="80451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chemeClr val="accent5"/>
                </a:solidFill>
              </a:rPr>
              <a:t>Southeast District Example</a:t>
            </a:r>
          </a:p>
        </p:txBody>
      </p:sp>
      <p:graphicFrame>
        <p:nvGraphicFramePr>
          <p:cNvPr id="3" name="Table 2">
            <a:extLst>
              <a:ext uri="{FF2B5EF4-FFF2-40B4-BE49-F238E27FC236}">
                <a16:creationId xmlns:a16="http://schemas.microsoft.com/office/drawing/2014/main" id="{0E0A1906-C2BA-F9A2-77B9-32786302733C}"/>
              </a:ext>
            </a:extLst>
          </p:cNvPr>
          <p:cNvGraphicFramePr>
            <a:graphicFrameLocks noGrp="1"/>
          </p:cNvGraphicFramePr>
          <p:nvPr>
            <p:custDataLst>
              <p:tags r:id="rId1"/>
            </p:custDataLst>
            <p:extLst>
              <p:ext uri="{D42A27DB-BD31-4B8C-83A1-F6EECF244321}">
                <p14:modId xmlns:p14="http://schemas.microsoft.com/office/powerpoint/2010/main" val="2483771635"/>
              </p:ext>
            </p:extLst>
          </p:nvPr>
        </p:nvGraphicFramePr>
        <p:xfrm>
          <a:off x="5983227" y="1792605"/>
          <a:ext cx="5982416" cy="4996815"/>
        </p:xfrm>
        <a:graphic>
          <a:graphicData uri="http://schemas.openxmlformats.org/drawingml/2006/table">
            <a:tbl>
              <a:tblPr>
                <a:tableStyleId>{5C22544A-7EE6-4342-B048-85BDC9FD1C3A}</a:tableStyleId>
              </a:tblPr>
              <a:tblGrid>
                <a:gridCol w="1340391">
                  <a:extLst>
                    <a:ext uri="{9D8B030D-6E8A-4147-A177-3AD203B41FA5}">
                      <a16:colId xmlns:a16="http://schemas.microsoft.com/office/drawing/2014/main" val="3417698508"/>
                    </a:ext>
                  </a:extLst>
                </a:gridCol>
                <a:gridCol w="1518485">
                  <a:extLst>
                    <a:ext uri="{9D8B030D-6E8A-4147-A177-3AD203B41FA5}">
                      <a16:colId xmlns:a16="http://schemas.microsoft.com/office/drawing/2014/main" val="1897682474"/>
                    </a:ext>
                  </a:extLst>
                </a:gridCol>
                <a:gridCol w="1477920">
                  <a:extLst>
                    <a:ext uri="{9D8B030D-6E8A-4147-A177-3AD203B41FA5}">
                      <a16:colId xmlns:a16="http://schemas.microsoft.com/office/drawing/2014/main" val="250281320"/>
                    </a:ext>
                  </a:extLst>
                </a:gridCol>
                <a:gridCol w="1645620">
                  <a:extLst>
                    <a:ext uri="{9D8B030D-6E8A-4147-A177-3AD203B41FA5}">
                      <a16:colId xmlns:a16="http://schemas.microsoft.com/office/drawing/2014/main" val="795711688"/>
                    </a:ext>
                  </a:extLst>
                </a:gridCol>
              </a:tblGrid>
              <a:tr h="548387">
                <a:tc>
                  <a:txBody>
                    <a:bodyPr/>
                    <a:lstStyle/>
                    <a:p>
                      <a:pPr algn="ctr" fontAlgn="ctr"/>
                      <a:r>
                        <a:rPr lang="en-US" sz="1600" b="0" i="0" u="none" strike="noStrike" dirty="0">
                          <a:solidFill>
                            <a:srgbClr val="000000"/>
                          </a:solidFill>
                          <a:effectLst/>
                          <a:latin typeface="Aptos Narrow" panose="020B0004020202020204" pitchFamily="34" charset="0"/>
                        </a:rPr>
                        <a:t>Calendar Year</a:t>
                      </a:r>
                    </a:p>
                  </a:txBody>
                  <a:tcPr marL="9525" marR="9525" marT="9525" marB="0" anchor="ctr">
                    <a:solidFill>
                      <a:schemeClr val="accent5">
                        <a:lumMod val="40000"/>
                        <a:lumOff val="60000"/>
                      </a:schemeClr>
                    </a:solidFill>
                  </a:tcPr>
                </a:tc>
                <a:tc>
                  <a:txBody>
                    <a:bodyPr/>
                    <a:lstStyle/>
                    <a:p>
                      <a:pPr algn="ctr" fontAlgn="ctr"/>
                      <a:r>
                        <a:rPr lang="en-US" sz="1600" b="0" i="0" u="none" strike="noStrike" dirty="0">
                          <a:solidFill>
                            <a:srgbClr val="000000"/>
                          </a:solidFill>
                          <a:effectLst/>
                          <a:latin typeface="Aptos Narrow" panose="020B0004020202020204" pitchFamily="34" charset="0"/>
                        </a:rPr>
                        <a:t>Waste Received (tons)</a:t>
                      </a:r>
                    </a:p>
                  </a:txBody>
                  <a:tcPr marL="9525" marR="9525" marT="9525" marB="0" anchor="ctr">
                    <a:solidFill>
                      <a:schemeClr val="accent5">
                        <a:lumMod val="40000"/>
                        <a:lumOff val="60000"/>
                      </a:schemeClr>
                    </a:solidFill>
                  </a:tcPr>
                </a:tc>
                <a:tc>
                  <a:txBody>
                    <a:bodyPr/>
                    <a:lstStyle/>
                    <a:p>
                      <a:pPr algn="ctr" fontAlgn="ctr"/>
                      <a:r>
                        <a:rPr lang="en-US" sz="1600" b="0" i="0" u="none" strike="noStrike" dirty="0">
                          <a:solidFill>
                            <a:srgbClr val="000000"/>
                          </a:solidFill>
                          <a:effectLst/>
                          <a:latin typeface="Aptos Narrow" panose="020B0004020202020204" pitchFamily="34" charset="0"/>
                        </a:rPr>
                        <a:t>Percent Waste Disposal Increase</a:t>
                      </a:r>
                    </a:p>
                  </a:txBody>
                  <a:tcPr marL="9525" marR="9525" marT="9525" marB="0" anchor="ctr">
                    <a:solidFill>
                      <a:schemeClr val="accent5">
                        <a:lumMod val="40000"/>
                        <a:lumOff val="60000"/>
                      </a:schemeClr>
                    </a:solidFill>
                  </a:tcPr>
                </a:tc>
                <a:tc>
                  <a:txBody>
                    <a:bodyPr/>
                    <a:lstStyle/>
                    <a:p>
                      <a:pPr algn="ctr" fontAlgn="ctr"/>
                      <a:r>
                        <a:rPr lang="en-US" sz="1600" b="0" i="0" u="none" strike="noStrike" dirty="0">
                          <a:solidFill>
                            <a:srgbClr val="000000"/>
                          </a:solidFill>
                          <a:effectLst/>
                          <a:latin typeface="Aptos Narrow" panose="020B0004020202020204" pitchFamily="34" charset="0"/>
                        </a:rPr>
                        <a:t>Remaining Permitted Tons at Beginning of Calendar Year</a:t>
                      </a:r>
                    </a:p>
                  </a:txBody>
                  <a:tcPr marL="9525" marR="9525" marT="9525" marB="0" anchor="ctr">
                    <a:solidFill>
                      <a:schemeClr val="accent5">
                        <a:lumMod val="40000"/>
                        <a:lumOff val="60000"/>
                      </a:schemeClr>
                    </a:solidFill>
                  </a:tcPr>
                </a:tc>
                <a:extLst>
                  <a:ext uri="{0D108BD9-81ED-4DB2-BD59-A6C34878D82A}">
                    <a16:rowId xmlns:a16="http://schemas.microsoft.com/office/drawing/2014/main" val="2803006232"/>
                  </a:ext>
                </a:extLst>
              </a:tr>
              <a:tr h="222707">
                <a:tc>
                  <a:txBody>
                    <a:bodyPr/>
                    <a:lstStyle/>
                    <a:p>
                      <a:pPr algn="ctr" fontAlgn="ctr"/>
                      <a:r>
                        <a:rPr lang="en-US" sz="1400" b="0" i="0" u="none" strike="noStrike">
                          <a:solidFill>
                            <a:srgbClr val="000000"/>
                          </a:solidFill>
                          <a:effectLst/>
                          <a:latin typeface="Aptos Narrow" panose="020B0004020202020204" pitchFamily="34" charset="0"/>
                        </a:rPr>
                        <a:t>2023</a:t>
                      </a:r>
                    </a:p>
                  </a:txBody>
                  <a:tcPr marL="9525" marR="9525" marT="9525" marB="0" anchor="ctr">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6,870,375.13</a:t>
                      </a:r>
                    </a:p>
                  </a:txBody>
                  <a:tcPr marL="9525" marR="9525" marT="9525" marB="0" anchor="b">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2.76%</a:t>
                      </a:r>
                    </a:p>
                  </a:txBody>
                  <a:tcPr marL="9525" marR="9525" marT="9525" marB="0" anchor="b">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 </a:t>
                      </a:r>
                    </a:p>
                  </a:txBody>
                  <a:tcPr marL="9525" marR="9525" marT="9525" marB="0" anchor="b">
                    <a:solidFill>
                      <a:schemeClr val="accent5">
                        <a:lumMod val="40000"/>
                        <a:lumOff val="60000"/>
                      </a:schemeClr>
                    </a:solidFill>
                  </a:tcPr>
                </a:tc>
                <a:extLst>
                  <a:ext uri="{0D108BD9-81ED-4DB2-BD59-A6C34878D82A}">
                    <a16:rowId xmlns:a16="http://schemas.microsoft.com/office/drawing/2014/main" val="4059888438"/>
                  </a:ext>
                </a:extLst>
              </a:tr>
              <a:tr h="222707">
                <a:tc>
                  <a:txBody>
                    <a:bodyPr/>
                    <a:lstStyle/>
                    <a:p>
                      <a:pPr algn="ctr" fontAlgn="ctr"/>
                      <a:r>
                        <a:rPr lang="en-US" sz="1400" b="0" i="0" u="none" strike="noStrike">
                          <a:solidFill>
                            <a:srgbClr val="000000"/>
                          </a:solidFill>
                          <a:effectLst/>
                          <a:latin typeface="Aptos Narrow" panose="020B0004020202020204" pitchFamily="34" charset="0"/>
                        </a:rPr>
                        <a:t>2024</a:t>
                      </a:r>
                    </a:p>
                  </a:txBody>
                  <a:tcPr marL="9525" marR="9525" marT="9525" marB="0" anchor="ctr">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7,059,997</a:t>
                      </a:r>
                    </a:p>
                  </a:txBody>
                  <a:tcPr marL="9525" marR="9525" marT="9525" marB="0" anchor="b">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2.76%</a:t>
                      </a:r>
                    </a:p>
                  </a:txBody>
                  <a:tcPr marL="9525" marR="9525" marT="9525" marB="0" anchor="b">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 </a:t>
                      </a:r>
                    </a:p>
                  </a:txBody>
                  <a:tcPr marL="9525" marR="9525" marT="9525" marB="0" anchor="b">
                    <a:solidFill>
                      <a:schemeClr val="accent5">
                        <a:lumMod val="40000"/>
                        <a:lumOff val="60000"/>
                      </a:schemeClr>
                    </a:solidFill>
                  </a:tcPr>
                </a:tc>
                <a:extLst>
                  <a:ext uri="{0D108BD9-81ED-4DB2-BD59-A6C34878D82A}">
                    <a16:rowId xmlns:a16="http://schemas.microsoft.com/office/drawing/2014/main" val="924388600"/>
                  </a:ext>
                </a:extLst>
              </a:tr>
              <a:tr h="222707">
                <a:tc>
                  <a:txBody>
                    <a:bodyPr/>
                    <a:lstStyle/>
                    <a:p>
                      <a:pPr algn="ctr" fontAlgn="ctr"/>
                      <a:r>
                        <a:rPr lang="en-US" sz="1400" b="0" i="0" u="none" strike="noStrike">
                          <a:solidFill>
                            <a:srgbClr val="000000"/>
                          </a:solidFill>
                          <a:effectLst/>
                          <a:latin typeface="Aptos Narrow" panose="020B0004020202020204" pitchFamily="34" charset="0"/>
                        </a:rPr>
                        <a:t>2025</a:t>
                      </a:r>
                    </a:p>
                  </a:txBody>
                  <a:tcPr marL="9525" marR="9525" marT="9525" marB="0" anchor="ctr">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7,254,853</a:t>
                      </a:r>
                    </a:p>
                  </a:txBody>
                  <a:tcPr marL="9525" marR="9525" marT="9525" marB="0" anchor="b">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2.76%</a:t>
                      </a:r>
                    </a:p>
                  </a:txBody>
                  <a:tcPr marL="9525" marR="9525" marT="9525" marB="0" anchor="b">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119,648,343</a:t>
                      </a:r>
                    </a:p>
                  </a:txBody>
                  <a:tcPr marL="9525" marR="9525" marT="9525" marB="0" anchor="b">
                    <a:solidFill>
                      <a:schemeClr val="accent5">
                        <a:lumMod val="40000"/>
                        <a:lumOff val="60000"/>
                      </a:schemeClr>
                    </a:solidFill>
                  </a:tcPr>
                </a:tc>
                <a:extLst>
                  <a:ext uri="{0D108BD9-81ED-4DB2-BD59-A6C34878D82A}">
                    <a16:rowId xmlns:a16="http://schemas.microsoft.com/office/drawing/2014/main" val="1181718299"/>
                  </a:ext>
                </a:extLst>
              </a:tr>
              <a:tr h="222707">
                <a:tc>
                  <a:txBody>
                    <a:bodyPr/>
                    <a:lstStyle/>
                    <a:p>
                      <a:pPr algn="ctr" fontAlgn="ctr"/>
                      <a:r>
                        <a:rPr lang="en-US" sz="1400" b="0" i="0" u="none" strike="noStrike">
                          <a:solidFill>
                            <a:srgbClr val="000000"/>
                          </a:solidFill>
                          <a:effectLst/>
                          <a:latin typeface="Aptos Narrow" panose="020B0004020202020204" pitchFamily="34" charset="0"/>
                        </a:rPr>
                        <a:t>2026</a:t>
                      </a:r>
                    </a:p>
                  </a:txBody>
                  <a:tcPr marL="9525" marR="9525" marT="9525" marB="0" anchor="ctr">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7,455,087</a:t>
                      </a:r>
                    </a:p>
                  </a:txBody>
                  <a:tcPr marL="9525" marR="9525" marT="9525" marB="0" anchor="b">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2.76%</a:t>
                      </a:r>
                    </a:p>
                  </a:txBody>
                  <a:tcPr marL="9525" marR="9525" marT="9525" marB="0" anchor="b">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112,393,489</a:t>
                      </a:r>
                    </a:p>
                  </a:txBody>
                  <a:tcPr marL="9525" marR="9525" marT="9525" marB="0" anchor="b">
                    <a:solidFill>
                      <a:schemeClr val="accent5">
                        <a:lumMod val="40000"/>
                        <a:lumOff val="60000"/>
                      </a:schemeClr>
                    </a:solidFill>
                  </a:tcPr>
                </a:tc>
                <a:extLst>
                  <a:ext uri="{0D108BD9-81ED-4DB2-BD59-A6C34878D82A}">
                    <a16:rowId xmlns:a16="http://schemas.microsoft.com/office/drawing/2014/main" val="3455820950"/>
                  </a:ext>
                </a:extLst>
              </a:tr>
              <a:tr h="222707">
                <a:tc>
                  <a:txBody>
                    <a:bodyPr/>
                    <a:lstStyle/>
                    <a:p>
                      <a:pPr algn="ctr" fontAlgn="ctr"/>
                      <a:r>
                        <a:rPr lang="en-US" sz="1400" b="0" i="0" u="none" strike="noStrike">
                          <a:solidFill>
                            <a:srgbClr val="000000"/>
                          </a:solidFill>
                          <a:effectLst/>
                          <a:latin typeface="Aptos Narrow" panose="020B0004020202020204" pitchFamily="34" charset="0"/>
                        </a:rPr>
                        <a:t>2027</a:t>
                      </a:r>
                    </a:p>
                  </a:txBody>
                  <a:tcPr marL="9525" marR="9525" marT="9525" marB="0" anchor="ctr">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7,660,848</a:t>
                      </a:r>
                    </a:p>
                  </a:txBody>
                  <a:tcPr marL="9525" marR="9525" marT="9525" marB="0" anchor="b">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2.76%</a:t>
                      </a:r>
                    </a:p>
                  </a:txBody>
                  <a:tcPr marL="9525" marR="9525" marT="9525" marB="0" anchor="b">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104,938,402</a:t>
                      </a:r>
                    </a:p>
                  </a:txBody>
                  <a:tcPr marL="9525" marR="9525" marT="9525" marB="0" anchor="b">
                    <a:solidFill>
                      <a:schemeClr val="accent5">
                        <a:lumMod val="40000"/>
                        <a:lumOff val="60000"/>
                      </a:schemeClr>
                    </a:solidFill>
                  </a:tcPr>
                </a:tc>
                <a:extLst>
                  <a:ext uri="{0D108BD9-81ED-4DB2-BD59-A6C34878D82A}">
                    <a16:rowId xmlns:a16="http://schemas.microsoft.com/office/drawing/2014/main" val="4101230512"/>
                  </a:ext>
                </a:extLst>
              </a:tr>
              <a:tr h="222707">
                <a:tc>
                  <a:txBody>
                    <a:bodyPr/>
                    <a:lstStyle/>
                    <a:p>
                      <a:pPr algn="ctr" fontAlgn="ctr"/>
                      <a:r>
                        <a:rPr lang="en-US" sz="1400" b="0" i="0" u="none" strike="noStrike">
                          <a:solidFill>
                            <a:srgbClr val="000000"/>
                          </a:solidFill>
                          <a:effectLst/>
                          <a:latin typeface="Aptos Narrow" panose="020B0004020202020204" pitchFamily="34" charset="0"/>
                        </a:rPr>
                        <a:t>2028</a:t>
                      </a:r>
                    </a:p>
                  </a:txBody>
                  <a:tcPr marL="9525" marR="9525" marT="9525" marB="0" anchor="ctr">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7,872,287</a:t>
                      </a:r>
                    </a:p>
                  </a:txBody>
                  <a:tcPr marL="9525" marR="9525" marT="9525" marB="0" anchor="b">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2.76%</a:t>
                      </a:r>
                    </a:p>
                  </a:txBody>
                  <a:tcPr marL="9525" marR="9525" marT="9525" marB="0" anchor="b">
                    <a:solidFill>
                      <a:schemeClr val="accent5">
                        <a:lumMod val="40000"/>
                        <a:lumOff val="6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97,277,554</a:t>
                      </a:r>
                    </a:p>
                  </a:txBody>
                  <a:tcPr marL="9525" marR="9525" marT="9525" marB="0" anchor="b">
                    <a:solidFill>
                      <a:schemeClr val="accent5">
                        <a:lumMod val="40000"/>
                        <a:lumOff val="60000"/>
                      </a:schemeClr>
                    </a:solidFill>
                  </a:tcPr>
                </a:tc>
                <a:extLst>
                  <a:ext uri="{0D108BD9-81ED-4DB2-BD59-A6C34878D82A}">
                    <a16:rowId xmlns:a16="http://schemas.microsoft.com/office/drawing/2014/main" val="1682776414"/>
                  </a:ext>
                </a:extLst>
              </a:tr>
              <a:tr h="222707">
                <a:tc>
                  <a:txBody>
                    <a:bodyPr/>
                    <a:lstStyle/>
                    <a:p>
                      <a:pPr algn="ctr" fontAlgn="ctr"/>
                      <a:r>
                        <a:rPr lang="en-US" sz="1400" b="0" i="0" u="none" strike="noStrike">
                          <a:solidFill>
                            <a:srgbClr val="000000"/>
                          </a:solidFill>
                          <a:effectLst/>
                          <a:latin typeface="Aptos Narrow" panose="020B0004020202020204" pitchFamily="34" charset="0"/>
                        </a:rPr>
                        <a:t>2029</a:t>
                      </a:r>
                    </a:p>
                  </a:txBody>
                  <a:tcPr marL="9525" marR="9525" marT="9525" marB="0" anchor="ctr">
                    <a:solidFill>
                      <a:schemeClr val="accent5">
                        <a:lumMod val="40000"/>
                        <a:lumOff val="6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8,089,562</a:t>
                      </a:r>
                    </a:p>
                  </a:txBody>
                  <a:tcPr marL="9525" marR="9525" marT="9525" marB="0" anchor="b">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2.76%</a:t>
                      </a:r>
                    </a:p>
                  </a:txBody>
                  <a:tcPr marL="9525" marR="9525" marT="9525" marB="0" anchor="b">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89,405,267</a:t>
                      </a:r>
                    </a:p>
                  </a:txBody>
                  <a:tcPr marL="9525" marR="9525" marT="9525" marB="0" anchor="b">
                    <a:solidFill>
                      <a:schemeClr val="accent5">
                        <a:lumMod val="40000"/>
                        <a:lumOff val="60000"/>
                      </a:schemeClr>
                    </a:solidFill>
                  </a:tcPr>
                </a:tc>
                <a:extLst>
                  <a:ext uri="{0D108BD9-81ED-4DB2-BD59-A6C34878D82A}">
                    <a16:rowId xmlns:a16="http://schemas.microsoft.com/office/drawing/2014/main" val="1345048014"/>
                  </a:ext>
                </a:extLst>
              </a:tr>
              <a:tr h="222707">
                <a:tc>
                  <a:txBody>
                    <a:bodyPr/>
                    <a:lstStyle/>
                    <a:p>
                      <a:pPr algn="ctr" fontAlgn="ctr"/>
                      <a:r>
                        <a:rPr lang="en-US" sz="1400" b="0" i="0" u="none" strike="noStrike">
                          <a:solidFill>
                            <a:srgbClr val="000000"/>
                          </a:solidFill>
                          <a:effectLst/>
                          <a:latin typeface="Aptos Narrow" panose="020B0004020202020204" pitchFamily="34" charset="0"/>
                        </a:rPr>
                        <a:t>2030</a:t>
                      </a:r>
                    </a:p>
                  </a:txBody>
                  <a:tcPr marL="9525" marR="9525" marT="9525" marB="0" anchor="ctr">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8,312,834</a:t>
                      </a:r>
                    </a:p>
                  </a:txBody>
                  <a:tcPr marL="9525" marR="9525" marT="9525" marB="0" anchor="b">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2.76%</a:t>
                      </a:r>
                    </a:p>
                  </a:txBody>
                  <a:tcPr marL="9525" marR="9525" marT="9525" marB="0" anchor="b">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81,315,705</a:t>
                      </a:r>
                    </a:p>
                  </a:txBody>
                  <a:tcPr marL="9525" marR="9525" marT="9525" marB="0" anchor="b">
                    <a:solidFill>
                      <a:schemeClr val="accent5">
                        <a:lumMod val="40000"/>
                        <a:lumOff val="60000"/>
                      </a:schemeClr>
                    </a:solidFill>
                  </a:tcPr>
                </a:tc>
                <a:extLst>
                  <a:ext uri="{0D108BD9-81ED-4DB2-BD59-A6C34878D82A}">
                    <a16:rowId xmlns:a16="http://schemas.microsoft.com/office/drawing/2014/main" val="4010431230"/>
                  </a:ext>
                </a:extLst>
              </a:tr>
              <a:tr h="222707">
                <a:tc>
                  <a:txBody>
                    <a:bodyPr/>
                    <a:lstStyle/>
                    <a:p>
                      <a:pPr algn="ctr" fontAlgn="ctr"/>
                      <a:r>
                        <a:rPr lang="en-US" sz="1400" b="0" i="0" u="none" strike="noStrike">
                          <a:solidFill>
                            <a:srgbClr val="000000"/>
                          </a:solidFill>
                          <a:effectLst/>
                          <a:latin typeface="Aptos Narrow" panose="020B0004020202020204" pitchFamily="34" charset="0"/>
                        </a:rPr>
                        <a:t>2031</a:t>
                      </a:r>
                    </a:p>
                  </a:txBody>
                  <a:tcPr marL="9525" marR="9525" marT="9525" marB="0" anchor="ctr">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8,542,268</a:t>
                      </a:r>
                    </a:p>
                  </a:txBody>
                  <a:tcPr marL="9525" marR="9525" marT="9525" marB="0" anchor="b">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2.76%</a:t>
                      </a:r>
                    </a:p>
                  </a:txBody>
                  <a:tcPr marL="9525" marR="9525" marT="9525" marB="0" anchor="b">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73,002,870</a:t>
                      </a:r>
                    </a:p>
                  </a:txBody>
                  <a:tcPr marL="9525" marR="9525" marT="9525" marB="0" anchor="b">
                    <a:solidFill>
                      <a:schemeClr val="accent5">
                        <a:lumMod val="40000"/>
                        <a:lumOff val="60000"/>
                      </a:schemeClr>
                    </a:solidFill>
                  </a:tcPr>
                </a:tc>
                <a:extLst>
                  <a:ext uri="{0D108BD9-81ED-4DB2-BD59-A6C34878D82A}">
                    <a16:rowId xmlns:a16="http://schemas.microsoft.com/office/drawing/2014/main" val="1152824006"/>
                  </a:ext>
                </a:extLst>
              </a:tr>
              <a:tr h="222707">
                <a:tc>
                  <a:txBody>
                    <a:bodyPr/>
                    <a:lstStyle/>
                    <a:p>
                      <a:pPr algn="ctr" fontAlgn="ctr"/>
                      <a:r>
                        <a:rPr lang="en-US" sz="1400" b="0" i="0" u="none" strike="noStrike">
                          <a:solidFill>
                            <a:srgbClr val="000000"/>
                          </a:solidFill>
                          <a:effectLst/>
                          <a:latin typeface="Aptos Narrow" panose="020B0004020202020204" pitchFamily="34" charset="0"/>
                        </a:rPr>
                        <a:t>2032</a:t>
                      </a:r>
                    </a:p>
                  </a:txBody>
                  <a:tcPr marL="9525" marR="9525" marT="9525" marB="0" anchor="ctr">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8,778,035</a:t>
                      </a:r>
                    </a:p>
                  </a:txBody>
                  <a:tcPr marL="9525" marR="9525" marT="9525" marB="0" anchor="b">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2.76%</a:t>
                      </a:r>
                    </a:p>
                  </a:txBody>
                  <a:tcPr marL="9525" marR="9525" marT="9525" marB="0" anchor="b">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64,460,602</a:t>
                      </a:r>
                    </a:p>
                  </a:txBody>
                  <a:tcPr marL="9525" marR="9525" marT="9525" marB="0" anchor="b">
                    <a:solidFill>
                      <a:schemeClr val="accent5">
                        <a:lumMod val="40000"/>
                        <a:lumOff val="60000"/>
                      </a:schemeClr>
                    </a:solidFill>
                  </a:tcPr>
                </a:tc>
                <a:extLst>
                  <a:ext uri="{0D108BD9-81ED-4DB2-BD59-A6C34878D82A}">
                    <a16:rowId xmlns:a16="http://schemas.microsoft.com/office/drawing/2014/main" val="1621103952"/>
                  </a:ext>
                </a:extLst>
              </a:tr>
              <a:tr h="222707">
                <a:tc>
                  <a:txBody>
                    <a:bodyPr/>
                    <a:lstStyle/>
                    <a:p>
                      <a:pPr algn="ctr" fontAlgn="ctr"/>
                      <a:r>
                        <a:rPr lang="en-US" sz="1400" b="0" i="0" u="none" strike="noStrike">
                          <a:solidFill>
                            <a:srgbClr val="000000"/>
                          </a:solidFill>
                          <a:effectLst/>
                          <a:latin typeface="Aptos Narrow" panose="020B0004020202020204" pitchFamily="34" charset="0"/>
                        </a:rPr>
                        <a:t>2033</a:t>
                      </a:r>
                    </a:p>
                  </a:txBody>
                  <a:tcPr marL="9525" marR="9525" marT="9525" marB="0" anchor="ctr">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9,020,309</a:t>
                      </a:r>
                    </a:p>
                  </a:txBody>
                  <a:tcPr marL="9525" marR="9525" marT="9525" marB="0" anchor="b">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2.76%</a:t>
                      </a:r>
                    </a:p>
                  </a:txBody>
                  <a:tcPr marL="9525" marR="9525" marT="9525" marB="0" anchor="b">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55,682,567</a:t>
                      </a:r>
                    </a:p>
                  </a:txBody>
                  <a:tcPr marL="9525" marR="9525" marT="9525" marB="0" anchor="b">
                    <a:solidFill>
                      <a:schemeClr val="accent5">
                        <a:lumMod val="40000"/>
                        <a:lumOff val="60000"/>
                      </a:schemeClr>
                    </a:solidFill>
                  </a:tcPr>
                </a:tc>
                <a:extLst>
                  <a:ext uri="{0D108BD9-81ED-4DB2-BD59-A6C34878D82A}">
                    <a16:rowId xmlns:a16="http://schemas.microsoft.com/office/drawing/2014/main" val="3668229726"/>
                  </a:ext>
                </a:extLst>
              </a:tr>
              <a:tr h="222707">
                <a:tc>
                  <a:txBody>
                    <a:bodyPr/>
                    <a:lstStyle/>
                    <a:p>
                      <a:pPr algn="ctr" fontAlgn="ctr"/>
                      <a:r>
                        <a:rPr lang="en-US" sz="1400" b="0" i="0" u="none" strike="noStrike">
                          <a:solidFill>
                            <a:srgbClr val="000000"/>
                          </a:solidFill>
                          <a:effectLst/>
                          <a:latin typeface="Aptos Narrow" panose="020B0004020202020204" pitchFamily="34" charset="0"/>
                        </a:rPr>
                        <a:t>2034</a:t>
                      </a:r>
                    </a:p>
                  </a:txBody>
                  <a:tcPr marL="9525" marR="9525" marT="9525" marB="0" anchor="ctr">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9,269,269</a:t>
                      </a:r>
                    </a:p>
                  </a:txBody>
                  <a:tcPr marL="9525" marR="9525" marT="9525" marB="0" anchor="b">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2.76%</a:t>
                      </a:r>
                    </a:p>
                  </a:txBody>
                  <a:tcPr marL="9525" marR="9525" marT="9525" marB="0" anchor="b">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46,662,258</a:t>
                      </a:r>
                    </a:p>
                  </a:txBody>
                  <a:tcPr marL="9525" marR="9525" marT="9525" marB="0" anchor="b">
                    <a:solidFill>
                      <a:schemeClr val="accent5">
                        <a:lumMod val="40000"/>
                        <a:lumOff val="60000"/>
                      </a:schemeClr>
                    </a:solidFill>
                  </a:tcPr>
                </a:tc>
                <a:extLst>
                  <a:ext uri="{0D108BD9-81ED-4DB2-BD59-A6C34878D82A}">
                    <a16:rowId xmlns:a16="http://schemas.microsoft.com/office/drawing/2014/main" val="87475038"/>
                  </a:ext>
                </a:extLst>
              </a:tr>
              <a:tr h="222707">
                <a:tc>
                  <a:txBody>
                    <a:bodyPr/>
                    <a:lstStyle/>
                    <a:p>
                      <a:pPr algn="ctr" fontAlgn="ctr"/>
                      <a:r>
                        <a:rPr lang="en-US" sz="1400" b="0" i="0" u="none" strike="noStrike">
                          <a:solidFill>
                            <a:srgbClr val="000000"/>
                          </a:solidFill>
                          <a:effectLst/>
                          <a:latin typeface="Aptos Narrow" panose="020B0004020202020204" pitchFamily="34" charset="0"/>
                        </a:rPr>
                        <a:t>2035</a:t>
                      </a:r>
                    </a:p>
                  </a:txBody>
                  <a:tcPr marL="9525" marR="9525" marT="9525" marB="0" anchor="ctr">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9,525,101</a:t>
                      </a:r>
                    </a:p>
                  </a:txBody>
                  <a:tcPr marL="9525" marR="9525" marT="9525" marB="0" anchor="b">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2.76%</a:t>
                      </a:r>
                    </a:p>
                  </a:txBody>
                  <a:tcPr marL="9525" marR="9525" marT="9525" marB="0" anchor="b">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37,392,989</a:t>
                      </a:r>
                    </a:p>
                  </a:txBody>
                  <a:tcPr marL="9525" marR="9525" marT="9525" marB="0" anchor="b">
                    <a:solidFill>
                      <a:schemeClr val="accent5">
                        <a:lumMod val="40000"/>
                        <a:lumOff val="60000"/>
                      </a:schemeClr>
                    </a:solidFill>
                  </a:tcPr>
                </a:tc>
                <a:extLst>
                  <a:ext uri="{0D108BD9-81ED-4DB2-BD59-A6C34878D82A}">
                    <a16:rowId xmlns:a16="http://schemas.microsoft.com/office/drawing/2014/main" val="3850252948"/>
                  </a:ext>
                </a:extLst>
              </a:tr>
              <a:tr h="222707">
                <a:tc>
                  <a:txBody>
                    <a:bodyPr/>
                    <a:lstStyle/>
                    <a:p>
                      <a:pPr algn="ctr" fontAlgn="ctr"/>
                      <a:r>
                        <a:rPr lang="en-US" sz="1400" b="0" i="0" u="none" strike="noStrike">
                          <a:solidFill>
                            <a:srgbClr val="000000"/>
                          </a:solidFill>
                          <a:effectLst/>
                          <a:latin typeface="Aptos Narrow" panose="020B0004020202020204" pitchFamily="34" charset="0"/>
                        </a:rPr>
                        <a:t>2036</a:t>
                      </a:r>
                    </a:p>
                  </a:txBody>
                  <a:tcPr marL="9525" marR="9525" marT="9525" marB="0" anchor="ctr">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9,787,994</a:t>
                      </a:r>
                    </a:p>
                  </a:txBody>
                  <a:tcPr marL="9525" marR="9525" marT="9525" marB="0" anchor="b">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2.76%</a:t>
                      </a:r>
                    </a:p>
                  </a:txBody>
                  <a:tcPr marL="9525" marR="9525" marT="9525" marB="0" anchor="b">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27,867,887</a:t>
                      </a:r>
                    </a:p>
                  </a:txBody>
                  <a:tcPr marL="9525" marR="9525" marT="9525" marB="0" anchor="b">
                    <a:solidFill>
                      <a:schemeClr val="accent5">
                        <a:lumMod val="40000"/>
                        <a:lumOff val="60000"/>
                      </a:schemeClr>
                    </a:solidFill>
                  </a:tcPr>
                </a:tc>
                <a:extLst>
                  <a:ext uri="{0D108BD9-81ED-4DB2-BD59-A6C34878D82A}">
                    <a16:rowId xmlns:a16="http://schemas.microsoft.com/office/drawing/2014/main" val="350424439"/>
                  </a:ext>
                </a:extLst>
              </a:tr>
              <a:tr h="222707">
                <a:tc>
                  <a:txBody>
                    <a:bodyPr/>
                    <a:lstStyle/>
                    <a:p>
                      <a:pPr algn="ctr" fontAlgn="ctr"/>
                      <a:r>
                        <a:rPr lang="en-US" sz="1400" b="0" i="0" u="none" strike="noStrike">
                          <a:solidFill>
                            <a:srgbClr val="000000"/>
                          </a:solidFill>
                          <a:effectLst/>
                          <a:latin typeface="Aptos Narrow" panose="020B0004020202020204" pitchFamily="34" charset="0"/>
                        </a:rPr>
                        <a:t>2037</a:t>
                      </a:r>
                    </a:p>
                  </a:txBody>
                  <a:tcPr marL="9525" marR="9525" marT="9525" marB="0" anchor="ctr">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10,058,143</a:t>
                      </a:r>
                    </a:p>
                  </a:txBody>
                  <a:tcPr marL="9525" marR="9525" marT="9525" marB="0" anchor="b">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2.76%</a:t>
                      </a:r>
                    </a:p>
                  </a:txBody>
                  <a:tcPr marL="9525" marR="9525" marT="9525" marB="0" anchor="b">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18,079,893</a:t>
                      </a:r>
                    </a:p>
                  </a:txBody>
                  <a:tcPr marL="9525" marR="9525" marT="9525" marB="0" anchor="b">
                    <a:solidFill>
                      <a:schemeClr val="accent5">
                        <a:lumMod val="40000"/>
                        <a:lumOff val="60000"/>
                      </a:schemeClr>
                    </a:solidFill>
                  </a:tcPr>
                </a:tc>
                <a:extLst>
                  <a:ext uri="{0D108BD9-81ED-4DB2-BD59-A6C34878D82A}">
                    <a16:rowId xmlns:a16="http://schemas.microsoft.com/office/drawing/2014/main" val="52609540"/>
                  </a:ext>
                </a:extLst>
              </a:tr>
              <a:tr h="222707">
                <a:tc>
                  <a:txBody>
                    <a:bodyPr/>
                    <a:lstStyle/>
                    <a:p>
                      <a:pPr algn="ctr" fontAlgn="ctr"/>
                      <a:r>
                        <a:rPr lang="en-US" sz="1400" b="0" i="0" u="none" strike="noStrike">
                          <a:solidFill>
                            <a:srgbClr val="000000"/>
                          </a:solidFill>
                          <a:effectLst/>
                          <a:latin typeface="Aptos Narrow" panose="020B0004020202020204" pitchFamily="34" charset="0"/>
                        </a:rPr>
                        <a:t>2038</a:t>
                      </a:r>
                    </a:p>
                  </a:txBody>
                  <a:tcPr marL="9525" marR="9525" marT="9525" marB="0" anchor="ctr">
                    <a:solidFill>
                      <a:srgbClr val="FDF69C"/>
                    </a:solidFill>
                  </a:tcPr>
                </a:tc>
                <a:tc>
                  <a:txBody>
                    <a:bodyPr/>
                    <a:lstStyle/>
                    <a:p>
                      <a:pPr algn="ctr" fontAlgn="b"/>
                      <a:r>
                        <a:rPr lang="en-US" sz="1400" b="0" i="0" u="none" strike="noStrike">
                          <a:solidFill>
                            <a:srgbClr val="000000"/>
                          </a:solidFill>
                          <a:effectLst/>
                          <a:latin typeface="Aptos Narrow" panose="020B0004020202020204" pitchFamily="34" charset="0"/>
                        </a:rPr>
                        <a:t>10,335,747</a:t>
                      </a:r>
                    </a:p>
                  </a:txBody>
                  <a:tcPr marL="9525" marR="9525" marT="9525" marB="0" anchor="b">
                    <a:solidFill>
                      <a:srgbClr val="FDF69C"/>
                    </a:solidFill>
                  </a:tcPr>
                </a:tc>
                <a:tc>
                  <a:txBody>
                    <a:bodyPr/>
                    <a:lstStyle/>
                    <a:p>
                      <a:pPr algn="ctr" fontAlgn="b"/>
                      <a:r>
                        <a:rPr lang="en-US" sz="1400" b="0" i="0" u="none" strike="noStrike">
                          <a:solidFill>
                            <a:srgbClr val="000000"/>
                          </a:solidFill>
                          <a:effectLst/>
                          <a:latin typeface="Aptos Narrow" panose="020B0004020202020204" pitchFamily="34" charset="0"/>
                        </a:rPr>
                        <a:t>2.76%</a:t>
                      </a:r>
                    </a:p>
                  </a:txBody>
                  <a:tcPr marL="9525" marR="9525" marT="9525" marB="0" anchor="b">
                    <a:solidFill>
                      <a:srgbClr val="FDF69C"/>
                    </a:solidFill>
                  </a:tcPr>
                </a:tc>
                <a:tc>
                  <a:txBody>
                    <a:bodyPr/>
                    <a:lstStyle/>
                    <a:p>
                      <a:pPr algn="ctr" fontAlgn="b"/>
                      <a:r>
                        <a:rPr lang="en-US" sz="1400" b="0" i="0" u="none" strike="noStrike" dirty="0">
                          <a:solidFill>
                            <a:srgbClr val="000000"/>
                          </a:solidFill>
                          <a:effectLst/>
                          <a:latin typeface="Aptos Narrow" panose="020B0004020202020204" pitchFamily="34" charset="0"/>
                        </a:rPr>
                        <a:t>8,021,751</a:t>
                      </a:r>
                    </a:p>
                  </a:txBody>
                  <a:tcPr marL="9525" marR="9525" marT="9525" marB="0" anchor="b">
                    <a:solidFill>
                      <a:srgbClr val="FDF69C"/>
                    </a:solidFill>
                  </a:tcPr>
                </a:tc>
                <a:extLst>
                  <a:ext uri="{0D108BD9-81ED-4DB2-BD59-A6C34878D82A}">
                    <a16:rowId xmlns:a16="http://schemas.microsoft.com/office/drawing/2014/main" val="694598428"/>
                  </a:ext>
                </a:extLst>
              </a:tr>
              <a:tr h="222707">
                <a:tc>
                  <a:txBody>
                    <a:bodyPr/>
                    <a:lstStyle/>
                    <a:p>
                      <a:pPr algn="ctr" fontAlgn="ctr"/>
                      <a:r>
                        <a:rPr lang="en-US" sz="1400" b="0" i="0" u="none" strike="noStrike">
                          <a:solidFill>
                            <a:srgbClr val="000000"/>
                          </a:solidFill>
                          <a:effectLst/>
                          <a:latin typeface="Aptos Narrow" panose="020B0004020202020204" pitchFamily="34" charset="0"/>
                        </a:rPr>
                        <a:t>2039</a:t>
                      </a:r>
                    </a:p>
                  </a:txBody>
                  <a:tcPr marL="9525" marR="9525" marT="9525" marB="0" anchor="ctr">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10,621,014</a:t>
                      </a:r>
                    </a:p>
                  </a:txBody>
                  <a:tcPr marL="9525" marR="9525" marT="9525" marB="0" anchor="b">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2.76%</a:t>
                      </a:r>
                    </a:p>
                  </a:txBody>
                  <a:tcPr marL="9525" marR="9525" marT="9525" marB="0" anchor="b">
                    <a:solidFill>
                      <a:schemeClr val="accent5">
                        <a:lumMod val="40000"/>
                        <a:lumOff val="6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2,313,996</a:t>
                      </a:r>
                    </a:p>
                  </a:txBody>
                  <a:tcPr marL="9525" marR="9525" marT="9525" marB="0" anchor="b">
                    <a:solidFill>
                      <a:schemeClr val="accent5">
                        <a:lumMod val="40000"/>
                        <a:lumOff val="60000"/>
                      </a:schemeClr>
                    </a:solidFill>
                  </a:tcPr>
                </a:tc>
                <a:extLst>
                  <a:ext uri="{0D108BD9-81ED-4DB2-BD59-A6C34878D82A}">
                    <a16:rowId xmlns:a16="http://schemas.microsoft.com/office/drawing/2014/main" val="4262623029"/>
                  </a:ext>
                </a:extLst>
              </a:tr>
              <a:tr h="222707">
                <a:tc>
                  <a:txBody>
                    <a:bodyPr/>
                    <a:lstStyle/>
                    <a:p>
                      <a:pPr algn="ctr" fontAlgn="ctr"/>
                      <a:r>
                        <a:rPr lang="en-US" sz="1400" b="0" i="0" u="none" strike="noStrike">
                          <a:solidFill>
                            <a:srgbClr val="000000"/>
                          </a:solidFill>
                          <a:effectLst/>
                          <a:latin typeface="Aptos Narrow" panose="020B0004020202020204" pitchFamily="34" charset="0"/>
                        </a:rPr>
                        <a:t>2040</a:t>
                      </a:r>
                    </a:p>
                  </a:txBody>
                  <a:tcPr marL="9525" marR="9525" marT="9525" marB="0" anchor="ctr">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10,914,154</a:t>
                      </a:r>
                    </a:p>
                  </a:txBody>
                  <a:tcPr marL="9525" marR="9525" marT="9525" marB="0" anchor="b">
                    <a:solidFill>
                      <a:schemeClr val="accent5">
                        <a:lumMod val="40000"/>
                        <a:lumOff val="60000"/>
                      </a:schemeClr>
                    </a:solidFill>
                  </a:tcPr>
                </a:tc>
                <a:tc>
                  <a:txBody>
                    <a:bodyPr/>
                    <a:lstStyle/>
                    <a:p>
                      <a:pPr algn="ctr" fontAlgn="b"/>
                      <a:r>
                        <a:rPr lang="en-US" sz="1400" b="0" i="0" u="none" strike="noStrike">
                          <a:solidFill>
                            <a:srgbClr val="000000"/>
                          </a:solidFill>
                          <a:effectLst/>
                          <a:latin typeface="Aptos Narrow" panose="020B0004020202020204" pitchFamily="34" charset="0"/>
                        </a:rPr>
                        <a:t>2.76%</a:t>
                      </a:r>
                    </a:p>
                  </a:txBody>
                  <a:tcPr marL="9525" marR="9525" marT="9525" marB="0" anchor="b">
                    <a:solidFill>
                      <a:schemeClr val="accent5">
                        <a:lumMod val="40000"/>
                        <a:lumOff val="60000"/>
                      </a:schemeClr>
                    </a:solidFill>
                  </a:tcPr>
                </a:tc>
                <a:tc>
                  <a:txBody>
                    <a:bodyPr/>
                    <a:lstStyle/>
                    <a:p>
                      <a:pPr algn="ctr" fontAlgn="b"/>
                      <a:r>
                        <a:rPr lang="en-US" sz="1400" b="0" i="0" u="none" strike="noStrike" dirty="0">
                          <a:solidFill>
                            <a:srgbClr val="000000"/>
                          </a:solidFill>
                          <a:effectLst/>
                          <a:latin typeface="Aptos Narrow" panose="020B0004020202020204" pitchFamily="34" charset="0"/>
                        </a:rPr>
                        <a:t>-12,935,010</a:t>
                      </a:r>
                    </a:p>
                  </a:txBody>
                  <a:tcPr marL="9525" marR="9525" marT="9525" marB="0" anchor="b">
                    <a:solidFill>
                      <a:schemeClr val="accent5">
                        <a:lumMod val="40000"/>
                        <a:lumOff val="60000"/>
                      </a:schemeClr>
                    </a:solidFill>
                  </a:tcPr>
                </a:tc>
                <a:extLst>
                  <a:ext uri="{0D108BD9-81ED-4DB2-BD59-A6C34878D82A}">
                    <a16:rowId xmlns:a16="http://schemas.microsoft.com/office/drawing/2014/main" val="2612277640"/>
                  </a:ext>
                </a:extLst>
              </a:tr>
            </a:tbl>
          </a:graphicData>
        </a:graphic>
      </p:graphicFrame>
    </p:spTree>
    <p:extLst>
      <p:ext uri="{BB962C8B-B14F-4D97-AF65-F5344CB8AC3E}">
        <p14:creationId xmlns:p14="http://schemas.microsoft.com/office/powerpoint/2010/main" val="15418849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A502FE-9131-C504-E10C-0C8C7E6BB441}"/>
            </a:ext>
          </a:extLst>
        </p:cNvPr>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B08F6A17-A634-ED01-E604-20238E554114}"/>
              </a:ext>
            </a:extLst>
          </p:cNvPr>
          <p:cNvGraphicFramePr>
            <a:graphicFrameLocks/>
          </p:cNvGraphicFramePr>
          <p:nvPr>
            <p:custDataLst>
              <p:tags r:id="rId1"/>
            </p:custDataLst>
            <p:extLst>
              <p:ext uri="{D42A27DB-BD31-4B8C-83A1-F6EECF244321}">
                <p14:modId xmlns:p14="http://schemas.microsoft.com/office/powerpoint/2010/main" val="3007454004"/>
              </p:ext>
            </p:extLst>
          </p:nvPr>
        </p:nvGraphicFramePr>
        <p:xfrm>
          <a:off x="0" y="1371600"/>
          <a:ext cx="12191999" cy="5486400"/>
        </p:xfrm>
        <a:graphic>
          <a:graphicData uri="http://schemas.openxmlformats.org/drawingml/2006/chart">
            <c:chart xmlns:c="http://schemas.openxmlformats.org/drawingml/2006/chart" xmlns:r="http://schemas.openxmlformats.org/officeDocument/2006/relationships" r:id="rId4"/>
          </a:graphicData>
        </a:graphic>
      </p:graphicFrame>
      <p:sp>
        <p:nvSpPr>
          <p:cNvPr id="8" name="Title 1">
            <a:extLst>
              <a:ext uri="{FF2B5EF4-FFF2-40B4-BE49-F238E27FC236}">
                <a16:creationId xmlns:a16="http://schemas.microsoft.com/office/drawing/2014/main" id="{FB688FFA-6442-82E8-30D1-09470188B824}"/>
              </a:ext>
            </a:extLst>
          </p:cNvPr>
          <p:cNvSpPr>
            <a:spLocks noGrp="1"/>
          </p:cNvSpPr>
          <p:nvPr>
            <p:ph type="title"/>
          </p:nvPr>
        </p:nvSpPr>
        <p:spPr>
          <a:xfrm>
            <a:off x="-73152" y="359308"/>
            <a:ext cx="12461748" cy="1325563"/>
          </a:xfrm>
        </p:spPr>
        <p:txBody>
          <a:bodyPr/>
          <a:lstStyle/>
          <a:p>
            <a:r>
              <a:rPr lang="en-US" dirty="0"/>
              <a:t>Remaining Permitted Class I Capacity as of Jan</a:t>
            </a:r>
            <a:r>
              <a:rPr lang="en-US" sz="3200" dirty="0"/>
              <a:t>.</a:t>
            </a:r>
            <a:r>
              <a:rPr lang="en-US" dirty="0"/>
              <a:t> 1</a:t>
            </a:r>
            <a:r>
              <a:rPr lang="en-US" sz="3200" dirty="0"/>
              <a:t>,</a:t>
            </a:r>
            <a:r>
              <a:rPr lang="en-US" dirty="0"/>
              <a:t> 2025</a:t>
            </a:r>
          </a:p>
        </p:txBody>
      </p:sp>
      <p:sp>
        <p:nvSpPr>
          <p:cNvPr id="11" name="Rectangle 10">
            <a:extLst>
              <a:ext uri="{FF2B5EF4-FFF2-40B4-BE49-F238E27FC236}">
                <a16:creationId xmlns:a16="http://schemas.microsoft.com/office/drawing/2014/main" id="{D0C8D823-80E8-68BB-1106-B44F86C3C2CB}"/>
              </a:ext>
            </a:extLst>
          </p:cNvPr>
          <p:cNvSpPr/>
          <p:nvPr/>
        </p:nvSpPr>
        <p:spPr>
          <a:xfrm>
            <a:off x="5305425" y="6432016"/>
            <a:ext cx="1800225" cy="4259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5C6DB556-6189-892A-FC6D-A04FD9FDB254}"/>
              </a:ext>
            </a:extLst>
          </p:cNvPr>
          <p:cNvSpPr/>
          <p:nvPr/>
        </p:nvSpPr>
        <p:spPr>
          <a:xfrm>
            <a:off x="5436117" y="6432015"/>
            <a:ext cx="1443210" cy="35930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270011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C6B328-7F25-2335-C39A-B5543883CB9D}"/>
            </a:ext>
          </a:extLst>
        </p:cNvPr>
        <p:cNvGrpSpPr/>
        <p:nvPr/>
      </p:nvGrpSpPr>
      <p:grpSpPr>
        <a:xfrm>
          <a:off x="0" y="0"/>
          <a:ext cx="0" cy="0"/>
          <a:chOff x="0" y="0"/>
          <a:chExt cx="0" cy="0"/>
        </a:xfrm>
      </p:grpSpPr>
      <p:pic>
        <p:nvPicPr>
          <p:cNvPr id="12" name="Picture 11">
            <a:extLst>
              <a:ext uri="{FF2B5EF4-FFF2-40B4-BE49-F238E27FC236}">
                <a16:creationId xmlns:a16="http://schemas.microsoft.com/office/drawing/2014/main" id="{6FCAB3FB-9B9B-234F-8CFD-AA8D00CD062F}"/>
              </a:ext>
            </a:extLst>
          </p:cNvPr>
          <p:cNvPicPr>
            <a:picLocks noChangeAspect="1"/>
          </p:cNvPicPr>
          <p:nvPr/>
        </p:nvPicPr>
        <p:blipFill>
          <a:blip r:embed="rId2"/>
          <a:stretch>
            <a:fillRect/>
          </a:stretch>
        </p:blipFill>
        <p:spPr>
          <a:xfrm>
            <a:off x="5926318" y="1654801"/>
            <a:ext cx="6265681" cy="5211907"/>
          </a:xfrm>
          <a:prstGeom prst="rect">
            <a:avLst/>
          </a:prstGeom>
        </p:spPr>
      </p:pic>
      <p:pic>
        <p:nvPicPr>
          <p:cNvPr id="3" name="Picture 2">
            <a:extLst>
              <a:ext uri="{FF2B5EF4-FFF2-40B4-BE49-F238E27FC236}">
                <a16:creationId xmlns:a16="http://schemas.microsoft.com/office/drawing/2014/main" id="{F67F8837-FA67-55D7-5D97-938F7E04BA9D}"/>
              </a:ext>
            </a:extLst>
          </p:cNvPr>
          <p:cNvPicPr>
            <a:picLocks noChangeAspect="1"/>
          </p:cNvPicPr>
          <p:nvPr/>
        </p:nvPicPr>
        <p:blipFill rotWithShape="1">
          <a:blip r:embed="rId3"/>
          <a:srcRect l="3129" r="1013"/>
          <a:stretch/>
        </p:blipFill>
        <p:spPr>
          <a:xfrm>
            <a:off x="-6248" y="1637571"/>
            <a:ext cx="5990017" cy="5229137"/>
          </a:xfrm>
          <a:prstGeom prst="rect">
            <a:avLst/>
          </a:prstGeom>
        </p:spPr>
      </p:pic>
      <p:pic>
        <p:nvPicPr>
          <p:cNvPr id="7" name="Picture 6">
            <a:extLst>
              <a:ext uri="{FF2B5EF4-FFF2-40B4-BE49-F238E27FC236}">
                <a16:creationId xmlns:a16="http://schemas.microsoft.com/office/drawing/2014/main" id="{E5CD5494-95B7-A40F-6527-302A98557E93}"/>
              </a:ext>
            </a:extLst>
          </p:cNvPr>
          <p:cNvPicPr>
            <a:picLocks noChangeAspect="1"/>
          </p:cNvPicPr>
          <p:nvPr/>
        </p:nvPicPr>
        <p:blipFill>
          <a:blip r:embed="rId4"/>
          <a:srcRect l="4081" t="1666" r="-1"/>
          <a:stretch/>
        </p:blipFill>
        <p:spPr>
          <a:xfrm>
            <a:off x="422636" y="3375572"/>
            <a:ext cx="354330" cy="2174822"/>
          </a:xfrm>
          <a:prstGeom prst="rect">
            <a:avLst/>
          </a:prstGeom>
        </p:spPr>
      </p:pic>
      <p:sp>
        <p:nvSpPr>
          <p:cNvPr id="10" name="TextBox 9">
            <a:extLst>
              <a:ext uri="{FF2B5EF4-FFF2-40B4-BE49-F238E27FC236}">
                <a16:creationId xmlns:a16="http://schemas.microsoft.com/office/drawing/2014/main" id="{C6185E6D-7DA3-EA66-9038-1C279D814453}"/>
              </a:ext>
            </a:extLst>
          </p:cNvPr>
          <p:cNvSpPr txBox="1"/>
          <p:nvPr/>
        </p:nvSpPr>
        <p:spPr>
          <a:xfrm>
            <a:off x="837157" y="3375572"/>
            <a:ext cx="1497330" cy="369332"/>
          </a:xfrm>
          <a:prstGeom prst="rect">
            <a:avLst/>
          </a:prstGeom>
          <a:noFill/>
        </p:spPr>
        <p:txBody>
          <a:bodyPr wrap="square" rtlCol="0">
            <a:spAutoFit/>
          </a:bodyPr>
          <a:lstStyle/>
          <a:p>
            <a:r>
              <a:rPr lang="en-US" dirty="0"/>
              <a:t>0 tons</a:t>
            </a:r>
          </a:p>
        </p:txBody>
      </p:sp>
      <p:sp>
        <p:nvSpPr>
          <p:cNvPr id="11" name="TextBox 10">
            <a:extLst>
              <a:ext uri="{FF2B5EF4-FFF2-40B4-BE49-F238E27FC236}">
                <a16:creationId xmlns:a16="http://schemas.microsoft.com/office/drawing/2014/main" id="{FE2E3BB4-31BC-549B-93C2-70EA9BDC973A}"/>
              </a:ext>
            </a:extLst>
          </p:cNvPr>
          <p:cNvSpPr txBox="1"/>
          <p:nvPr/>
        </p:nvSpPr>
        <p:spPr>
          <a:xfrm>
            <a:off x="776966" y="5206009"/>
            <a:ext cx="1497330" cy="369332"/>
          </a:xfrm>
          <a:prstGeom prst="rect">
            <a:avLst/>
          </a:prstGeom>
          <a:noFill/>
        </p:spPr>
        <p:txBody>
          <a:bodyPr wrap="square" rtlCol="0">
            <a:spAutoFit/>
          </a:bodyPr>
          <a:lstStyle/>
          <a:p>
            <a:r>
              <a:rPr lang="en-US" dirty="0"/>
              <a:t>2.5 M tons</a:t>
            </a:r>
          </a:p>
        </p:txBody>
      </p:sp>
      <p:sp>
        <p:nvSpPr>
          <p:cNvPr id="13" name="TextBox 12">
            <a:extLst>
              <a:ext uri="{FF2B5EF4-FFF2-40B4-BE49-F238E27FC236}">
                <a16:creationId xmlns:a16="http://schemas.microsoft.com/office/drawing/2014/main" id="{B3565112-B330-9BD8-0523-ECDB8360CE40}"/>
              </a:ext>
            </a:extLst>
          </p:cNvPr>
          <p:cNvSpPr txBox="1"/>
          <p:nvPr/>
        </p:nvSpPr>
        <p:spPr>
          <a:xfrm rot="16200000">
            <a:off x="-1099541" y="4038752"/>
            <a:ext cx="2673067" cy="400110"/>
          </a:xfrm>
          <a:prstGeom prst="rect">
            <a:avLst/>
          </a:prstGeom>
          <a:noFill/>
        </p:spPr>
        <p:txBody>
          <a:bodyPr wrap="square" rtlCol="0">
            <a:spAutoFit/>
          </a:bodyPr>
          <a:lstStyle/>
          <a:p>
            <a:r>
              <a:rPr lang="en-US" sz="2000" b="1" dirty="0"/>
              <a:t>2023 Tons Accepted</a:t>
            </a:r>
          </a:p>
        </p:txBody>
      </p:sp>
      <p:sp>
        <p:nvSpPr>
          <p:cNvPr id="14" name="TextBox 13">
            <a:extLst>
              <a:ext uri="{FF2B5EF4-FFF2-40B4-BE49-F238E27FC236}">
                <a16:creationId xmlns:a16="http://schemas.microsoft.com/office/drawing/2014/main" id="{30910D0C-2DAE-684A-2B85-11C28D396C2B}"/>
              </a:ext>
            </a:extLst>
          </p:cNvPr>
          <p:cNvSpPr txBox="1"/>
          <p:nvPr/>
        </p:nvSpPr>
        <p:spPr>
          <a:xfrm>
            <a:off x="1287601" y="5778152"/>
            <a:ext cx="3293789" cy="707886"/>
          </a:xfrm>
          <a:prstGeom prst="rect">
            <a:avLst/>
          </a:prstGeom>
          <a:noFill/>
        </p:spPr>
        <p:txBody>
          <a:bodyPr wrap="square" rtlCol="0">
            <a:spAutoFit/>
          </a:bodyPr>
          <a:lstStyle/>
          <a:p>
            <a:r>
              <a:rPr lang="en-US" sz="2000" b="1" dirty="0"/>
              <a:t>Tons of Permitted Capacity Remaining as of Jan. 1, 2025</a:t>
            </a:r>
          </a:p>
        </p:txBody>
      </p:sp>
      <p:pic>
        <p:nvPicPr>
          <p:cNvPr id="20" name="Picture 19">
            <a:extLst>
              <a:ext uri="{FF2B5EF4-FFF2-40B4-BE49-F238E27FC236}">
                <a16:creationId xmlns:a16="http://schemas.microsoft.com/office/drawing/2014/main" id="{F12D3292-D1A8-FC9C-751A-C8C63B74ADFB}"/>
              </a:ext>
            </a:extLst>
          </p:cNvPr>
          <p:cNvPicPr>
            <a:picLocks noChangeAspect="1"/>
          </p:cNvPicPr>
          <p:nvPr/>
        </p:nvPicPr>
        <p:blipFill>
          <a:blip r:embed="rId5"/>
          <a:stretch>
            <a:fillRect/>
          </a:stretch>
        </p:blipFill>
        <p:spPr>
          <a:xfrm>
            <a:off x="173020" y="5608147"/>
            <a:ext cx="1114581" cy="1047896"/>
          </a:xfrm>
          <a:prstGeom prst="rect">
            <a:avLst/>
          </a:prstGeom>
        </p:spPr>
      </p:pic>
      <p:sp>
        <p:nvSpPr>
          <p:cNvPr id="6" name="Title 5">
            <a:extLst>
              <a:ext uri="{FF2B5EF4-FFF2-40B4-BE49-F238E27FC236}">
                <a16:creationId xmlns:a16="http://schemas.microsoft.com/office/drawing/2014/main" id="{74625960-0CFD-8A82-B746-1F0431EF9712}"/>
              </a:ext>
            </a:extLst>
          </p:cNvPr>
          <p:cNvSpPr>
            <a:spLocks noGrp="1"/>
          </p:cNvSpPr>
          <p:nvPr>
            <p:ph type="title"/>
          </p:nvPr>
        </p:nvSpPr>
        <p:spPr>
          <a:xfrm>
            <a:off x="0" y="365125"/>
            <a:ext cx="12192000" cy="1325563"/>
          </a:xfrm>
        </p:spPr>
        <p:txBody>
          <a:bodyPr/>
          <a:lstStyle/>
          <a:p>
            <a:r>
              <a:rPr lang="en-US" dirty="0"/>
              <a:t>Permitted vs Constructed Capacity of Class I Landfills</a:t>
            </a:r>
          </a:p>
        </p:txBody>
      </p:sp>
      <p:pic>
        <p:nvPicPr>
          <p:cNvPr id="4" name="Picture 3">
            <a:extLst>
              <a:ext uri="{FF2B5EF4-FFF2-40B4-BE49-F238E27FC236}">
                <a16:creationId xmlns:a16="http://schemas.microsoft.com/office/drawing/2014/main" id="{3732919C-444E-65D4-7EC6-58454DE0B93B}"/>
              </a:ext>
            </a:extLst>
          </p:cNvPr>
          <p:cNvPicPr>
            <a:picLocks noChangeAspect="1"/>
          </p:cNvPicPr>
          <p:nvPr/>
        </p:nvPicPr>
        <p:blipFill>
          <a:blip r:embed="rId4"/>
          <a:srcRect l="4081" t="1666" r="-1"/>
          <a:stretch/>
        </p:blipFill>
        <p:spPr>
          <a:xfrm>
            <a:off x="6429659" y="3375571"/>
            <a:ext cx="354330" cy="2174822"/>
          </a:xfrm>
          <a:prstGeom prst="rect">
            <a:avLst/>
          </a:prstGeom>
        </p:spPr>
      </p:pic>
      <p:sp>
        <p:nvSpPr>
          <p:cNvPr id="9" name="TextBox 8">
            <a:extLst>
              <a:ext uri="{FF2B5EF4-FFF2-40B4-BE49-F238E27FC236}">
                <a16:creationId xmlns:a16="http://schemas.microsoft.com/office/drawing/2014/main" id="{C85B334B-A131-88DD-61AF-C006A567DDB6}"/>
              </a:ext>
            </a:extLst>
          </p:cNvPr>
          <p:cNvSpPr txBox="1"/>
          <p:nvPr/>
        </p:nvSpPr>
        <p:spPr>
          <a:xfrm>
            <a:off x="6783989" y="5206008"/>
            <a:ext cx="1497330" cy="369332"/>
          </a:xfrm>
          <a:prstGeom prst="rect">
            <a:avLst/>
          </a:prstGeom>
          <a:noFill/>
        </p:spPr>
        <p:txBody>
          <a:bodyPr wrap="square" rtlCol="0">
            <a:spAutoFit/>
          </a:bodyPr>
          <a:lstStyle/>
          <a:p>
            <a:r>
              <a:rPr lang="en-US" dirty="0"/>
              <a:t>2.5 M tons</a:t>
            </a:r>
          </a:p>
        </p:txBody>
      </p:sp>
      <p:sp>
        <p:nvSpPr>
          <p:cNvPr id="15" name="TextBox 14">
            <a:extLst>
              <a:ext uri="{FF2B5EF4-FFF2-40B4-BE49-F238E27FC236}">
                <a16:creationId xmlns:a16="http://schemas.microsoft.com/office/drawing/2014/main" id="{058B37F0-1E7A-0FAB-C6FE-168612BE5187}"/>
              </a:ext>
            </a:extLst>
          </p:cNvPr>
          <p:cNvSpPr txBox="1"/>
          <p:nvPr/>
        </p:nvSpPr>
        <p:spPr>
          <a:xfrm rot="16200000">
            <a:off x="4907482" y="4038751"/>
            <a:ext cx="2673067" cy="400110"/>
          </a:xfrm>
          <a:prstGeom prst="rect">
            <a:avLst/>
          </a:prstGeom>
          <a:noFill/>
        </p:spPr>
        <p:txBody>
          <a:bodyPr wrap="square" rtlCol="0">
            <a:spAutoFit/>
          </a:bodyPr>
          <a:lstStyle/>
          <a:p>
            <a:r>
              <a:rPr lang="en-US" sz="2000" b="1" dirty="0"/>
              <a:t>2023 Tons Accepted</a:t>
            </a:r>
          </a:p>
        </p:txBody>
      </p:sp>
      <p:sp>
        <p:nvSpPr>
          <p:cNvPr id="16" name="TextBox 15">
            <a:extLst>
              <a:ext uri="{FF2B5EF4-FFF2-40B4-BE49-F238E27FC236}">
                <a16:creationId xmlns:a16="http://schemas.microsoft.com/office/drawing/2014/main" id="{49D61FE5-7B32-9A3B-87CB-7E5E2D9B5CD9}"/>
              </a:ext>
            </a:extLst>
          </p:cNvPr>
          <p:cNvSpPr txBox="1"/>
          <p:nvPr/>
        </p:nvSpPr>
        <p:spPr>
          <a:xfrm>
            <a:off x="7277786" y="5778152"/>
            <a:ext cx="3293789" cy="707886"/>
          </a:xfrm>
          <a:prstGeom prst="rect">
            <a:avLst/>
          </a:prstGeom>
          <a:noFill/>
        </p:spPr>
        <p:txBody>
          <a:bodyPr wrap="square" rtlCol="0">
            <a:spAutoFit/>
          </a:bodyPr>
          <a:lstStyle/>
          <a:p>
            <a:r>
              <a:rPr lang="en-US" sz="2000" b="1" dirty="0"/>
              <a:t>Tons of Constructed Capacity Remaining as of Jan. 1, 2025</a:t>
            </a:r>
          </a:p>
        </p:txBody>
      </p:sp>
      <p:pic>
        <p:nvPicPr>
          <p:cNvPr id="23" name="Picture 22">
            <a:extLst>
              <a:ext uri="{FF2B5EF4-FFF2-40B4-BE49-F238E27FC236}">
                <a16:creationId xmlns:a16="http://schemas.microsoft.com/office/drawing/2014/main" id="{FF7A8BC3-C263-B928-9058-A22CE3D5331E}"/>
              </a:ext>
            </a:extLst>
          </p:cNvPr>
          <p:cNvPicPr>
            <a:picLocks noChangeAspect="1"/>
          </p:cNvPicPr>
          <p:nvPr/>
        </p:nvPicPr>
        <p:blipFill>
          <a:blip r:embed="rId6"/>
          <a:stretch>
            <a:fillRect/>
          </a:stretch>
        </p:blipFill>
        <p:spPr>
          <a:xfrm>
            <a:off x="6182258" y="5662336"/>
            <a:ext cx="1095528" cy="933580"/>
          </a:xfrm>
          <a:prstGeom prst="rect">
            <a:avLst/>
          </a:prstGeom>
        </p:spPr>
      </p:pic>
      <p:sp>
        <p:nvSpPr>
          <p:cNvPr id="5" name="TextBox 4">
            <a:extLst>
              <a:ext uri="{FF2B5EF4-FFF2-40B4-BE49-F238E27FC236}">
                <a16:creationId xmlns:a16="http://schemas.microsoft.com/office/drawing/2014/main" id="{4D2C1A8E-C0C6-0B7F-0C28-F903A0387F47}"/>
              </a:ext>
            </a:extLst>
          </p:cNvPr>
          <p:cNvSpPr txBox="1"/>
          <p:nvPr/>
        </p:nvSpPr>
        <p:spPr>
          <a:xfrm>
            <a:off x="6844180" y="3437446"/>
            <a:ext cx="1497330" cy="369332"/>
          </a:xfrm>
          <a:prstGeom prst="rect">
            <a:avLst/>
          </a:prstGeom>
          <a:noFill/>
        </p:spPr>
        <p:txBody>
          <a:bodyPr wrap="square" rtlCol="0">
            <a:spAutoFit/>
          </a:bodyPr>
          <a:lstStyle/>
          <a:p>
            <a:r>
              <a:rPr lang="en-US" dirty="0"/>
              <a:t>0 tons</a:t>
            </a:r>
          </a:p>
        </p:txBody>
      </p:sp>
    </p:spTree>
    <p:extLst>
      <p:ext uri="{BB962C8B-B14F-4D97-AF65-F5344CB8AC3E}">
        <p14:creationId xmlns:p14="http://schemas.microsoft.com/office/powerpoint/2010/main" val="38480996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AE7BDB-D1C8-683C-E917-263C821FFD86}"/>
            </a:ext>
          </a:extLst>
        </p:cNvPr>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BC975FA8-133E-471B-8FF5-13042BE53F2D}"/>
              </a:ext>
            </a:extLst>
          </p:cNvPr>
          <p:cNvGraphicFramePr>
            <a:graphicFrameLocks/>
          </p:cNvGraphicFramePr>
          <p:nvPr>
            <p:custDataLst>
              <p:tags r:id="rId1"/>
            </p:custDataLst>
            <p:extLst>
              <p:ext uri="{D42A27DB-BD31-4B8C-83A1-F6EECF244321}">
                <p14:modId xmlns:p14="http://schemas.microsoft.com/office/powerpoint/2010/main" val="4282611835"/>
              </p:ext>
            </p:extLst>
          </p:nvPr>
        </p:nvGraphicFramePr>
        <p:xfrm>
          <a:off x="0" y="1544190"/>
          <a:ext cx="12192000" cy="5313810"/>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D7D21C97-3E84-2FB4-1927-E1B9C387E123}"/>
              </a:ext>
            </a:extLst>
          </p:cNvPr>
          <p:cNvSpPr txBox="1"/>
          <p:nvPr/>
        </p:nvSpPr>
        <p:spPr>
          <a:xfrm>
            <a:off x="1639425" y="5023401"/>
            <a:ext cx="1819275" cy="369332"/>
          </a:xfrm>
          <a:prstGeom prst="rect">
            <a:avLst/>
          </a:prstGeom>
          <a:noFill/>
        </p:spPr>
        <p:txBody>
          <a:bodyPr wrap="square" rtlCol="0">
            <a:spAutoFit/>
          </a:bodyPr>
          <a:lstStyle/>
          <a:p>
            <a:pPr algn="ctr"/>
            <a:r>
              <a:rPr lang="en-US" b="1" dirty="0">
                <a:solidFill>
                  <a:schemeClr val="tx1">
                    <a:lumMod val="65000"/>
                    <a:lumOff val="35000"/>
                  </a:schemeClr>
                </a:solidFill>
              </a:rPr>
              <a:t>32.7 M tons</a:t>
            </a:r>
          </a:p>
        </p:txBody>
      </p:sp>
      <p:sp>
        <p:nvSpPr>
          <p:cNvPr id="12" name="TextBox 11">
            <a:extLst>
              <a:ext uri="{FF2B5EF4-FFF2-40B4-BE49-F238E27FC236}">
                <a16:creationId xmlns:a16="http://schemas.microsoft.com/office/drawing/2014/main" id="{1A74851B-B8CF-D448-E18A-1470598A4342}"/>
              </a:ext>
            </a:extLst>
          </p:cNvPr>
          <p:cNvSpPr txBox="1"/>
          <p:nvPr/>
        </p:nvSpPr>
        <p:spPr>
          <a:xfrm>
            <a:off x="3372251" y="5692998"/>
            <a:ext cx="1819275" cy="369332"/>
          </a:xfrm>
          <a:prstGeom prst="rect">
            <a:avLst/>
          </a:prstGeom>
          <a:noFill/>
        </p:spPr>
        <p:txBody>
          <a:bodyPr wrap="square" rtlCol="0">
            <a:spAutoFit/>
          </a:bodyPr>
          <a:lstStyle/>
          <a:p>
            <a:pPr algn="ctr"/>
            <a:r>
              <a:rPr lang="en-US" b="1" dirty="0">
                <a:solidFill>
                  <a:schemeClr val="tx1">
                    <a:lumMod val="65000"/>
                    <a:lumOff val="35000"/>
                  </a:schemeClr>
                </a:solidFill>
              </a:rPr>
              <a:t>9.6 M tons</a:t>
            </a:r>
          </a:p>
        </p:txBody>
      </p:sp>
      <p:sp>
        <p:nvSpPr>
          <p:cNvPr id="13" name="TextBox 12">
            <a:extLst>
              <a:ext uri="{FF2B5EF4-FFF2-40B4-BE49-F238E27FC236}">
                <a16:creationId xmlns:a16="http://schemas.microsoft.com/office/drawing/2014/main" id="{9B87D6DB-F50C-B49A-0B8A-F1FBC3502ACC}"/>
              </a:ext>
            </a:extLst>
          </p:cNvPr>
          <p:cNvSpPr txBox="1"/>
          <p:nvPr/>
        </p:nvSpPr>
        <p:spPr>
          <a:xfrm>
            <a:off x="5080058" y="5745394"/>
            <a:ext cx="1819275" cy="369332"/>
          </a:xfrm>
          <a:prstGeom prst="rect">
            <a:avLst/>
          </a:prstGeom>
          <a:noFill/>
        </p:spPr>
        <p:txBody>
          <a:bodyPr wrap="square" rtlCol="0">
            <a:spAutoFit/>
          </a:bodyPr>
          <a:lstStyle/>
          <a:p>
            <a:pPr algn="ctr"/>
            <a:r>
              <a:rPr lang="en-US" b="1" dirty="0">
                <a:solidFill>
                  <a:schemeClr val="tx1">
                    <a:lumMod val="65000"/>
                    <a:lumOff val="35000"/>
                  </a:schemeClr>
                </a:solidFill>
              </a:rPr>
              <a:t>7.9 M tons</a:t>
            </a:r>
          </a:p>
        </p:txBody>
      </p:sp>
      <p:sp>
        <p:nvSpPr>
          <p:cNvPr id="14" name="TextBox 13">
            <a:extLst>
              <a:ext uri="{FF2B5EF4-FFF2-40B4-BE49-F238E27FC236}">
                <a16:creationId xmlns:a16="http://schemas.microsoft.com/office/drawing/2014/main" id="{E86FF83C-45C7-BB6E-B448-BAD5619BC2D7}"/>
              </a:ext>
            </a:extLst>
          </p:cNvPr>
          <p:cNvSpPr txBox="1"/>
          <p:nvPr/>
        </p:nvSpPr>
        <p:spPr>
          <a:xfrm>
            <a:off x="8515815" y="5253972"/>
            <a:ext cx="1819275" cy="369332"/>
          </a:xfrm>
          <a:prstGeom prst="rect">
            <a:avLst/>
          </a:prstGeom>
          <a:noFill/>
        </p:spPr>
        <p:txBody>
          <a:bodyPr wrap="square" rtlCol="0">
            <a:spAutoFit/>
          </a:bodyPr>
          <a:lstStyle/>
          <a:p>
            <a:pPr algn="ctr"/>
            <a:r>
              <a:rPr lang="en-US" b="1" dirty="0">
                <a:solidFill>
                  <a:schemeClr val="tx1">
                    <a:lumMod val="65000"/>
                    <a:lumOff val="35000"/>
                  </a:schemeClr>
                </a:solidFill>
              </a:rPr>
              <a:t>26 M tons</a:t>
            </a:r>
          </a:p>
        </p:txBody>
      </p:sp>
      <p:sp>
        <p:nvSpPr>
          <p:cNvPr id="16" name="TextBox 15">
            <a:extLst>
              <a:ext uri="{FF2B5EF4-FFF2-40B4-BE49-F238E27FC236}">
                <a16:creationId xmlns:a16="http://schemas.microsoft.com/office/drawing/2014/main" id="{D030A7F1-BADA-15CE-C9BE-DDBA0A962BCB}"/>
              </a:ext>
            </a:extLst>
          </p:cNvPr>
          <p:cNvSpPr txBox="1"/>
          <p:nvPr/>
        </p:nvSpPr>
        <p:spPr>
          <a:xfrm>
            <a:off x="10249757" y="5072728"/>
            <a:ext cx="1819275" cy="369332"/>
          </a:xfrm>
          <a:prstGeom prst="rect">
            <a:avLst/>
          </a:prstGeom>
          <a:noFill/>
        </p:spPr>
        <p:txBody>
          <a:bodyPr wrap="square" rtlCol="0">
            <a:spAutoFit/>
          </a:bodyPr>
          <a:lstStyle/>
          <a:p>
            <a:pPr algn="ctr"/>
            <a:r>
              <a:rPr lang="en-US" b="1" dirty="0">
                <a:solidFill>
                  <a:schemeClr val="tx1">
                    <a:lumMod val="65000"/>
                    <a:lumOff val="35000"/>
                  </a:schemeClr>
                </a:solidFill>
              </a:rPr>
              <a:t>31.5 M tons</a:t>
            </a:r>
          </a:p>
        </p:txBody>
      </p:sp>
      <p:sp>
        <p:nvSpPr>
          <p:cNvPr id="18" name="TextBox 17">
            <a:extLst>
              <a:ext uri="{FF2B5EF4-FFF2-40B4-BE49-F238E27FC236}">
                <a16:creationId xmlns:a16="http://schemas.microsoft.com/office/drawing/2014/main" id="{C5EF27C0-0457-AACE-1384-1AD6708252CA}"/>
              </a:ext>
            </a:extLst>
          </p:cNvPr>
          <p:cNvSpPr txBox="1"/>
          <p:nvPr/>
        </p:nvSpPr>
        <p:spPr>
          <a:xfrm>
            <a:off x="6819332" y="5517751"/>
            <a:ext cx="1819275" cy="369332"/>
          </a:xfrm>
          <a:prstGeom prst="rect">
            <a:avLst/>
          </a:prstGeom>
          <a:noFill/>
        </p:spPr>
        <p:txBody>
          <a:bodyPr wrap="square" rtlCol="0">
            <a:spAutoFit/>
          </a:bodyPr>
          <a:lstStyle/>
          <a:p>
            <a:pPr algn="ctr"/>
            <a:r>
              <a:rPr lang="en-US" b="1" dirty="0">
                <a:solidFill>
                  <a:schemeClr val="tx1">
                    <a:lumMod val="65000"/>
                    <a:lumOff val="35000"/>
                  </a:schemeClr>
                </a:solidFill>
              </a:rPr>
              <a:t>15.4 M tons</a:t>
            </a:r>
          </a:p>
        </p:txBody>
      </p:sp>
      <p:sp>
        <p:nvSpPr>
          <p:cNvPr id="9" name="Title 8">
            <a:extLst>
              <a:ext uri="{FF2B5EF4-FFF2-40B4-BE49-F238E27FC236}">
                <a16:creationId xmlns:a16="http://schemas.microsoft.com/office/drawing/2014/main" id="{3FA3E9DD-B179-0804-D680-82BF542BA1EA}"/>
              </a:ext>
            </a:extLst>
          </p:cNvPr>
          <p:cNvSpPr>
            <a:spLocks noGrp="1"/>
          </p:cNvSpPr>
          <p:nvPr>
            <p:ph type="title"/>
          </p:nvPr>
        </p:nvSpPr>
        <p:spPr>
          <a:xfrm>
            <a:off x="119741" y="371999"/>
            <a:ext cx="12191999" cy="1325563"/>
          </a:xfrm>
        </p:spPr>
        <p:txBody>
          <a:bodyPr>
            <a:normAutofit/>
          </a:bodyPr>
          <a:lstStyle/>
          <a:p>
            <a:r>
              <a:rPr lang="en-US" sz="4000" dirty="0"/>
              <a:t>Remaining Constructed Class I Capacity as of Jan</a:t>
            </a:r>
            <a:r>
              <a:rPr lang="en-US" sz="2800" dirty="0"/>
              <a:t>.</a:t>
            </a:r>
            <a:r>
              <a:rPr lang="en-US" sz="4000" dirty="0"/>
              <a:t> 1</a:t>
            </a:r>
            <a:r>
              <a:rPr lang="en-US" sz="2800" dirty="0"/>
              <a:t>,</a:t>
            </a:r>
            <a:r>
              <a:rPr lang="en-US" sz="4000" dirty="0"/>
              <a:t> 2025</a:t>
            </a:r>
          </a:p>
        </p:txBody>
      </p:sp>
      <p:sp>
        <p:nvSpPr>
          <p:cNvPr id="3" name="TextBox 2">
            <a:extLst>
              <a:ext uri="{FF2B5EF4-FFF2-40B4-BE49-F238E27FC236}">
                <a16:creationId xmlns:a16="http://schemas.microsoft.com/office/drawing/2014/main" id="{CC000B19-1879-61D2-DAC7-26F095B3371F}"/>
              </a:ext>
            </a:extLst>
          </p:cNvPr>
          <p:cNvSpPr txBox="1"/>
          <p:nvPr/>
        </p:nvSpPr>
        <p:spPr>
          <a:xfrm>
            <a:off x="8724220" y="1636933"/>
            <a:ext cx="3230108" cy="646331"/>
          </a:xfrm>
          <a:prstGeom prst="rect">
            <a:avLst/>
          </a:prstGeom>
          <a:noFill/>
          <a:ln>
            <a:noFill/>
          </a:ln>
        </p:spPr>
        <p:txBody>
          <a:bodyPr wrap="square" rtlCol="0">
            <a:spAutoFit/>
          </a:bodyPr>
          <a:lstStyle/>
          <a:p>
            <a:r>
              <a:rPr lang="en-US" b="1" dirty="0">
                <a:solidFill>
                  <a:schemeClr val="tx1">
                    <a:lumMod val="65000"/>
                    <a:lumOff val="35000"/>
                  </a:schemeClr>
                </a:solidFill>
              </a:rPr>
              <a:t>Different colors correspond to a separate facility in each district</a:t>
            </a:r>
          </a:p>
        </p:txBody>
      </p:sp>
    </p:spTree>
    <p:extLst>
      <p:ext uri="{BB962C8B-B14F-4D97-AF65-F5344CB8AC3E}">
        <p14:creationId xmlns:p14="http://schemas.microsoft.com/office/powerpoint/2010/main" val="33898434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3E57EF0-0C3E-332C-499C-F224D4DE0CF2}"/>
            </a:ext>
          </a:extLst>
        </p:cNvPr>
        <p:cNvGrpSpPr/>
        <p:nvPr/>
      </p:nvGrpSpPr>
      <p:grpSpPr>
        <a:xfrm>
          <a:off x="0" y="0"/>
          <a:ext cx="0" cy="0"/>
          <a:chOff x="0" y="0"/>
          <a:chExt cx="0" cy="0"/>
        </a:xfrm>
      </p:grpSpPr>
      <p:graphicFrame>
        <p:nvGraphicFramePr>
          <p:cNvPr id="28" name="Chart 27">
            <a:extLst>
              <a:ext uri="{FF2B5EF4-FFF2-40B4-BE49-F238E27FC236}">
                <a16:creationId xmlns:a16="http://schemas.microsoft.com/office/drawing/2014/main" id="{E2A20071-36BF-6545-BB3E-D553B21FEC1B}"/>
              </a:ext>
            </a:extLst>
          </p:cNvPr>
          <p:cNvGraphicFramePr>
            <a:graphicFrameLocks/>
          </p:cNvGraphicFramePr>
          <p:nvPr>
            <p:extLst>
              <p:ext uri="{D42A27DB-BD31-4B8C-83A1-F6EECF244321}">
                <p14:modId xmlns:p14="http://schemas.microsoft.com/office/powerpoint/2010/main" val="2197822979"/>
              </p:ext>
            </p:extLst>
          </p:nvPr>
        </p:nvGraphicFramePr>
        <p:xfrm>
          <a:off x="0" y="1544190"/>
          <a:ext cx="12072259" cy="531381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Chart 2">
            <a:extLst>
              <a:ext uri="{FF2B5EF4-FFF2-40B4-BE49-F238E27FC236}">
                <a16:creationId xmlns:a16="http://schemas.microsoft.com/office/drawing/2014/main" id="{D4431687-0880-CEDE-F64B-3EC6160DC5F5}"/>
              </a:ext>
            </a:extLst>
          </p:cNvPr>
          <p:cNvGraphicFramePr>
            <a:graphicFrameLocks/>
          </p:cNvGraphicFramePr>
          <p:nvPr>
            <p:custDataLst>
              <p:tags r:id="rId1"/>
            </p:custDataLst>
            <p:extLst>
              <p:ext uri="{D42A27DB-BD31-4B8C-83A1-F6EECF244321}">
                <p14:modId xmlns:p14="http://schemas.microsoft.com/office/powerpoint/2010/main" val="131781488"/>
              </p:ext>
            </p:extLst>
          </p:nvPr>
        </p:nvGraphicFramePr>
        <p:xfrm>
          <a:off x="1299991" y="1504330"/>
          <a:ext cx="11495264" cy="4981671"/>
        </p:xfrm>
        <a:graphic>
          <a:graphicData uri="http://schemas.openxmlformats.org/drawingml/2006/chart">
            <c:chart xmlns:c="http://schemas.openxmlformats.org/drawingml/2006/chart" xmlns:r="http://schemas.openxmlformats.org/officeDocument/2006/relationships" r:id="rId5"/>
          </a:graphicData>
        </a:graphic>
      </p:graphicFrame>
      <p:sp>
        <p:nvSpPr>
          <p:cNvPr id="9" name="Title 8">
            <a:extLst>
              <a:ext uri="{FF2B5EF4-FFF2-40B4-BE49-F238E27FC236}">
                <a16:creationId xmlns:a16="http://schemas.microsoft.com/office/drawing/2014/main" id="{684B5BA6-B88C-83D1-9176-F10685CF47BD}"/>
              </a:ext>
            </a:extLst>
          </p:cNvPr>
          <p:cNvSpPr>
            <a:spLocks noGrp="1"/>
          </p:cNvSpPr>
          <p:nvPr>
            <p:ph type="title"/>
          </p:nvPr>
        </p:nvSpPr>
        <p:spPr>
          <a:xfrm>
            <a:off x="119741" y="371999"/>
            <a:ext cx="12191999" cy="1325563"/>
          </a:xfrm>
        </p:spPr>
        <p:txBody>
          <a:bodyPr>
            <a:normAutofit/>
          </a:bodyPr>
          <a:lstStyle/>
          <a:p>
            <a:r>
              <a:rPr lang="en-US" dirty="0"/>
              <a:t>Remaining Class I Landfill Capacity as of Jan</a:t>
            </a:r>
            <a:r>
              <a:rPr lang="en-US" sz="3200" dirty="0"/>
              <a:t>.</a:t>
            </a:r>
            <a:r>
              <a:rPr lang="en-US" dirty="0"/>
              <a:t> 1</a:t>
            </a:r>
            <a:r>
              <a:rPr lang="en-US" sz="3200" dirty="0"/>
              <a:t>,</a:t>
            </a:r>
            <a:r>
              <a:rPr lang="en-US" dirty="0"/>
              <a:t> 2025</a:t>
            </a:r>
          </a:p>
        </p:txBody>
      </p:sp>
      <p:sp>
        <p:nvSpPr>
          <p:cNvPr id="4" name="TextBox 3">
            <a:extLst>
              <a:ext uri="{FF2B5EF4-FFF2-40B4-BE49-F238E27FC236}">
                <a16:creationId xmlns:a16="http://schemas.microsoft.com/office/drawing/2014/main" id="{7BB94001-0BB9-73C3-F821-08F4B332B5B7}"/>
              </a:ext>
            </a:extLst>
          </p:cNvPr>
          <p:cNvSpPr txBox="1"/>
          <p:nvPr/>
        </p:nvSpPr>
        <p:spPr>
          <a:xfrm>
            <a:off x="1221147" y="4765013"/>
            <a:ext cx="1819275" cy="646331"/>
          </a:xfrm>
          <a:prstGeom prst="rect">
            <a:avLst/>
          </a:prstGeom>
          <a:noFill/>
        </p:spPr>
        <p:txBody>
          <a:bodyPr wrap="square" rtlCol="0">
            <a:spAutoFit/>
          </a:bodyPr>
          <a:lstStyle/>
          <a:p>
            <a:pPr algn="ctr"/>
            <a:r>
              <a:rPr lang="en-US" b="1" dirty="0">
                <a:solidFill>
                  <a:schemeClr val="tx1">
                    <a:lumMod val="65000"/>
                    <a:lumOff val="35000"/>
                  </a:schemeClr>
                </a:solidFill>
              </a:rPr>
              <a:t>32.7M </a:t>
            </a:r>
          </a:p>
          <a:p>
            <a:pPr algn="ctr"/>
            <a:r>
              <a:rPr lang="en-US" b="1" dirty="0">
                <a:solidFill>
                  <a:schemeClr val="tx1">
                    <a:lumMod val="65000"/>
                    <a:lumOff val="35000"/>
                  </a:schemeClr>
                </a:solidFill>
              </a:rPr>
              <a:t>tons</a:t>
            </a:r>
          </a:p>
        </p:txBody>
      </p:sp>
      <p:sp>
        <p:nvSpPr>
          <p:cNvPr id="5" name="TextBox 4">
            <a:extLst>
              <a:ext uri="{FF2B5EF4-FFF2-40B4-BE49-F238E27FC236}">
                <a16:creationId xmlns:a16="http://schemas.microsoft.com/office/drawing/2014/main" id="{59C5AA70-5829-66B4-7945-F3B1E012A3DB}"/>
              </a:ext>
            </a:extLst>
          </p:cNvPr>
          <p:cNvSpPr txBox="1"/>
          <p:nvPr/>
        </p:nvSpPr>
        <p:spPr>
          <a:xfrm>
            <a:off x="3052932" y="5431095"/>
            <a:ext cx="1819275" cy="646331"/>
          </a:xfrm>
          <a:prstGeom prst="rect">
            <a:avLst/>
          </a:prstGeom>
          <a:noFill/>
        </p:spPr>
        <p:txBody>
          <a:bodyPr wrap="square" rtlCol="0">
            <a:spAutoFit/>
          </a:bodyPr>
          <a:lstStyle/>
          <a:p>
            <a:pPr algn="ctr"/>
            <a:r>
              <a:rPr lang="en-US" b="1" dirty="0">
                <a:solidFill>
                  <a:schemeClr val="tx1">
                    <a:lumMod val="65000"/>
                    <a:lumOff val="35000"/>
                  </a:schemeClr>
                </a:solidFill>
              </a:rPr>
              <a:t>9.6M</a:t>
            </a:r>
          </a:p>
          <a:p>
            <a:pPr algn="ctr"/>
            <a:r>
              <a:rPr lang="en-US" b="1" dirty="0">
                <a:solidFill>
                  <a:schemeClr val="tx1">
                    <a:lumMod val="65000"/>
                    <a:lumOff val="35000"/>
                  </a:schemeClr>
                </a:solidFill>
              </a:rPr>
              <a:t>tons</a:t>
            </a:r>
          </a:p>
        </p:txBody>
      </p:sp>
      <p:sp>
        <p:nvSpPr>
          <p:cNvPr id="6" name="TextBox 5">
            <a:extLst>
              <a:ext uri="{FF2B5EF4-FFF2-40B4-BE49-F238E27FC236}">
                <a16:creationId xmlns:a16="http://schemas.microsoft.com/office/drawing/2014/main" id="{64DB3690-1E12-EA3F-40B0-57CA3ECD323D}"/>
              </a:ext>
            </a:extLst>
          </p:cNvPr>
          <p:cNvSpPr txBox="1"/>
          <p:nvPr/>
        </p:nvSpPr>
        <p:spPr>
          <a:xfrm>
            <a:off x="4835204" y="5476622"/>
            <a:ext cx="1819275" cy="646331"/>
          </a:xfrm>
          <a:prstGeom prst="rect">
            <a:avLst/>
          </a:prstGeom>
          <a:noFill/>
        </p:spPr>
        <p:txBody>
          <a:bodyPr wrap="square" rtlCol="0">
            <a:spAutoFit/>
          </a:bodyPr>
          <a:lstStyle/>
          <a:p>
            <a:pPr algn="ctr"/>
            <a:r>
              <a:rPr lang="en-US" b="1" dirty="0">
                <a:solidFill>
                  <a:schemeClr val="tx1">
                    <a:lumMod val="65000"/>
                    <a:lumOff val="35000"/>
                  </a:schemeClr>
                </a:solidFill>
              </a:rPr>
              <a:t>7.9M</a:t>
            </a:r>
          </a:p>
          <a:p>
            <a:pPr algn="ctr"/>
            <a:r>
              <a:rPr lang="en-US" b="1" dirty="0">
                <a:solidFill>
                  <a:schemeClr val="tx1">
                    <a:lumMod val="65000"/>
                    <a:lumOff val="35000"/>
                  </a:schemeClr>
                </a:solidFill>
              </a:rPr>
              <a:t>tons</a:t>
            </a:r>
          </a:p>
        </p:txBody>
      </p:sp>
      <p:sp>
        <p:nvSpPr>
          <p:cNvPr id="7" name="TextBox 6">
            <a:extLst>
              <a:ext uri="{FF2B5EF4-FFF2-40B4-BE49-F238E27FC236}">
                <a16:creationId xmlns:a16="http://schemas.microsoft.com/office/drawing/2014/main" id="{454DE409-F67A-7B37-FFF7-05633A93C4DC}"/>
              </a:ext>
            </a:extLst>
          </p:cNvPr>
          <p:cNvSpPr txBox="1"/>
          <p:nvPr/>
        </p:nvSpPr>
        <p:spPr>
          <a:xfrm>
            <a:off x="8357592" y="4969869"/>
            <a:ext cx="1819275" cy="646331"/>
          </a:xfrm>
          <a:prstGeom prst="rect">
            <a:avLst/>
          </a:prstGeom>
          <a:noFill/>
        </p:spPr>
        <p:txBody>
          <a:bodyPr wrap="square" rtlCol="0">
            <a:spAutoFit/>
          </a:bodyPr>
          <a:lstStyle/>
          <a:p>
            <a:pPr algn="ctr"/>
            <a:r>
              <a:rPr lang="en-US" b="1" dirty="0">
                <a:solidFill>
                  <a:schemeClr val="tx1">
                    <a:lumMod val="65000"/>
                    <a:lumOff val="35000"/>
                  </a:schemeClr>
                </a:solidFill>
              </a:rPr>
              <a:t>26M</a:t>
            </a:r>
          </a:p>
          <a:p>
            <a:pPr algn="ctr"/>
            <a:r>
              <a:rPr lang="en-US" b="1" dirty="0">
                <a:solidFill>
                  <a:schemeClr val="tx1">
                    <a:lumMod val="65000"/>
                    <a:lumOff val="35000"/>
                  </a:schemeClr>
                </a:solidFill>
              </a:rPr>
              <a:t>tons</a:t>
            </a:r>
          </a:p>
        </p:txBody>
      </p:sp>
      <p:sp>
        <p:nvSpPr>
          <p:cNvPr id="8" name="TextBox 7">
            <a:extLst>
              <a:ext uri="{FF2B5EF4-FFF2-40B4-BE49-F238E27FC236}">
                <a16:creationId xmlns:a16="http://schemas.microsoft.com/office/drawing/2014/main" id="{4F17840D-357C-8363-73CC-F036CDE7B241}"/>
              </a:ext>
            </a:extLst>
          </p:cNvPr>
          <p:cNvSpPr txBox="1"/>
          <p:nvPr/>
        </p:nvSpPr>
        <p:spPr>
          <a:xfrm>
            <a:off x="10119281" y="4787588"/>
            <a:ext cx="1819275" cy="646331"/>
          </a:xfrm>
          <a:prstGeom prst="rect">
            <a:avLst/>
          </a:prstGeom>
          <a:noFill/>
        </p:spPr>
        <p:txBody>
          <a:bodyPr wrap="square" rtlCol="0">
            <a:spAutoFit/>
          </a:bodyPr>
          <a:lstStyle/>
          <a:p>
            <a:pPr algn="ctr"/>
            <a:r>
              <a:rPr lang="en-US" b="1" dirty="0">
                <a:solidFill>
                  <a:schemeClr val="tx1">
                    <a:lumMod val="65000"/>
                    <a:lumOff val="35000"/>
                  </a:schemeClr>
                </a:solidFill>
              </a:rPr>
              <a:t>31.5M</a:t>
            </a:r>
          </a:p>
          <a:p>
            <a:pPr algn="ctr"/>
            <a:r>
              <a:rPr lang="en-US" b="1" dirty="0">
                <a:solidFill>
                  <a:schemeClr val="tx1">
                    <a:lumMod val="65000"/>
                    <a:lumOff val="35000"/>
                  </a:schemeClr>
                </a:solidFill>
              </a:rPr>
              <a:t>tons</a:t>
            </a:r>
          </a:p>
        </p:txBody>
      </p:sp>
      <p:sp>
        <p:nvSpPr>
          <p:cNvPr id="10" name="TextBox 9">
            <a:extLst>
              <a:ext uri="{FF2B5EF4-FFF2-40B4-BE49-F238E27FC236}">
                <a16:creationId xmlns:a16="http://schemas.microsoft.com/office/drawing/2014/main" id="{68D6EAD1-86FB-4EA0-BABE-DA0C9679845A}"/>
              </a:ext>
            </a:extLst>
          </p:cNvPr>
          <p:cNvSpPr txBox="1"/>
          <p:nvPr/>
        </p:nvSpPr>
        <p:spPr>
          <a:xfrm>
            <a:off x="6573026" y="5263078"/>
            <a:ext cx="1819275" cy="646331"/>
          </a:xfrm>
          <a:prstGeom prst="rect">
            <a:avLst/>
          </a:prstGeom>
          <a:noFill/>
        </p:spPr>
        <p:txBody>
          <a:bodyPr wrap="square" rtlCol="0">
            <a:spAutoFit/>
          </a:bodyPr>
          <a:lstStyle/>
          <a:p>
            <a:pPr algn="ctr"/>
            <a:r>
              <a:rPr lang="en-US" b="1" dirty="0">
                <a:solidFill>
                  <a:schemeClr val="tx1">
                    <a:lumMod val="65000"/>
                    <a:lumOff val="35000"/>
                  </a:schemeClr>
                </a:solidFill>
              </a:rPr>
              <a:t>15.4M</a:t>
            </a:r>
          </a:p>
          <a:p>
            <a:pPr algn="ctr"/>
            <a:r>
              <a:rPr lang="en-US" b="1" dirty="0">
                <a:solidFill>
                  <a:schemeClr val="tx1">
                    <a:lumMod val="65000"/>
                    <a:lumOff val="35000"/>
                  </a:schemeClr>
                </a:solidFill>
              </a:rPr>
              <a:t>tons</a:t>
            </a:r>
          </a:p>
        </p:txBody>
      </p:sp>
      <p:sp>
        <p:nvSpPr>
          <p:cNvPr id="15" name="TextBox 14">
            <a:extLst>
              <a:ext uri="{FF2B5EF4-FFF2-40B4-BE49-F238E27FC236}">
                <a16:creationId xmlns:a16="http://schemas.microsoft.com/office/drawing/2014/main" id="{0DF00F76-2668-6D6E-ED38-A3BC96479800}"/>
              </a:ext>
            </a:extLst>
          </p:cNvPr>
          <p:cNvSpPr txBox="1"/>
          <p:nvPr/>
        </p:nvSpPr>
        <p:spPr>
          <a:xfrm>
            <a:off x="1919236" y="1661836"/>
            <a:ext cx="1819275" cy="646331"/>
          </a:xfrm>
          <a:prstGeom prst="rect">
            <a:avLst/>
          </a:prstGeom>
          <a:noFill/>
        </p:spPr>
        <p:txBody>
          <a:bodyPr wrap="square" rtlCol="0">
            <a:spAutoFit/>
          </a:bodyPr>
          <a:lstStyle/>
          <a:p>
            <a:pPr algn="ctr"/>
            <a:r>
              <a:rPr lang="en-US" b="1" dirty="0">
                <a:solidFill>
                  <a:schemeClr val="tx1">
                    <a:lumMod val="65000"/>
                    <a:lumOff val="35000"/>
                  </a:schemeClr>
                </a:solidFill>
              </a:rPr>
              <a:t>139.2M </a:t>
            </a:r>
          </a:p>
          <a:p>
            <a:pPr algn="ctr"/>
            <a:r>
              <a:rPr lang="en-US" b="1" dirty="0">
                <a:solidFill>
                  <a:schemeClr val="tx1">
                    <a:lumMod val="65000"/>
                    <a:lumOff val="35000"/>
                  </a:schemeClr>
                </a:solidFill>
              </a:rPr>
              <a:t>tons</a:t>
            </a:r>
          </a:p>
        </p:txBody>
      </p:sp>
      <p:sp>
        <p:nvSpPr>
          <p:cNvPr id="17" name="TextBox 16">
            <a:extLst>
              <a:ext uri="{FF2B5EF4-FFF2-40B4-BE49-F238E27FC236}">
                <a16:creationId xmlns:a16="http://schemas.microsoft.com/office/drawing/2014/main" id="{EBEB2F10-FE08-6569-4FF7-57E41BACCBA4}"/>
              </a:ext>
            </a:extLst>
          </p:cNvPr>
          <p:cNvSpPr txBox="1"/>
          <p:nvPr/>
        </p:nvSpPr>
        <p:spPr>
          <a:xfrm>
            <a:off x="3718940" y="4062573"/>
            <a:ext cx="1819275" cy="646331"/>
          </a:xfrm>
          <a:prstGeom prst="rect">
            <a:avLst/>
          </a:prstGeom>
          <a:noFill/>
        </p:spPr>
        <p:txBody>
          <a:bodyPr wrap="square" rtlCol="0">
            <a:spAutoFit/>
          </a:bodyPr>
          <a:lstStyle/>
          <a:p>
            <a:pPr algn="ctr"/>
            <a:r>
              <a:rPr lang="en-US" b="1" dirty="0">
                <a:solidFill>
                  <a:schemeClr val="tx1">
                    <a:lumMod val="65000"/>
                    <a:lumOff val="35000"/>
                  </a:schemeClr>
                </a:solidFill>
              </a:rPr>
              <a:t>56.5M</a:t>
            </a:r>
          </a:p>
          <a:p>
            <a:pPr algn="ctr"/>
            <a:r>
              <a:rPr lang="en-US" b="1" dirty="0">
                <a:solidFill>
                  <a:schemeClr val="tx1">
                    <a:lumMod val="65000"/>
                    <a:lumOff val="35000"/>
                  </a:schemeClr>
                </a:solidFill>
              </a:rPr>
              <a:t>tons</a:t>
            </a:r>
          </a:p>
        </p:txBody>
      </p:sp>
      <p:sp>
        <p:nvSpPr>
          <p:cNvPr id="19" name="TextBox 18">
            <a:extLst>
              <a:ext uri="{FF2B5EF4-FFF2-40B4-BE49-F238E27FC236}">
                <a16:creationId xmlns:a16="http://schemas.microsoft.com/office/drawing/2014/main" id="{C087AA0A-01AE-BE9A-CE98-EA928ED2C512}"/>
              </a:ext>
            </a:extLst>
          </p:cNvPr>
          <p:cNvSpPr txBox="1"/>
          <p:nvPr/>
        </p:nvSpPr>
        <p:spPr>
          <a:xfrm>
            <a:off x="5506194" y="4576178"/>
            <a:ext cx="1819275" cy="646331"/>
          </a:xfrm>
          <a:prstGeom prst="rect">
            <a:avLst/>
          </a:prstGeom>
          <a:noFill/>
        </p:spPr>
        <p:txBody>
          <a:bodyPr wrap="square" rtlCol="0">
            <a:spAutoFit/>
          </a:bodyPr>
          <a:lstStyle/>
          <a:p>
            <a:pPr algn="ctr"/>
            <a:r>
              <a:rPr lang="en-US" b="1" dirty="0">
                <a:solidFill>
                  <a:schemeClr val="tx1">
                    <a:lumMod val="65000"/>
                    <a:lumOff val="35000"/>
                  </a:schemeClr>
                </a:solidFill>
              </a:rPr>
              <a:t>38.8M</a:t>
            </a:r>
          </a:p>
          <a:p>
            <a:pPr algn="ctr"/>
            <a:r>
              <a:rPr lang="en-US" b="1" dirty="0">
                <a:solidFill>
                  <a:schemeClr val="tx1">
                    <a:lumMod val="65000"/>
                    <a:lumOff val="35000"/>
                  </a:schemeClr>
                </a:solidFill>
              </a:rPr>
              <a:t>tons</a:t>
            </a:r>
          </a:p>
        </p:txBody>
      </p:sp>
      <p:sp>
        <p:nvSpPr>
          <p:cNvPr id="20" name="TextBox 19">
            <a:extLst>
              <a:ext uri="{FF2B5EF4-FFF2-40B4-BE49-F238E27FC236}">
                <a16:creationId xmlns:a16="http://schemas.microsoft.com/office/drawing/2014/main" id="{385F6AC9-1D41-DE06-0B88-7B175B2FB8CE}"/>
              </a:ext>
            </a:extLst>
          </p:cNvPr>
          <p:cNvSpPr txBox="1"/>
          <p:nvPr/>
        </p:nvSpPr>
        <p:spPr>
          <a:xfrm>
            <a:off x="9068028" y="2239274"/>
            <a:ext cx="1819275" cy="646331"/>
          </a:xfrm>
          <a:prstGeom prst="rect">
            <a:avLst/>
          </a:prstGeom>
          <a:noFill/>
        </p:spPr>
        <p:txBody>
          <a:bodyPr wrap="square" rtlCol="0">
            <a:spAutoFit/>
          </a:bodyPr>
          <a:lstStyle/>
          <a:p>
            <a:pPr algn="ctr"/>
            <a:r>
              <a:rPr lang="en-US" b="1" dirty="0">
                <a:solidFill>
                  <a:schemeClr val="tx1">
                    <a:lumMod val="65000"/>
                    <a:lumOff val="35000"/>
                  </a:schemeClr>
                </a:solidFill>
              </a:rPr>
              <a:t>119.6M</a:t>
            </a:r>
          </a:p>
          <a:p>
            <a:pPr algn="ctr"/>
            <a:r>
              <a:rPr lang="en-US" b="1" dirty="0">
                <a:solidFill>
                  <a:schemeClr val="tx1">
                    <a:lumMod val="65000"/>
                    <a:lumOff val="35000"/>
                  </a:schemeClr>
                </a:solidFill>
              </a:rPr>
              <a:t>tons</a:t>
            </a:r>
          </a:p>
        </p:txBody>
      </p:sp>
      <p:sp>
        <p:nvSpPr>
          <p:cNvPr id="21" name="TextBox 20">
            <a:extLst>
              <a:ext uri="{FF2B5EF4-FFF2-40B4-BE49-F238E27FC236}">
                <a16:creationId xmlns:a16="http://schemas.microsoft.com/office/drawing/2014/main" id="{F893AB3F-9FBE-1422-FD8F-2A02FF27C74C}"/>
              </a:ext>
            </a:extLst>
          </p:cNvPr>
          <p:cNvSpPr txBox="1"/>
          <p:nvPr/>
        </p:nvSpPr>
        <p:spPr>
          <a:xfrm>
            <a:off x="10844049" y="3520229"/>
            <a:ext cx="1819275" cy="646331"/>
          </a:xfrm>
          <a:prstGeom prst="rect">
            <a:avLst/>
          </a:prstGeom>
          <a:noFill/>
        </p:spPr>
        <p:txBody>
          <a:bodyPr wrap="square" rtlCol="0">
            <a:spAutoFit/>
          </a:bodyPr>
          <a:lstStyle/>
          <a:p>
            <a:pPr algn="ctr"/>
            <a:r>
              <a:rPr lang="en-US" b="1" dirty="0">
                <a:solidFill>
                  <a:schemeClr val="tx1">
                    <a:lumMod val="65000"/>
                    <a:lumOff val="35000"/>
                  </a:schemeClr>
                </a:solidFill>
              </a:rPr>
              <a:t>75.3M</a:t>
            </a:r>
          </a:p>
          <a:p>
            <a:pPr algn="ctr"/>
            <a:r>
              <a:rPr lang="en-US" b="1" dirty="0">
                <a:solidFill>
                  <a:schemeClr val="tx1">
                    <a:lumMod val="65000"/>
                    <a:lumOff val="35000"/>
                  </a:schemeClr>
                </a:solidFill>
              </a:rPr>
              <a:t>tons</a:t>
            </a:r>
          </a:p>
        </p:txBody>
      </p:sp>
      <p:sp>
        <p:nvSpPr>
          <p:cNvPr id="22" name="TextBox 21">
            <a:extLst>
              <a:ext uri="{FF2B5EF4-FFF2-40B4-BE49-F238E27FC236}">
                <a16:creationId xmlns:a16="http://schemas.microsoft.com/office/drawing/2014/main" id="{A059655D-461E-A341-B72A-1A6145796818}"/>
              </a:ext>
            </a:extLst>
          </p:cNvPr>
          <p:cNvSpPr txBox="1"/>
          <p:nvPr/>
        </p:nvSpPr>
        <p:spPr>
          <a:xfrm>
            <a:off x="7276399" y="4864392"/>
            <a:ext cx="1819275" cy="646331"/>
          </a:xfrm>
          <a:prstGeom prst="rect">
            <a:avLst/>
          </a:prstGeom>
          <a:noFill/>
        </p:spPr>
        <p:txBody>
          <a:bodyPr wrap="square" rtlCol="0">
            <a:spAutoFit/>
          </a:bodyPr>
          <a:lstStyle/>
          <a:p>
            <a:pPr algn="ctr"/>
            <a:r>
              <a:rPr lang="en-US" b="1" dirty="0">
                <a:solidFill>
                  <a:schemeClr val="tx1">
                    <a:lumMod val="65000"/>
                    <a:lumOff val="35000"/>
                  </a:schemeClr>
                </a:solidFill>
              </a:rPr>
              <a:t>28.5M</a:t>
            </a:r>
          </a:p>
          <a:p>
            <a:pPr algn="ctr"/>
            <a:r>
              <a:rPr lang="en-US" b="1" dirty="0">
                <a:solidFill>
                  <a:schemeClr val="tx1">
                    <a:lumMod val="65000"/>
                    <a:lumOff val="35000"/>
                  </a:schemeClr>
                </a:solidFill>
              </a:rPr>
              <a:t>tons</a:t>
            </a:r>
          </a:p>
        </p:txBody>
      </p:sp>
      <p:sp>
        <p:nvSpPr>
          <p:cNvPr id="23" name="Rectangle 22">
            <a:extLst>
              <a:ext uri="{FF2B5EF4-FFF2-40B4-BE49-F238E27FC236}">
                <a16:creationId xmlns:a16="http://schemas.microsoft.com/office/drawing/2014/main" id="{C9CC0316-A010-F337-15BF-E1B27D18FC8C}"/>
              </a:ext>
            </a:extLst>
          </p:cNvPr>
          <p:cNvSpPr/>
          <p:nvPr/>
        </p:nvSpPr>
        <p:spPr>
          <a:xfrm>
            <a:off x="9567370" y="1362807"/>
            <a:ext cx="274950" cy="274320"/>
          </a:xfrm>
          <a:prstGeom prst="rect">
            <a:avLst/>
          </a:prstGeom>
          <a:solidFill>
            <a:schemeClr val="bg1">
              <a:lumMod val="50000"/>
            </a:schemeClr>
          </a:solidFill>
          <a:ln w="190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a:extLst>
              <a:ext uri="{FF2B5EF4-FFF2-40B4-BE49-F238E27FC236}">
                <a16:creationId xmlns:a16="http://schemas.microsoft.com/office/drawing/2014/main" id="{51D943AA-D9D4-797F-205E-E1B2B9AA618F}"/>
              </a:ext>
            </a:extLst>
          </p:cNvPr>
          <p:cNvSpPr txBox="1"/>
          <p:nvPr/>
        </p:nvSpPr>
        <p:spPr>
          <a:xfrm>
            <a:off x="9834818" y="1315301"/>
            <a:ext cx="2317372" cy="369332"/>
          </a:xfrm>
          <a:prstGeom prst="rect">
            <a:avLst/>
          </a:prstGeom>
          <a:noFill/>
        </p:spPr>
        <p:txBody>
          <a:bodyPr wrap="square" rtlCol="0">
            <a:spAutoFit/>
          </a:bodyPr>
          <a:lstStyle/>
          <a:p>
            <a:r>
              <a:rPr lang="en-US" b="1" dirty="0">
                <a:solidFill>
                  <a:schemeClr val="tx1">
                    <a:lumMod val="65000"/>
                    <a:lumOff val="35000"/>
                  </a:schemeClr>
                </a:solidFill>
              </a:rPr>
              <a:t>Constructed Capacity</a:t>
            </a:r>
          </a:p>
        </p:txBody>
      </p:sp>
      <p:sp>
        <p:nvSpPr>
          <p:cNvPr id="25" name="Rectangle 24">
            <a:extLst>
              <a:ext uri="{FF2B5EF4-FFF2-40B4-BE49-F238E27FC236}">
                <a16:creationId xmlns:a16="http://schemas.microsoft.com/office/drawing/2014/main" id="{4CD549FE-18E5-BE81-4E63-D9792EFE9EB3}"/>
              </a:ext>
            </a:extLst>
          </p:cNvPr>
          <p:cNvSpPr/>
          <p:nvPr/>
        </p:nvSpPr>
        <p:spPr>
          <a:xfrm>
            <a:off x="9567370" y="1790110"/>
            <a:ext cx="274950" cy="274320"/>
          </a:xfrm>
          <a:prstGeom prst="rect">
            <a:avLst/>
          </a:prstGeom>
          <a:pattFill prst="wdUpDiag">
            <a:fgClr>
              <a:schemeClr val="bg1">
                <a:lumMod val="50000"/>
              </a:schemeClr>
            </a:fgClr>
            <a:bgClr>
              <a:schemeClr val="bg1"/>
            </a:bgClr>
          </a:pattFill>
          <a:ln w="19050">
            <a:solidFill>
              <a:schemeClr val="bg1">
                <a:lumMod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617FDCF5-6CAC-1FFF-B1DA-482D30BEFEE7}"/>
              </a:ext>
            </a:extLst>
          </p:cNvPr>
          <p:cNvSpPr txBox="1"/>
          <p:nvPr/>
        </p:nvSpPr>
        <p:spPr>
          <a:xfrm>
            <a:off x="9834818" y="1742604"/>
            <a:ext cx="2317372" cy="369332"/>
          </a:xfrm>
          <a:prstGeom prst="rect">
            <a:avLst/>
          </a:prstGeom>
          <a:noFill/>
        </p:spPr>
        <p:txBody>
          <a:bodyPr wrap="square" rtlCol="0">
            <a:spAutoFit/>
          </a:bodyPr>
          <a:lstStyle/>
          <a:p>
            <a:r>
              <a:rPr lang="en-US" b="1" dirty="0">
                <a:solidFill>
                  <a:schemeClr val="tx1">
                    <a:lumMod val="65000"/>
                    <a:lumOff val="35000"/>
                  </a:schemeClr>
                </a:solidFill>
              </a:rPr>
              <a:t>Permitted Capacity</a:t>
            </a:r>
          </a:p>
        </p:txBody>
      </p:sp>
      <p:sp>
        <p:nvSpPr>
          <p:cNvPr id="11" name="TextBox 10">
            <a:extLst>
              <a:ext uri="{FF2B5EF4-FFF2-40B4-BE49-F238E27FC236}">
                <a16:creationId xmlns:a16="http://schemas.microsoft.com/office/drawing/2014/main" id="{93B05E4E-B16E-A2FC-22BF-5E1748715ABF}"/>
              </a:ext>
            </a:extLst>
          </p:cNvPr>
          <p:cNvSpPr txBox="1"/>
          <p:nvPr/>
        </p:nvSpPr>
        <p:spPr>
          <a:xfrm>
            <a:off x="6365229" y="1391472"/>
            <a:ext cx="3230108" cy="646331"/>
          </a:xfrm>
          <a:prstGeom prst="rect">
            <a:avLst/>
          </a:prstGeom>
          <a:noFill/>
          <a:ln>
            <a:noFill/>
          </a:ln>
        </p:spPr>
        <p:txBody>
          <a:bodyPr wrap="square" rtlCol="0">
            <a:spAutoFit/>
          </a:bodyPr>
          <a:lstStyle/>
          <a:p>
            <a:r>
              <a:rPr lang="en-US" b="1" dirty="0">
                <a:solidFill>
                  <a:schemeClr val="tx1">
                    <a:lumMod val="65000"/>
                    <a:lumOff val="35000"/>
                  </a:schemeClr>
                </a:solidFill>
              </a:rPr>
              <a:t>Different colors correspond to a separate facility in each district</a:t>
            </a:r>
          </a:p>
        </p:txBody>
      </p:sp>
      <p:sp>
        <p:nvSpPr>
          <p:cNvPr id="12" name="TextBox 11">
            <a:extLst>
              <a:ext uri="{FF2B5EF4-FFF2-40B4-BE49-F238E27FC236}">
                <a16:creationId xmlns:a16="http://schemas.microsoft.com/office/drawing/2014/main" id="{2E5DFF3C-741E-7D27-18D3-1D56A698B220}"/>
              </a:ext>
            </a:extLst>
          </p:cNvPr>
          <p:cNvSpPr txBox="1"/>
          <p:nvPr/>
        </p:nvSpPr>
        <p:spPr>
          <a:xfrm>
            <a:off x="2516829" y="6446636"/>
            <a:ext cx="605475" cy="369332"/>
          </a:xfrm>
          <a:prstGeom prst="rect">
            <a:avLst/>
          </a:prstGeom>
          <a:noFill/>
          <a:ln>
            <a:noFill/>
          </a:ln>
        </p:spPr>
        <p:txBody>
          <a:bodyPr wrap="square" rtlCol="0">
            <a:spAutoFit/>
          </a:bodyPr>
          <a:lstStyle/>
          <a:p>
            <a:pPr algn="ctr"/>
            <a:r>
              <a:rPr lang="en-US" b="1" dirty="0">
                <a:solidFill>
                  <a:schemeClr val="accent2">
                    <a:lumMod val="75000"/>
                  </a:schemeClr>
                </a:solidFill>
              </a:rPr>
              <a:t>24%</a:t>
            </a:r>
          </a:p>
        </p:txBody>
      </p:sp>
      <p:sp>
        <p:nvSpPr>
          <p:cNvPr id="13" name="TextBox 12">
            <a:extLst>
              <a:ext uri="{FF2B5EF4-FFF2-40B4-BE49-F238E27FC236}">
                <a16:creationId xmlns:a16="http://schemas.microsoft.com/office/drawing/2014/main" id="{311A0DE2-4CE9-086D-86B2-E73DEAD730F8}"/>
              </a:ext>
            </a:extLst>
          </p:cNvPr>
          <p:cNvSpPr txBox="1"/>
          <p:nvPr/>
        </p:nvSpPr>
        <p:spPr>
          <a:xfrm>
            <a:off x="4433079" y="6450723"/>
            <a:ext cx="605475" cy="369332"/>
          </a:xfrm>
          <a:prstGeom prst="rect">
            <a:avLst/>
          </a:prstGeom>
          <a:noFill/>
          <a:ln>
            <a:noFill/>
          </a:ln>
        </p:spPr>
        <p:txBody>
          <a:bodyPr wrap="square" rtlCol="0">
            <a:spAutoFit/>
          </a:bodyPr>
          <a:lstStyle/>
          <a:p>
            <a:pPr algn="ctr"/>
            <a:r>
              <a:rPr lang="en-US" b="1" dirty="0">
                <a:solidFill>
                  <a:schemeClr val="accent2">
                    <a:lumMod val="75000"/>
                  </a:schemeClr>
                </a:solidFill>
              </a:rPr>
              <a:t>17%</a:t>
            </a:r>
          </a:p>
        </p:txBody>
      </p:sp>
      <p:sp>
        <p:nvSpPr>
          <p:cNvPr id="14" name="TextBox 13">
            <a:extLst>
              <a:ext uri="{FF2B5EF4-FFF2-40B4-BE49-F238E27FC236}">
                <a16:creationId xmlns:a16="http://schemas.microsoft.com/office/drawing/2014/main" id="{D695454D-A2FF-C46C-6007-41E75931CDFE}"/>
              </a:ext>
            </a:extLst>
          </p:cNvPr>
          <p:cNvSpPr txBox="1"/>
          <p:nvPr/>
        </p:nvSpPr>
        <p:spPr>
          <a:xfrm>
            <a:off x="6251355" y="6450723"/>
            <a:ext cx="605475" cy="369332"/>
          </a:xfrm>
          <a:prstGeom prst="rect">
            <a:avLst/>
          </a:prstGeom>
          <a:noFill/>
          <a:ln>
            <a:noFill/>
          </a:ln>
        </p:spPr>
        <p:txBody>
          <a:bodyPr wrap="square" rtlCol="0">
            <a:spAutoFit/>
          </a:bodyPr>
          <a:lstStyle/>
          <a:p>
            <a:pPr algn="ctr"/>
            <a:r>
              <a:rPr lang="en-US" b="1" dirty="0">
                <a:solidFill>
                  <a:schemeClr val="accent2">
                    <a:lumMod val="75000"/>
                  </a:schemeClr>
                </a:solidFill>
              </a:rPr>
              <a:t>20%</a:t>
            </a:r>
          </a:p>
        </p:txBody>
      </p:sp>
      <p:sp>
        <p:nvSpPr>
          <p:cNvPr id="16" name="TextBox 15">
            <a:extLst>
              <a:ext uri="{FF2B5EF4-FFF2-40B4-BE49-F238E27FC236}">
                <a16:creationId xmlns:a16="http://schemas.microsoft.com/office/drawing/2014/main" id="{D2ADFD40-50C8-1057-36A1-309EBE065C88}"/>
              </a:ext>
            </a:extLst>
          </p:cNvPr>
          <p:cNvSpPr txBox="1"/>
          <p:nvPr/>
        </p:nvSpPr>
        <p:spPr>
          <a:xfrm>
            <a:off x="7819484" y="6438574"/>
            <a:ext cx="605475" cy="369332"/>
          </a:xfrm>
          <a:prstGeom prst="rect">
            <a:avLst/>
          </a:prstGeom>
          <a:noFill/>
          <a:ln>
            <a:noFill/>
          </a:ln>
        </p:spPr>
        <p:txBody>
          <a:bodyPr wrap="square" rtlCol="0">
            <a:spAutoFit/>
          </a:bodyPr>
          <a:lstStyle/>
          <a:p>
            <a:pPr algn="ctr"/>
            <a:r>
              <a:rPr lang="en-US" b="1" dirty="0">
                <a:solidFill>
                  <a:schemeClr val="accent2">
                    <a:lumMod val="75000"/>
                  </a:schemeClr>
                </a:solidFill>
              </a:rPr>
              <a:t>54%</a:t>
            </a:r>
          </a:p>
        </p:txBody>
      </p:sp>
      <p:sp>
        <p:nvSpPr>
          <p:cNvPr id="18" name="TextBox 17">
            <a:extLst>
              <a:ext uri="{FF2B5EF4-FFF2-40B4-BE49-F238E27FC236}">
                <a16:creationId xmlns:a16="http://schemas.microsoft.com/office/drawing/2014/main" id="{E6361326-AFF5-3AD1-855A-B8D73141BBB5}"/>
              </a:ext>
            </a:extLst>
          </p:cNvPr>
          <p:cNvSpPr txBox="1"/>
          <p:nvPr/>
        </p:nvSpPr>
        <p:spPr>
          <a:xfrm>
            <a:off x="9739771" y="6442638"/>
            <a:ext cx="605475" cy="369332"/>
          </a:xfrm>
          <a:prstGeom prst="rect">
            <a:avLst/>
          </a:prstGeom>
          <a:noFill/>
          <a:ln>
            <a:noFill/>
          </a:ln>
        </p:spPr>
        <p:txBody>
          <a:bodyPr wrap="square" rtlCol="0">
            <a:spAutoFit/>
          </a:bodyPr>
          <a:lstStyle/>
          <a:p>
            <a:pPr algn="ctr"/>
            <a:r>
              <a:rPr lang="en-US" b="1" dirty="0">
                <a:solidFill>
                  <a:schemeClr val="accent2">
                    <a:lumMod val="75000"/>
                  </a:schemeClr>
                </a:solidFill>
              </a:rPr>
              <a:t>22%</a:t>
            </a:r>
          </a:p>
        </p:txBody>
      </p:sp>
      <p:sp>
        <p:nvSpPr>
          <p:cNvPr id="27" name="TextBox 26">
            <a:extLst>
              <a:ext uri="{FF2B5EF4-FFF2-40B4-BE49-F238E27FC236}">
                <a16:creationId xmlns:a16="http://schemas.microsoft.com/office/drawing/2014/main" id="{F2E4E1DF-9349-E3EC-4DF9-4A68C36CC027}"/>
              </a:ext>
            </a:extLst>
          </p:cNvPr>
          <p:cNvSpPr txBox="1"/>
          <p:nvPr/>
        </p:nvSpPr>
        <p:spPr>
          <a:xfrm>
            <a:off x="11542744" y="6446636"/>
            <a:ext cx="605475" cy="369332"/>
          </a:xfrm>
          <a:prstGeom prst="rect">
            <a:avLst/>
          </a:prstGeom>
          <a:noFill/>
          <a:ln>
            <a:noFill/>
          </a:ln>
        </p:spPr>
        <p:txBody>
          <a:bodyPr wrap="square" rtlCol="0">
            <a:spAutoFit/>
          </a:bodyPr>
          <a:lstStyle/>
          <a:p>
            <a:pPr algn="ctr"/>
            <a:r>
              <a:rPr lang="en-US" b="1" dirty="0">
                <a:solidFill>
                  <a:schemeClr val="accent2">
                    <a:lumMod val="75000"/>
                  </a:schemeClr>
                </a:solidFill>
              </a:rPr>
              <a:t>42%</a:t>
            </a:r>
          </a:p>
        </p:txBody>
      </p:sp>
    </p:spTree>
    <p:extLst>
      <p:ext uri="{BB962C8B-B14F-4D97-AF65-F5344CB8AC3E}">
        <p14:creationId xmlns:p14="http://schemas.microsoft.com/office/powerpoint/2010/main" val="17880596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2AA5D0-BB62-2552-2C07-A8CCC25C1C41}"/>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0016C12F-D6C9-ABFD-C7D6-918376B0823E}"/>
              </a:ext>
            </a:extLst>
          </p:cNvPr>
          <p:cNvSpPr>
            <a:spLocks noGrp="1"/>
          </p:cNvSpPr>
          <p:nvPr>
            <p:ph type="title"/>
          </p:nvPr>
        </p:nvSpPr>
        <p:spPr>
          <a:xfrm>
            <a:off x="116731" y="365125"/>
            <a:ext cx="11867745" cy="1325563"/>
          </a:xfrm>
        </p:spPr>
        <p:txBody>
          <a:bodyPr/>
          <a:lstStyle/>
          <a:p>
            <a:r>
              <a:rPr lang="en-US" dirty="0"/>
              <a:t>Remaining Class I Landfill Capacity as of Jan</a:t>
            </a:r>
            <a:r>
              <a:rPr lang="en-US" sz="3200" dirty="0"/>
              <a:t>.</a:t>
            </a:r>
            <a:r>
              <a:rPr lang="en-US" dirty="0"/>
              <a:t> 1</a:t>
            </a:r>
            <a:r>
              <a:rPr lang="en-US" sz="3200" dirty="0"/>
              <a:t>,</a:t>
            </a:r>
            <a:r>
              <a:rPr lang="en-US" dirty="0"/>
              <a:t> 2025</a:t>
            </a:r>
          </a:p>
        </p:txBody>
      </p:sp>
      <p:graphicFrame>
        <p:nvGraphicFramePr>
          <p:cNvPr id="2" name="Chart 1">
            <a:extLst>
              <a:ext uri="{FF2B5EF4-FFF2-40B4-BE49-F238E27FC236}">
                <a16:creationId xmlns:a16="http://schemas.microsoft.com/office/drawing/2014/main" id="{B08F6A17-A634-ED01-E604-20238E554114}"/>
              </a:ext>
            </a:extLst>
          </p:cNvPr>
          <p:cNvGraphicFramePr>
            <a:graphicFrameLocks/>
          </p:cNvGraphicFramePr>
          <p:nvPr>
            <p:custDataLst>
              <p:tags r:id="rId1"/>
            </p:custDataLst>
            <p:extLst>
              <p:ext uri="{D42A27DB-BD31-4B8C-83A1-F6EECF244321}">
                <p14:modId xmlns:p14="http://schemas.microsoft.com/office/powerpoint/2010/main" val="4108427741"/>
              </p:ext>
            </p:extLst>
          </p:nvPr>
        </p:nvGraphicFramePr>
        <p:xfrm>
          <a:off x="0" y="1371600"/>
          <a:ext cx="12191999" cy="54864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2712727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D79CE6F-0949-5C89-D9F9-7CE5701C6F8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EDB04F5C-3E28-9D2A-758B-5D0ECBCE15B6}"/>
              </a:ext>
            </a:extLst>
          </p:cNvPr>
          <p:cNvSpPr>
            <a:spLocks noGrp="1"/>
          </p:cNvSpPr>
          <p:nvPr>
            <p:ph type="title"/>
          </p:nvPr>
        </p:nvSpPr>
        <p:spPr/>
        <p:txBody>
          <a:bodyPr/>
          <a:lstStyle/>
          <a:p>
            <a:r>
              <a:rPr lang="en-US" dirty="0"/>
              <a:t>Facilities of Interest</a:t>
            </a:r>
          </a:p>
        </p:txBody>
      </p:sp>
      <p:sp>
        <p:nvSpPr>
          <p:cNvPr id="7" name="Rectangle 6">
            <a:extLst>
              <a:ext uri="{FF2B5EF4-FFF2-40B4-BE49-F238E27FC236}">
                <a16:creationId xmlns:a16="http://schemas.microsoft.com/office/drawing/2014/main" id="{4E0AFDFF-FD4D-2606-CC20-60455B56D12D}"/>
              </a:ext>
            </a:extLst>
          </p:cNvPr>
          <p:cNvSpPr/>
          <p:nvPr/>
        </p:nvSpPr>
        <p:spPr>
          <a:xfrm>
            <a:off x="6116224" y="1492696"/>
            <a:ext cx="5016241" cy="4840468"/>
          </a:xfrm>
          <a:prstGeom prst="rect">
            <a:avLst/>
          </a:prstGeom>
          <a:solidFill>
            <a:schemeClr val="accent6">
              <a:alpha val="1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954141ED-69F1-231D-B185-961BEC5BA27F}"/>
              </a:ext>
            </a:extLst>
          </p:cNvPr>
          <p:cNvSpPr/>
          <p:nvPr/>
        </p:nvSpPr>
        <p:spPr>
          <a:xfrm>
            <a:off x="838200" y="1501630"/>
            <a:ext cx="5020056" cy="4840469"/>
          </a:xfrm>
          <a:prstGeom prst="rect">
            <a:avLst/>
          </a:prstGeom>
          <a:solidFill>
            <a:schemeClr val="accent1">
              <a:alpha val="1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Diagram 8">
            <a:extLst>
              <a:ext uri="{FF2B5EF4-FFF2-40B4-BE49-F238E27FC236}">
                <a16:creationId xmlns:a16="http://schemas.microsoft.com/office/drawing/2014/main" id="{3BE58D2E-5560-DF72-4D4B-E016C139D8A7}"/>
              </a:ext>
            </a:extLst>
          </p:cNvPr>
          <p:cNvGraphicFramePr/>
          <p:nvPr/>
        </p:nvGraphicFramePr>
        <p:xfrm>
          <a:off x="1731649" y="1501631"/>
          <a:ext cx="3116975" cy="48404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85D01866-8AD8-E9B8-9FF1-0FFC934E17E3}"/>
              </a:ext>
            </a:extLst>
          </p:cNvPr>
          <p:cNvGraphicFramePr/>
          <p:nvPr/>
        </p:nvGraphicFramePr>
        <p:xfrm>
          <a:off x="6422503" y="1911940"/>
          <a:ext cx="4420976" cy="429363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1" name="TextBox 10">
            <a:extLst>
              <a:ext uri="{FF2B5EF4-FFF2-40B4-BE49-F238E27FC236}">
                <a16:creationId xmlns:a16="http://schemas.microsoft.com/office/drawing/2014/main" id="{287BB926-8A3E-D282-697D-5DDAEE4F07C4}"/>
              </a:ext>
            </a:extLst>
          </p:cNvPr>
          <p:cNvSpPr txBox="1"/>
          <p:nvPr/>
        </p:nvSpPr>
        <p:spPr>
          <a:xfrm>
            <a:off x="919686" y="1492696"/>
            <a:ext cx="1435008" cy="523220"/>
          </a:xfrm>
          <a:prstGeom prst="rect">
            <a:avLst/>
          </a:prstGeom>
          <a:noFill/>
        </p:spPr>
        <p:txBody>
          <a:bodyPr wrap="none" rtlCol="0">
            <a:spAutoFit/>
          </a:bodyPr>
          <a:lstStyle/>
          <a:p>
            <a:r>
              <a:rPr lang="en-US" sz="2800" b="1" dirty="0"/>
              <a:t>Disposal</a:t>
            </a:r>
          </a:p>
        </p:txBody>
      </p:sp>
      <p:sp>
        <p:nvSpPr>
          <p:cNvPr id="12" name="TextBox 11">
            <a:extLst>
              <a:ext uri="{FF2B5EF4-FFF2-40B4-BE49-F238E27FC236}">
                <a16:creationId xmlns:a16="http://schemas.microsoft.com/office/drawing/2014/main" id="{766ABF28-B625-BB49-A3A0-79ADD73FEE72}"/>
              </a:ext>
            </a:extLst>
          </p:cNvPr>
          <p:cNvSpPr txBox="1"/>
          <p:nvPr/>
        </p:nvSpPr>
        <p:spPr>
          <a:xfrm>
            <a:off x="6197709" y="1492695"/>
            <a:ext cx="1759264" cy="523220"/>
          </a:xfrm>
          <a:prstGeom prst="rect">
            <a:avLst/>
          </a:prstGeom>
          <a:noFill/>
        </p:spPr>
        <p:txBody>
          <a:bodyPr wrap="none" rtlCol="0">
            <a:spAutoFit/>
          </a:bodyPr>
          <a:lstStyle/>
          <a:p>
            <a:r>
              <a:rPr lang="en-US" sz="2800" b="1" dirty="0"/>
              <a:t>Processing</a:t>
            </a:r>
            <a:endParaRPr lang="en-US" sz="2400" b="1" dirty="0"/>
          </a:p>
        </p:txBody>
      </p:sp>
    </p:spTree>
    <p:extLst>
      <p:ext uri="{BB962C8B-B14F-4D97-AF65-F5344CB8AC3E}">
        <p14:creationId xmlns:p14="http://schemas.microsoft.com/office/powerpoint/2010/main" val="39032286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E2B4188-5CDE-103E-1E33-52546E15ACC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C35AB7A-EDB5-9F56-FA29-5C0622F0FB03}"/>
              </a:ext>
            </a:extLst>
          </p:cNvPr>
          <p:cNvSpPr>
            <a:spLocks noGrp="1"/>
          </p:cNvSpPr>
          <p:nvPr>
            <p:ph type="title"/>
          </p:nvPr>
        </p:nvSpPr>
        <p:spPr/>
        <p:txBody>
          <a:bodyPr/>
          <a:lstStyle/>
          <a:p>
            <a:r>
              <a:rPr lang="en-US" dirty="0"/>
              <a:t>Facilities of Interest</a:t>
            </a:r>
          </a:p>
        </p:txBody>
      </p:sp>
      <p:sp>
        <p:nvSpPr>
          <p:cNvPr id="7" name="Rectangle 6">
            <a:extLst>
              <a:ext uri="{FF2B5EF4-FFF2-40B4-BE49-F238E27FC236}">
                <a16:creationId xmlns:a16="http://schemas.microsoft.com/office/drawing/2014/main" id="{2DA79F43-1232-38B2-40A5-192E79326250}"/>
              </a:ext>
            </a:extLst>
          </p:cNvPr>
          <p:cNvSpPr/>
          <p:nvPr/>
        </p:nvSpPr>
        <p:spPr>
          <a:xfrm>
            <a:off x="6116224" y="1492696"/>
            <a:ext cx="5016241" cy="4840468"/>
          </a:xfrm>
          <a:prstGeom prst="rect">
            <a:avLst/>
          </a:prstGeom>
          <a:solidFill>
            <a:schemeClr val="accent6">
              <a:alpha val="1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C3558B1-F791-15D0-B1B4-7C67F2E6DE15}"/>
              </a:ext>
            </a:extLst>
          </p:cNvPr>
          <p:cNvSpPr/>
          <p:nvPr/>
        </p:nvSpPr>
        <p:spPr>
          <a:xfrm>
            <a:off x="838200" y="1501630"/>
            <a:ext cx="5020056" cy="4840469"/>
          </a:xfrm>
          <a:prstGeom prst="rect">
            <a:avLst/>
          </a:prstGeom>
          <a:solidFill>
            <a:schemeClr val="accent1">
              <a:alpha val="1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0" name="Diagram 9">
            <a:extLst>
              <a:ext uri="{FF2B5EF4-FFF2-40B4-BE49-F238E27FC236}">
                <a16:creationId xmlns:a16="http://schemas.microsoft.com/office/drawing/2014/main" id="{A76848FF-4ABD-6CF2-9287-BCFBA1D6F887}"/>
              </a:ext>
            </a:extLst>
          </p:cNvPr>
          <p:cNvGraphicFramePr/>
          <p:nvPr/>
        </p:nvGraphicFramePr>
        <p:xfrm>
          <a:off x="6422503" y="1911940"/>
          <a:ext cx="4420976" cy="42936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TextBox 10">
            <a:extLst>
              <a:ext uri="{FF2B5EF4-FFF2-40B4-BE49-F238E27FC236}">
                <a16:creationId xmlns:a16="http://schemas.microsoft.com/office/drawing/2014/main" id="{F7C8E152-98EE-ECD3-8309-122B6CCB2754}"/>
              </a:ext>
            </a:extLst>
          </p:cNvPr>
          <p:cNvSpPr txBox="1"/>
          <p:nvPr/>
        </p:nvSpPr>
        <p:spPr>
          <a:xfrm>
            <a:off x="919686" y="1492696"/>
            <a:ext cx="1435008" cy="523220"/>
          </a:xfrm>
          <a:prstGeom prst="rect">
            <a:avLst/>
          </a:prstGeom>
          <a:noFill/>
        </p:spPr>
        <p:txBody>
          <a:bodyPr wrap="none" rtlCol="0">
            <a:spAutoFit/>
          </a:bodyPr>
          <a:lstStyle/>
          <a:p>
            <a:r>
              <a:rPr lang="en-US" sz="2800" b="1" dirty="0"/>
              <a:t>Disposal</a:t>
            </a:r>
          </a:p>
        </p:txBody>
      </p:sp>
      <p:sp>
        <p:nvSpPr>
          <p:cNvPr id="12" name="TextBox 11">
            <a:extLst>
              <a:ext uri="{FF2B5EF4-FFF2-40B4-BE49-F238E27FC236}">
                <a16:creationId xmlns:a16="http://schemas.microsoft.com/office/drawing/2014/main" id="{FE6EED2A-976C-F0D0-591B-EEFE78B32FE0}"/>
              </a:ext>
            </a:extLst>
          </p:cNvPr>
          <p:cNvSpPr txBox="1"/>
          <p:nvPr/>
        </p:nvSpPr>
        <p:spPr>
          <a:xfrm>
            <a:off x="6197709" y="1492695"/>
            <a:ext cx="1759264" cy="523220"/>
          </a:xfrm>
          <a:prstGeom prst="rect">
            <a:avLst/>
          </a:prstGeom>
          <a:noFill/>
        </p:spPr>
        <p:txBody>
          <a:bodyPr wrap="none" rtlCol="0">
            <a:spAutoFit/>
          </a:bodyPr>
          <a:lstStyle/>
          <a:p>
            <a:r>
              <a:rPr lang="en-US" sz="2800" b="1" dirty="0"/>
              <a:t>Processing</a:t>
            </a:r>
            <a:endParaRPr lang="en-US" sz="2400" b="1" dirty="0"/>
          </a:p>
        </p:txBody>
      </p:sp>
      <p:graphicFrame>
        <p:nvGraphicFramePr>
          <p:cNvPr id="3" name="Diagram 2">
            <a:extLst>
              <a:ext uri="{FF2B5EF4-FFF2-40B4-BE49-F238E27FC236}">
                <a16:creationId xmlns:a16="http://schemas.microsoft.com/office/drawing/2014/main" id="{08134069-4D17-2C17-FE1A-6341B5C93B04}"/>
              </a:ext>
            </a:extLst>
          </p:cNvPr>
          <p:cNvGraphicFramePr/>
          <p:nvPr>
            <p:extLst>
              <p:ext uri="{D42A27DB-BD31-4B8C-83A1-F6EECF244321}">
                <p14:modId xmlns:p14="http://schemas.microsoft.com/office/powerpoint/2010/main" val="2427467935"/>
              </p:ext>
            </p:extLst>
          </p:nvPr>
        </p:nvGraphicFramePr>
        <p:xfrm>
          <a:off x="1731649" y="1501631"/>
          <a:ext cx="3116975" cy="484046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7797112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408246-B1E1-0A40-AEE6-FD3683A13712}"/>
              </a:ext>
            </a:extLst>
          </p:cNvPr>
          <p:cNvSpPr>
            <a:spLocks noGrp="1"/>
          </p:cNvSpPr>
          <p:nvPr>
            <p:ph type="title"/>
          </p:nvPr>
        </p:nvSpPr>
        <p:spPr/>
        <p:txBody>
          <a:bodyPr/>
          <a:lstStyle/>
          <a:p>
            <a:r>
              <a:rPr lang="en-US" dirty="0"/>
              <a:t>Facilities of Interest</a:t>
            </a:r>
          </a:p>
        </p:txBody>
      </p:sp>
      <p:sp>
        <p:nvSpPr>
          <p:cNvPr id="7" name="Rectangle 6">
            <a:extLst>
              <a:ext uri="{FF2B5EF4-FFF2-40B4-BE49-F238E27FC236}">
                <a16:creationId xmlns:a16="http://schemas.microsoft.com/office/drawing/2014/main" id="{FC16ED9A-C773-CB4F-8A02-D7F4D67F3B5D}"/>
              </a:ext>
            </a:extLst>
          </p:cNvPr>
          <p:cNvSpPr/>
          <p:nvPr/>
        </p:nvSpPr>
        <p:spPr>
          <a:xfrm>
            <a:off x="6116224" y="1492696"/>
            <a:ext cx="5016241" cy="4840468"/>
          </a:xfrm>
          <a:prstGeom prst="rect">
            <a:avLst/>
          </a:prstGeom>
          <a:solidFill>
            <a:schemeClr val="accent6">
              <a:alpha val="1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1340F84-565C-E24D-A37C-0015C2CB2542}"/>
              </a:ext>
            </a:extLst>
          </p:cNvPr>
          <p:cNvSpPr/>
          <p:nvPr/>
        </p:nvSpPr>
        <p:spPr>
          <a:xfrm>
            <a:off x="838200" y="1501630"/>
            <a:ext cx="5020056" cy="4840469"/>
          </a:xfrm>
          <a:prstGeom prst="rect">
            <a:avLst/>
          </a:prstGeom>
          <a:solidFill>
            <a:schemeClr val="accent1">
              <a:alpha val="1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Diagram 8">
            <a:extLst>
              <a:ext uri="{FF2B5EF4-FFF2-40B4-BE49-F238E27FC236}">
                <a16:creationId xmlns:a16="http://schemas.microsoft.com/office/drawing/2014/main" id="{0505D681-ECD3-3A46-AF6B-E5A9F74393B6}"/>
              </a:ext>
            </a:extLst>
          </p:cNvPr>
          <p:cNvGraphicFramePr/>
          <p:nvPr>
            <p:extLst>
              <p:ext uri="{D42A27DB-BD31-4B8C-83A1-F6EECF244321}">
                <p14:modId xmlns:p14="http://schemas.microsoft.com/office/powerpoint/2010/main" val="4165148982"/>
              </p:ext>
            </p:extLst>
          </p:nvPr>
        </p:nvGraphicFramePr>
        <p:xfrm>
          <a:off x="1731649" y="1501631"/>
          <a:ext cx="3116975" cy="48404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88B8D1BB-A881-0449-B07F-277F96F02AD7}"/>
              </a:ext>
            </a:extLst>
          </p:cNvPr>
          <p:cNvGraphicFramePr/>
          <p:nvPr>
            <p:extLst>
              <p:ext uri="{D42A27DB-BD31-4B8C-83A1-F6EECF244321}">
                <p14:modId xmlns:p14="http://schemas.microsoft.com/office/powerpoint/2010/main" val="1172999593"/>
              </p:ext>
            </p:extLst>
          </p:nvPr>
        </p:nvGraphicFramePr>
        <p:xfrm>
          <a:off x="6422503" y="1911940"/>
          <a:ext cx="4420976" cy="429363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1" name="TextBox 10">
            <a:extLst>
              <a:ext uri="{FF2B5EF4-FFF2-40B4-BE49-F238E27FC236}">
                <a16:creationId xmlns:a16="http://schemas.microsoft.com/office/drawing/2014/main" id="{BE35B8A5-A15F-234E-B714-36DAE0C3B766}"/>
              </a:ext>
            </a:extLst>
          </p:cNvPr>
          <p:cNvSpPr txBox="1"/>
          <p:nvPr/>
        </p:nvSpPr>
        <p:spPr>
          <a:xfrm>
            <a:off x="919686" y="1492696"/>
            <a:ext cx="1435008" cy="523220"/>
          </a:xfrm>
          <a:prstGeom prst="rect">
            <a:avLst/>
          </a:prstGeom>
          <a:noFill/>
        </p:spPr>
        <p:txBody>
          <a:bodyPr wrap="none" rtlCol="0">
            <a:spAutoFit/>
          </a:bodyPr>
          <a:lstStyle/>
          <a:p>
            <a:r>
              <a:rPr lang="en-US" sz="2800" b="1" dirty="0"/>
              <a:t>Disposal</a:t>
            </a:r>
          </a:p>
        </p:txBody>
      </p:sp>
      <p:sp>
        <p:nvSpPr>
          <p:cNvPr id="12" name="TextBox 11">
            <a:extLst>
              <a:ext uri="{FF2B5EF4-FFF2-40B4-BE49-F238E27FC236}">
                <a16:creationId xmlns:a16="http://schemas.microsoft.com/office/drawing/2014/main" id="{D5670262-10A9-B641-BE6E-7E241D9F8D39}"/>
              </a:ext>
            </a:extLst>
          </p:cNvPr>
          <p:cNvSpPr txBox="1"/>
          <p:nvPr/>
        </p:nvSpPr>
        <p:spPr>
          <a:xfrm>
            <a:off x="6197709" y="1492695"/>
            <a:ext cx="1759264" cy="523220"/>
          </a:xfrm>
          <a:prstGeom prst="rect">
            <a:avLst/>
          </a:prstGeom>
          <a:noFill/>
        </p:spPr>
        <p:txBody>
          <a:bodyPr wrap="none" rtlCol="0">
            <a:spAutoFit/>
          </a:bodyPr>
          <a:lstStyle/>
          <a:p>
            <a:r>
              <a:rPr lang="en-US" sz="2800" b="1" dirty="0"/>
              <a:t>Processing</a:t>
            </a:r>
            <a:endParaRPr lang="en-US" sz="2400" b="1" dirty="0"/>
          </a:p>
        </p:txBody>
      </p:sp>
    </p:spTree>
    <p:extLst>
      <p:ext uri="{BB962C8B-B14F-4D97-AF65-F5344CB8AC3E}">
        <p14:creationId xmlns:p14="http://schemas.microsoft.com/office/powerpoint/2010/main" val="207456677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30EA98-C6F6-9669-3AE9-CE4A6ACB92A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0AA7E44-19CF-554D-57EC-7201C6512E43}"/>
              </a:ext>
            </a:extLst>
          </p:cNvPr>
          <p:cNvSpPr>
            <a:spLocks noGrp="1"/>
          </p:cNvSpPr>
          <p:nvPr>
            <p:ph type="title"/>
          </p:nvPr>
        </p:nvSpPr>
        <p:spPr/>
        <p:txBody>
          <a:bodyPr/>
          <a:lstStyle/>
          <a:p>
            <a:r>
              <a:rPr lang="en-US" dirty="0"/>
              <a:t>Facilities of Interest</a:t>
            </a:r>
          </a:p>
        </p:txBody>
      </p:sp>
      <p:sp>
        <p:nvSpPr>
          <p:cNvPr id="7" name="Rectangle 6">
            <a:extLst>
              <a:ext uri="{FF2B5EF4-FFF2-40B4-BE49-F238E27FC236}">
                <a16:creationId xmlns:a16="http://schemas.microsoft.com/office/drawing/2014/main" id="{CDBAAA70-D597-AC1E-520E-E369E279B38D}"/>
              </a:ext>
            </a:extLst>
          </p:cNvPr>
          <p:cNvSpPr/>
          <p:nvPr/>
        </p:nvSpPr>
        <p:spPr>
          <a:xfrm>
            <a:off x="6116224" y="1492696"/>
            <a:ext cx="5016241" cy="4840468"/>
          </a:xfrm>
          <a:prstGeom prst="rect">
            <a:avLst/>
          </a:prstGeom>
          <a:solidFill>
            <a:schemeClr val="accent6">
              <a:alpha val="1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2E7C7CAA-299E-A77F-D9C8-8C87EA2BAFF9}"/>
              </a:ext>
            </a:extLst>
          </p:cNvPr>
          <p:cNvSpPr/>
          <p:nvPr/>
        </p:nvSpPr>
        <p:spPr>
          <a:xfrm>
            <a:off x="838200" y="1501630"/>
            <a:ext cx="5020056" cy="4840469"/>
          </a:xfrm>
          <a:prstGeom prst="rect">
            <a:avLst/>
          </a:prstGeom>
          <a:solidFill>
            <a:schemeClr val="accent1">
              <a:alpha val="1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Diagram 8">
            <a:extLst>
              <a:ext uri="{FF2B5EF4-FFF2-40B4-BE49-F238E27FC236}">
                <a16:creationId xmlns:a16="http://schemas.microsoft.com/office/drawing/2014/main" id="{9DFFE94E-DF3B-C59E-5A6A-03C3DD8A3E1E}"/>
              </a:ext>
            </a:extLst>
          </p:cNvPr>
          <p:cNvGraphicFramePr/>
          <p:nvPr>
            <p:extLst>
              <p:ext uri="{D42A27DB-BD31-4B8C-83A1-F6EECF244321}">
                <p14:modId xmlns:p14="http://schemas.microsoft.com/office/powerpoint/2010/main" val="4102179055"/>
              </p:ext>
            </p:extLst>
          </p:nvPr>
        </p:nvGraphicFramePr>
        <p:xfrm>
          <a:off x="1731649" y="1501631"/>
          <a:ext cx="3116975" cy="48404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TextBox 10">
            <a:extLst>
              <a:ext uri="{FF2B5EF4-FFF2-40B4-BE49-F238E27FC236}">
                <a16:creationId xmlns:a16="http://schemas.microsoft.com/office/drawing/2014/main" id="{1935D70C-3000-A8F3-365F-641780492EB4}"/>
              </a:ext>
            </a:extLst>
          </p:cNvPr>
          <p:cNvSpPr txBox="1"/>
          <p:nvPr/>
        </p:nvSpPr>
        <p:spPr>
          <a:xfrm>
            <a:off x="919686" y="1492696"/>
            <a:ext cx="1435008" cy="523220"/>
          </a:xfrm>
          <a:prstGeom prst="rect">
            <a:avLst/>
          </a:prstGeom>
          <a:noFill/>
        </p:spPr>
        <p:txBody>
          <a:bodyPr wrap="none" rtlCol="0">
            <a:spAutoFit/>
          </a:bodyPr>
          <a:lstStyle/>
          <a:p>
            <a:r>
              <a:rPr lang="en-US" sz="2800" b="1" dirty="0"/>
              <a:t>Disposal</a:t>
            </a:r>
          </a:p>
        </p:txBody>
      </p:sp>
      <p:sp>
        <p:nvSpPr>
          <p:cNvPr id="12" name="TextBox 11">
            <a:extLst>
              <a:ext uri="{FF2B5EF4-FFF2-40B4-BE49-F238E27FC236}">
                <a16:creationId xmlns:a16="http://schemas.microsoft.com/office/drawing/2014/main" id="{44AF7933-4A4C-221F-2606-92A1B8BC0D22}"/>
              </a:ext>
            </a:extLst>
          </p:cNvPr>
          <p:cNvSpPr txBox="1"/>
          <p:nvPr/>
        </p:nvSpPr>
        <p:spPr>
          <a:xfrm>
            <a:off x="6408248" y="2952368"/>
            <a:ext cx="4432191" cy="1938992"/>
          </a:xfrm>
          <a:prstGeom prst="rect">
            <a:avLst/>
          </a:prstGeom>
          <a:noFill/>
        </p:spPr>
        <p:txBody>
          <a:bodyPr wrap="square" rtlCol="0">
            <a:spAutoFit/>
          </a:bodyPr>
          <a:lstStyle/>
          <a:p>
            <a:pPr algn="ctr"/>
            <a:r>
              <a:rPr lang="en-US" sz="4000" b="1" dirty="0"/>
              <a:t>How much capacity do Florida’s WTE facilities have?</a:t>
            </a:r>
          </a:p>
        </p:txBody>
      </p:sp>
    </p:spTree>
    <p:extLst>
      <p:ext uri="{BB962C8B-B14F-4D97-AF65-F5344CB8AC3E}">
        <p14:creationId xmlns:p14="http://schemas.microsoft.com/office/powerpoint/2010/main" val="40822584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0BFB136-8019-111F-A725-4674BD41F3A0}"/>
              </a:ext>
            </a:extLst>
          </p:cNvPr>
          <p:cNvPicPr>
            <a:picLocks noChangeAspect="1"/>
          </p:cNvPicPr>
          <p:nvPr/>
        </p:nvPicPr>
        <p:blipFill>
          <a:blip r:embed="rId2"/>
          <a:stretch>
            <a:fillRect/>
          </a:stretch>
        </p:blipFill>
        <p:spPr>
          <a:xfrm>
            <a:off x="2773139" y="1412476"/>
            <a:ext cx="6645721" cy="5445524"/>
          </a:xfrm>
          <a:prstGeom prst="rect">
            <a:avLst/>
          </a:prstGeom>
        </p:spPr>
      </p:pic>
      <p:sp>
        <p:nvSpPr>
          <p:cNvPr id="2" name="Title 1">
            <a:extLst>
              <a:ext uri="{FF2B5EF4-FFF2-40B4-BE49-F238E27FC236}">
                <a16:creationId xmlns:a16="http://schemas.microsoft.com/office/drawing/2014/main" id="{4DD74F70-E8DB-FE96-E0E1-6359B63C011D}"/>
              </a:ext>
            </a:extLst>
          </p:cNvPr>
          <p:cNvSpPr>
            <a:spLocks noGrp="1"/>
          </p:cNvSpPr>
          <p:nvPr>
            <p:ph type="title"/>
          </p:nvPr>
        </p:nvSpPr>
        <p:spPr>
          <a:xfrm>
            <a:off x="838199" y="365125"/>
            <a:ext cx="11058525" cy="1325563"/>
          </a:xfrm>
        </p:spPr>
        <p:txBody>
          <a:bodyPr>
            <a:normAutofit/>
          </a:bodyPr>
          <a:lstStyle/>
          <a:p>
            <a:r>
              <a:rPr lang="en-US" dirty="0"/>
              <a:t>Location of Florida’s WTE Facilities</a:t>
            </a:r>
          </a:p>
        </p:txBody>
      </p:sp>
      <p:sp>
        <p:nvSpPr>
          <p:cNvPr id="6" name="TextBox 5">
            <a:extLst>
              <a:ext uri="{FF2B5EF4-FFF2-40B4-BE49-F238E27FC236}">
                <a16:creationId xmlns:a16="http://schemas.microsoft.com/office/drawing/2014/main" id="{E37845D3-14E5-1B08-7DB8-078B3BB84FBB}"/>
              </a:ext>
            </a:extLst>
          </p:cNvPr>
          <p:cNvSpPr txBox="1"/>
          <p:nvPr/>
        </p:nvSpPr>
        <p:spPr>
          <a:xfrm>
            <a:off x="3338655" y="6359465"/>
            <a:ext cx="2792817" cy="400110"/>
          </a:xfrm>
          <a:prstGeom prst="rect">
            <a:avLst/>
          </a:prstGeom>
          <a:noFill/>
        </p:spPr>
        <p:txBody>
          <a:bodyPr wrap="square" rtlCol="0">
            <a:spAutoFit/>
          </a:bodyPr>
          <a:lstStyle/>
          <a:p>
            <a:r>
              <a:rPr lang="en-US" sz="2000" b="1" dirty="0"/>
              <a:t>Class I Landfill</a:t>
            </a:r>
          </a:p>
        </p:txBody>
      </p:sp>
      <p:sp>
        <p:nvSpPr>
          <p:cNvPr id="7" name="Oval 6">
            <a:extLst>
              <a:ext uri="{FF2B5EF4-FFF2-40B4-BE49-F238E27FC236}">
                <a16:creationId xmlns:a16="http://schemas.microsoft.com/office/drawing/2014/main" id="{4135AAE5-7F72-B88A-A35B-95931853FFB7}"/>
              </a:ext>
            </a:extLst>
          </p:cNvPr>
          <p:cNvSpPr/>
          <p:nvPr/>
        </p:nvSpPr>
        <p:spPr>
          <a:xfrm>
            <a:off x="3064335" y="6438899"/>
            <a:ext cx="274320" cy="276225"/>
          </a:xfrm>
          <a:prstGeom prst="ellipse">
            <a:avLst/>
          </a:prstGeom>
          <a:solidFill>
            <a:srgbClr val="014E7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583216A5-3985-1047-8283-964C82B797D0}"/>
              </a:ext>
            </a:extLst>
          </p:cNvPr>
          <p:cNvSpPr txBox="1"/>
          <p:nvPr/>
        </p:nvSpPr>
        <p:spPr>
          <a:xfrm>
            <a:off x="3338655" y="5984785"/>
            <a:ext cx="2792817" cy="400110"/>
          </a:xfrm>
          <a:prstGeom prst="rect">
            <a:avLst/>
          </a:prstGeom>
          <a:noFill/>
        </p:spPr>
        <p:txBody>
          <a:bodyPr wrap="square" rtlCol="0">
            <a:spAutoFit/>
          </a:bodyPr>
          <a:lstStyle/>
          <a:p>
            <a:r>
              <a:rPr lang="en-US" sz="2000" b="1" dirty="0"/>
              <a:t>WTE Facility</a:t>
            </a:r>
          </a:p>
        </p:txBody>
      </p:sp>
      <p:sp>
        <p:nvSpPr>
          <p:cNvPr id="9" name="Oval 8">
            <a:extLst>
              <a:ext uri="{FF2B5EF4-FFF2-40B4-BE49-F238E27FC236}">
                <a16:creationId xmlns:a16="http://schemas.microsoft.com/office/drawing/2014/main" id="{71E66412-FBB2-B6B2-C0BF-DC3A5BDE7445}"/>
              </a:ext>
            </a:extLst>
          </p:cNvPr>
          <p:cNvSpPr/>
          <p:nvPr/>
        </p:nvSpPr>
        <p:spPr>
          <a:xfrm>
            <a:off x="3064335" y="6064219"/>
            <a:ext cx="274320" cy="276225"/>
          </a:xfrm>
          <a:prstGeom prst="ellipse">
            <a:avLst/>
          </a:prstGeom>
          <a:solidFill>
            <a:srgbClr val="FFAA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9885637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BBAF93-C192-4AD5-37DE-74984681EBF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257ADA3-3874-D7DF-9B46-0EB005DB581E}"/>
              </a:ext>
            </a:extLst>
          </p:cNvPr>
          <p:cNvSpPr>
            <a:spLocks noGrp="1"/>
          </p:cNvSpPr>
          <p:nvPr>
            <p:ph type="title"/>
          </p:nvPr>
        </p:nvSpPr>
        <p:spPr>
          <a:xfrm>
            <a:off x="114631" y="418888"/>
            <a:ext cx="11058525" cy="1325563"/>
          </a:xfrm>
        </p:spPr>
        <p:txBody>
          <a:bodyPr>
            <a:normAutofit/>
          </a:bodyPr>
          <a:lstStyle/>
          <a:p>
            <a:r>
              <a:rPr lang="en-US" dirty="0"/>
              <a:t>Method to Determine WTE Capacity </a:t>
            </a:r>
          </a:p>
        </p:txBody>
      </p:sp>
      <p:pic>
        <p:nvPicPr>
          <p:cNvPr id="4" name="Picture 3" descr="A drawing of a factory&#10;&#10;AI-generated content may be incorrect.">
            <a:extLst>
              <a:ext uri="{FF2B5EF4-FFF2-40B4-BE49-F238E27FC236}">
                <a16:creationId xmlns:a16="http://schemas.microsoft.com/office/drawing/2014/main" id="{C1DDF983-04D3-683F-FD9E-C24ED218FF0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0882" y="2201604"/>
            <a:ext cx="10514903" cy="4679755"/>
          </a:xfrm>
          <a:prstGeom prst="rect">
            <a:avLst/>
          </a:prstGeom>
        </p:spPr>
      </p:pic>
      <p:grpSp>
        <p:nvGrpSpPr>
          <p:cNvPr id="13" name="Group 12">
            <a:extLst>
              <a:ext uri="{FF2B5EF4-FFF2-40B4-BE49-F238E27FC236}">
                <a16:creationId xmlns:a16="http://schemas.microsoft.com/office/drawing/2014/main" id="{2A439C2B-37E7-3053-2E78-95A5D367264D}"/>
              </a:ext>
            </a:extLst>
          </p:cNvPr>
          <p:cNvGrpSpPr/>
          <p:nvPr/>
        </p:nvGrpSpPr>
        <p:grpSpPr>
          <a:xfrm>
            <a:off x="7073971" y="3784306"/>
            <a:ext cx="3571814" cy="2085108"/>
            <a:chOff x="7781637" y="3429001"/>
            <a:chExt cx="3571814" cy="2085108"/>
          </a:xfrm>
        </p:grpSpPr>
        <p:sp>
          <p:nvSpPr>
            <p:cNvPr id="5" name="Rectangle 4">
              <a:extLst>
                <a:ext uri="{FF2B5EF4-FFF2-40B4-BE49-F238E27FC236}">
                  <a16:creationId xmlns:a16="http://schemas.microsoft.com/office/drawing/2014/main" id="{E9EC33DB-4999-866B-51A9-269E6D90FC7A}"/>
                </a:ext>
              </a:extLst>
            </p:cNvPr>
            <p:cNvSpPr/>
            <p:nvPr/>
          </p:nvSpPr>
          <p:spPr>
            <a:xfrm>
              <a:off x="8349673" y="3897744"/>
              <a:ext cx="3003778" cy="1616365"/>
            </a:xfrm>
            <a:prstGeom prst="rect">
              <a:avLst/>
            </a:prstGeom>
            <a:solidFill>
              <a:schemeClr val="accent6">
                <a:alpha val="1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0D8D7576-BDA4-F989-9C75-0FE19A60D60A}"/>
                </a:ext>
              </a:extLst>
            </p:cNvPr>
            <p:cNvSpPr/>
            <p:nvPr/>
          </p:nvSpPr>
          <p:spPr>
            <a:xfrm>
              <a:off x="7781637" y="3429001"/>
              <a:ext cx="2156690" cy="468744"/>
            </a:xfrm>
            <a:prstGeom prst="rect">
              <a:avLst/>
            </a:prstGeom>
            <a:solidFill>
              <a:schemeClr val="accent6">
                <a:alpha val="1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87BFDCB4-E4A8-29D9-B865-86BD60270865}"/>
                </a:ext>
              </a:extLst>
            </p:cNvPr>
            <p:cNvSpPr/>
            <p:nvPr/>
          </p:nvSpPr>
          <p:spPr>
            <a:xfrm>
              <a:off x="7781637" y="3897742"/>
              <a:ext cx="568036" cy="683493"/>
            </a:xfrm>
            <a:prstGeom prst="rect">
              <a:avLst/>
            </a:prstGeom>
            <a:solidFill>
              <a:schemeClr val="accent6">
                <a:alpha val="1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7" name="Group 16">
            <a:extLst>
              <a:ext uri="{FF2B5EF4-FFF2-40B4-BE49-F238E27FC236}">
                <a16:creationId xmlns:a16="http://schemas.microsoft.com/office/drawing/2014/main" id="{2035F119-3D8F-F836-78CF-C73F91969863}"/>
              </a:ext>
            </a:extLst>
          </p:cNvPr>
          <p:cNvGrpSpPr/>
          <p:nvPr/>
        </p:nvGrpSpPr>
        <p:grpSpPr>
          <a:xfrm>
            <a:off x="5739316" y="3080032"/>
            <a:ext cx="729669" cy="2687782"/>
            <a:chOff x="6446982" y="2724727"/>
            <a:chExt cx="729669" cy="2687782"/>
          </a:xfrm>
        </p:grpSpPr>
        <p:sp>
          <p:nvSpPr>
            <p:cNvPr id="14" name="Rectangle 13">
              <a:extLst>
                <a:ext uri="{FF2B5EF4-FFF2-40B4-BE49-F238E27FC236}">
                  <a16:creationId xmlns:a16="http://schemas.microsoft.com/office/drawing/2014/main" id="{6097DB35-84A1-1DCF-09E2-133052E5BC19}"/>
                </a:ext>
              </a:extLst>
            </p:cNvPr>
            <p:cNvSpPr/>
            <p:nvPr/>
          </p:nvSpPr>
          <p:spPr>
            <a:xfrm>
              <a:off x="6446982" y="2798618"/>
              <a:ext cx="701963" cy="2309091"/>
            </a:xfrm>
            <a:prstGeom prst="rect">
              <a:avLst/>
            </a:prstGeom>
            <a:solidFill>
              <a:srgbClr val="F3A447">
                <a:alpha val="29804"/>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Isosceles Triangle 14">
              <a:extLst>
                <a:ext uri="{FF2B5EF4-FFF2-40B4-BE49-F238E27FC236}">
                  <a16:creationId xmlns:a16="http://schemas.microsoft.com/office/drawing/2014/main" id="{D96370F6-6149-69E8-2C15-3F9CA376C00B}"/>
                </a:ext>
              </a:extLst>
            </p:cNvPr>
            <p:cNvSpPr/>
            <p:nvPr/>
          </p:nvSpPr>
          <p:spPr>
            <a:xfrm>
              <a:off x="6446982" y="2724727"/>
              <a:ext cx="701963" cy="73891"/>
            </a:xfrm>
            <a:prstGeom prst="triangle">
              <a:avLst>
                <a:gd name="adj" fmla="val 0"/>
              </a:avLst>
            </a:prstGeom>
            <a:solidFill>
              <a:srgbClr val="F3A447">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Isosceles Triangle 15">
              <a:extLst>
                <a:ext uri="{FF2B5EF4-FFF2-40B4-BE49-F238E27FC236}">
                  <a16:creationId xmlns:a16="http://schemas.microsoft.com/office/drawing/2014/main" id="{DBF42DF6-C3AE-8A62-1D29-8B8597847774}"/>
                </a:ext>
              </a:extLst>
            </p:cNvPr>
            <p:cNvSpPr/>
            <p:nvPr/>
          </p:nvSpPr>
          <p:spPr>
            <a:xfrm rot="10800000">
              <a:off x="6474688" y="5107709"/>
              <a:ext cx="701963" cy="304800"/>
            </a:xfrm>
            <a:prstGeom prst="triangle">
              <a:avLst>
                <a:gd name="adj" fmla="val 47369"/>
              </a:avLst>
            </a:prstGeom>
            <a:solidFill>
              <a:srgbClr val="F3A447">
                <a:alpha val="3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 name="Freeform: Shape 7">
            <a:extLst>
              <a:ext uri="{FF2B5EF4-FFF2-40B4-BE49-F238E27FC236}">
                <a16:creationId xmlns:a16="http://schemas.microsoft.com/office/drawing/2014/main" id="{99AB2EB0-7200-185A-3BBC-59943B244EF8}"/>
              </a:ext>
            </a:extLst>
          </p:cNvPr>
          <p:cNvSpPr/>
          <p:nvPr/>
        </p:nvSpPr>
        <p:spPr>
          <a:xfrm>
            <a:off x="8830362" y="376546"/>
            <a:ext cx="2070537" cy="2070537"/>
          </a:xfrm>
          <a:custGeom>
            <a:avLst/>
            <a:gdLst>
              <a:gd name="connsiteX0" fmla="*/ 0 w 2070537"/>
              <a:gd name="connsiteY0" fmla="*/ 1035269 h 2070537"/>
              <a:gd name="connsiteX1" fmla="*/ 1035269 w 2070537"/>
              <a:gd name="connsiteY1" fmla="*/ 0 h 2070537"/>
              <a:gd name="connsiteX2" fmla="*/ 2070538 w 2070537"/>
              <a:gd name="connsiteY2" fmla="*/ 1035269 h 2070537"/>
              <a:gd name="connsiteX3" fmla="*/ 1035269 w 2070537"/>
              <a:gd name="connsiteY3" fmla="*/ 2070538 h 2070537"/>
              <a:gd name="connsiteX4" fmla="*/ 0 w 2070537"/>
              <a:gd name="connsiteY4" fmla="*/ 1035269 h 2070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537" h="2070537">
                <a:moveTo>
                  <a:pt x="0" y="1035269"/>
                </a:moveTo>
                <a:cubicBezTo>
                  <a:pt x="0" y="463506"/>
                  <a:pt x="463506" y="0"/>
                  <a:pt x="1035269" y="0"/>
                </a:cubicBezTo>
                <a:cubicBezTo>
                  <a:pt x="1607032" y="0"/>
                  <a:pt x="2070538" y="463506"/>
                  <a:pt x="2070538" y="1035269"/>
                </a:cubicBezTo>
                <a:cubicBezTo>
                  <a:pt x="2070538" y="1607032"/>
                  <a:pt x="1607032" y="2070538"/>
                  <a:pt x="1035269" y="2070538"/>
                </a:cubicBezTo>
                <a:cubicBezTo>
                  <a:pt x="463506" y="2070538"/>
                  <a:pt x="0" y="1607032"/>
                  <a:pt x="0" y="1035269"/>
                </a:cubicBezTo>
                <a:close/>
              </a:path>
            </a:pathLst>
          </a:custGeom>
          <a:solidFill>
            <a:schemeClr val="accent4">
              <a:alpha val="50000"/>
            </a:schemeClr>
          </a:solidFill>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276072" tIns="362344" rIns="276072" bIns="776452" numCol="1" spcCol="1270" anchor="ctr" anchorCtr="0">
            <a:noAutofit/>
          </a:bodyPr>
          <a:lstStyle/>
          <a:p>
            <a:pPr marL="0" lvl="0" indent="0" algn="ctr" defTabSz="800100">
              <a:lnSpc>
                <a:spcPct val="90000"/>
              </a:lnSpc>
              <a:spcBef>
                <a:spcPct val="0"/>
              </a:spcBef>
              <a:spcAft>
                <a:spcPct val="35000"/>
              </a:spcAft>
              <a:buNone/>
            </a:pPr>
            <a:r>
              <a:rPr lang="en-US" sz="1800" kern="1200" dirty="0"/>
              <a:t>Air Emissions</a:t>
            </a:r>
          </a:p>
        </p:txBody>
      </p:sp>
      <p:sp>
        <p:nvSpPr>
          <p:cNvPr id="24" name="Freeform: Shape 23">
            <a:extLst>
              <a:ext uri="{FF2B5EF4-FFF2-40B4-BE49-F238E27FC236}">
                <a16:creationId xmlns:a16="http://schemas.microsoft.com/office/drawing/2014/main" id="{7283F97F-0565-CA4D-705D-0A31F3D9F0CD}"/>
              </a:ext>
            </a:extLst>
          </p:cNvPr>
          <p:cNvSpPr/>
          <p:nvPr/>
        </p:nvSpPr>
        <p:spPr>
          <a:xfrm>
            <a:off x="9577481" y="1670631"/>
            <a:ext cx="2070537" cy="2070537"/>
          </a:xfrm>
          <a:custGeom>
            <a:avLst/>
            <a:gdLst>
              <a:gd name="connsiteX0" fmla="*/ 0 w 2070537"/>
              <a:gd name="connsiteY0" fmla="*/ 1035269 h 2070537"/>
              <a:gd name="connsiteX1" fmla="*/ 1035269 w 2070537"/>
              <a:gd name="connsiteY1" fmla="*/ 0 h 2070537"/>
              <a:gd name="connsiteX2" fmla="*/ 2070538 w 2070537"/>
              <a:gd name="connsiteY2" fmla="*/ 1035269 h 2070537"/>
              <a:gd name="connsiteX3" fmla="*/ 1035269 w 2070537"/>
              <a:gd name="connsiteY3" fmla="*/ 2070538 h 2070537"/>
              <a:gd name="connsiteX4" fmla="*/ 0 w 2070537"/>
              <a:gd name="connsiteY4" fmla="*/ 1035269 h 2070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537" h="2070537">
                <a:moveTo>
                  <a:pt x="0" y="1035269"/>
                </a:moveTo>
                <a:cubicBezTo>
                  <a:pt x="0" y="463506"/>
                  <a:pt x="463506" y="0"/>
                  <a:pt x="1035269" y="0"/>
                </a:cubicBezTo>
                <a:cubicBezTo>
                  <a:pt x="1607032" y="0"/>
                  <a:pt x="2070538" y="463506"/>
                  <a:pt x="2070538" y="1035269"/>
                </a:cubicBezTo>
                <a:cubicBezTo>
                  <a:pt x="2070538" y="1607032"/>
                  <a:pt x="1607032" y="2070538"/>
                  <a:pt x="1035269" y="2070538"/>
                </a:cubicBezTo>
                <a:cubicBezTo>
                  <a:pt x="463506" y="2070538"/>
                  <a:pt x="0" y="1607032"/>
                  <a:pt x="0" y="1035269"/>
                </a:cubicBezTo>
                <a:close/>
              </a:path>
            </a:pathLst>
          </a:custGeom>
          <a:solidFill>
            <a:schemeClr val="accent6">
              <a:alpha val="50000"/>
            </a:schemeClr>
          </a:solidFill>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633239" tIns="534889" rIns="194976" bIns="396853" numCol="1" spcCol="1270" anchor="ctr" anchorCtr="0">
            <a:noAutofit/>
          </a:bodyPr>
          <a:lstStyle/>
          <a:p>
            <a:pPr marL="0" lvl="0" indent="0" algn="ctr" defTabSz="800100">
              <a:lnSpc>
                <a:spcPct val="90000"/>
              </a:lnSpc>
              <a:spcBef>
                <a:spcPct val="0"/>
              </a:spcBef>
              <a:spcAft>
                <a:spcPct val="35000"/>
              </a:spcAft>
              <a:buNone/>
            </a:pPr>
            <a:r>
              <a:rPr lang="en-US" sz="1800" kern="1200" dirty="0"/>
              <a:t>Waste Composition</a:t>
            </a:r>
          </a:p>
        </p:txBody>
      </p:sp>
      <p:sp>
        <p:nvSpPr>
          <p:cNvPr id="27" name="Freeform: Shape 26">
            <a:extLst>
              <a:ext uri="{FF2B5EF4-FFF2-40B4-BE49-F238E27FC236}">
                <a16:creationId xmlns:a16="http://schemas.microsoft.com/office/drawing/2014/main" id="{5A5B0CB5-9CA5-D397-17F3-092E40AC2C7D}"/>
              </a:ext>
            </a:extLst>
          </p:cNvPr>
          <p:cNvSpPr/>
          <p:nvPr/>
        </p:nvSpPr>
        <p:spPr>
          <a:xfrm>
            <a:off x="8083243" y="1670631"/>
            <a:ext cx="2070537" cy="2070537"/>
          </a:xfrm>
          <a:custGeom>
            <a:avLst/>
            <a:gdLst>
              <a:gd name="connsiteX0" fmla="*/ 0 w 2070537"/>
              <a:gd name="connsiteY0" fmla="*/ 1035269 h 2070537"/>
              <a:gd name="connsiteX1" fmla="*/ 1035269 w 2070537"/>
              <a:gd name="connsiteY1" fmla="*/ 0 h 2070537"/>
              <a:gd name="connsiteX2" fmla="*/ 2070538 w 2070537"/>
              <a:gd name="connsiteY2" fmla="*/ 1035269 h 2070537"/>
              <a:gd name="connsiteX3" fmla="*/ 1035269 w 2070537"/>
              <a:gd name="connsiteY3" fmla="*/ 2070538 h 2070537"/>
              <a:gd name="connsiteX4" fmla="*/ 0 w 2070537"/>
              <a:gd name="connsiteY4" fmla="*/ 1035269 h 20705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0537" h="2070537">
                <a:moveTo>
                  <a:pt x="0" y="1035269"/>
                </a:moveTo>
                <a:cubicBezTo>
                  <a:pt x="0" y="463506"/>
                  <a:pt x="463506" y="0"/>
                  <a:pt x="1035269" y="0"/>
                </a:cubicBezTo>
                <a:cubicBezTo>
                  <a:pt x="1607032" y="0"/>
                  <a:pt x="2070538" y="463506"/>
                  <a:pt x="2070538" y="1035269"/>
                </a:cubicBezTo>
                <a:cubicBezTo>
                  <a:pt x="2070538" y="1607032"/>
                  <a:pt x="1607032" y="2070538"/>
                  <a:pt x="1035269" y="2070538"/>
                </a:cubicBezTo>
                <a:cubicBezTo>
                  <a:pt x="463506" y="2070538"/>
                  <a:pt x="0" y="1607032"/>
                  <a:pt x="0" y="1035269"/>
                </a:cubicBezTo>
                <a:close/>
              </a:path>
            </a:pathLst>
          </a:custGeom>
          <a:solidFill>
            <a:schemeClr val="accent2">
              <a:alpha val="50000"/>
            </a:schemeClr>
          </a:solidFill>
        </p:spPr>
        <p:style>
          <a:lnRef idx="2">
            <a:schemeClr val="lt1">
              <a:hueOff val="0"/>
              <a:satOff val="0"/>
              <a:lumOff val="0"/>
              <a:alphaOff val="0"/>
            </a:schemeClr>
          </a:lnRef>
          <a:fillRef idx="1">
            <a:scrgbClr r="0" g="0" b="0"/>
          </a:fillRef>
          <a:effectRef idx="0">
            <a:schemeClr val="accent1">
              <a:alpha val="50000"/>
              <a:hueOff val="0"/>
              <a:satOff val="0"/>
              <a:lumOff val="0"/>
              <a:alphaOff val="0"/>
            </a:schemeClr>
          </a:effectRef>
          <a:fontRef idx="minor">
            <a:schemeClr val="tx1"/>
          </a:fontRef>
        </p:style>
        <p:txBody>
          <a:bodyPr spcFirstLastPara="0" vert="horz" wrap="square" lIns="194976" tIns="534889" rIns="633239" bIns="396853" numCol="1" spcCol="1270" anchor="ctr" anchorCtr="0">
            <a:noAutofit/>
          </a:bodyPr>
          <a:lstStyle/>
          <a:p>
            <a:pPr marL="0" lvl="0" indent="0" algn="ctr" defTabSz="800100">
              <a:lnSpc>
                <a:spcPct val="90000"/>
              </a:lnSpc>
              <a:spcBef>
                <a:spcPct val="0"/>
              </a:spcBef>
              <a:spcAft>
                <a:spcPct val="35000"/>
              </a:spcAft>
              <a:buNone/>
            </a:pPr>
            <a:r>
              <a:rPr lang="en-US" sz="1800" kern="1200" dirty="0"/>
              <a:t>Number of Boilers</a:t>
            </a:r>
          </a:p>
        </p:txBody>
      </p:sp>
      <p:grpSp>
        <p:nvGrpSpPr>
          <p:cNvPr id="26" name="Group 25">
            <a:extLst>
              <a:ext uri="{FF2B5EF4-FFF2-40B4-BE49-F238E27FC236}">
                <a16:creationId xmlns:a16="http://schemas.microsoft.com/office/drawing/2014/main" id="{FCD4D665-A310-2ECA-D9EA-2A25F89189EF}"/>
              </a:ext>
            </a:extLst>
          </p:cNvPr>
          <p:cNvGrpSpPr/>
          <p:nvPr/>
        </p:nvGrpSpPr>
        <p:grpSpPr>
          <a:xfrm>
            <a:off x="132968" y="2605527"/>
            <a:ext cx="2999846" cy="4015405"/>
            <a:chOff x="132968" y="2337683"/>
            <a:chExt cx="2999846" cy="4015405"/>
          </a:xfrm>
        </p:grpSpPr>
        <p:sp>
          <p:nvSpPr>
            <p:cNvPr id="7" name="Rectangle 6">
              <a:extLst>
                <a:ext uri="{FF2B5EF4-FFF2-40B4-BE49-F238E27FC236}">
                  <a16:creationId xmlns:a16="http://schemas.microsoft.com/office/drawing/2014/main" id="{BD7C9BBA-D0FB-7956-F149-F302FD1E22F9}"/>
                </a:ext>
              </a:extLst>
            </p:cNvPr>
            <p:cNvSpPr/>
            <p:nvPr/>
          </p:nvSpPr>
          <p:spPr>
            <a:xfrm>
              <a:off x="1762886" y="3010002"/>
              <a:ext cx="1361978" cy="2591568"/>
            </a:xfrm>
            <a:prstGeom prst="rect">
              <a:avLst/>
            </a:prstGeom>
            <a:solidFill>
              <a:srgbClr val="D092A7">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Isosceles Triangle 8">
              <a:extLst>
                <a:ext uri="{FF2B5EF4-FFF2-40B4-BE49-F238E27FC236}">
                  <a16:creationId xmlns:a16="http://schemas.microsoft.com/office/drawing/2014/main" id="{95B2C472-9401-E5A2-FEB5-984826D182D8}"/>
                </a:ext>
              </a:extLst>
            </p:cNvPr>
            <p:cNvSpPr/>
            <p:nvPr/>
          </p:nvSpPr>
          <p:spPr>
            <a:xfrm rot="10800000">
              <a:off x="1876508" y="5701082"/>
              <a:ext cx="1105230" cy="564545"/>
            </a:xfrm>
            <a:prstGeom prst="triangle">
              <a:avLst>
                <a:gd name="adj" fmla="val 45930"/>
              </a:avLst>
            </a:prstGeom>
            <a:solidFill>
              <a:srgbClr val="D092A7">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995D2123-A475-73B8-043F-128003B9AE0E}"/>
                </a:ext>
              </a:extLst>
            </p:cNvPr>
            <p:cNvSpPr/>
            <p:nvPr/>
          </p:nvSpPr>
          <p:spPr>
            <a:xfrm>
              <a:off x="1692649" y="5601567"/>
              <a:ext cx="1440165" cy="91564"/>
            </a:xfrm>
            <a:prstGeom prst="rect">
              <a:avLst/>
            </a:prstGeom>
            <a:solidFill>
              <a:srgbClr val="D092A7">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44BFA836-1038-11D8-CDE2-4A56DF632F3B}"/>
                </a:ext>
              </a:extLst>
            </p:cNvPr>
            <p:cNvSpPr/>
            <p:nvPr/>
          </p:nvSpPr>
          <p:spPr>
            <a:xfrm>
              <a:off x="1762886" y="2337683"/>
              <a:ext cx="948509" cy="672319"/>
            </a:xfrm>
            <a:prstGeom prst="rect">
              <a:avLst/>
            </a:prstGeom>
            <a:solidFill>
              <a:srgbClr val="D092A7">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0EB4CA48-D9E9-FCAB-708E-E6F436C4B258}"/>
                </a:ext>
              </a:extLst>
            </p:cNvPr>
            <p:cNvSpPr/>
            <p:nvPr/>
          </p:nvSpPr>
          <p:spPr>
            <a:xfrm>
              <a:off x="140921" y="5176299"/>
              <a:ext cx="1440165" cy="906447"/>
            </a:xfrm>
            <a:prstGeom prst="rect">
              <a:avLst/>
            </a:prstGeom>
            <a:solidFill>
              <a:srgbClr val="D092A7">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13BC929B-749B-16DC-50BA-82D92098510E}"/>
                </a:ext>
              </a:extLst>
            </p:cNvPr>
            <p:cNvSpPr/>
            <p:nvPr/>
          </p:nvSpPr>
          <p:spPr>
            <a:xfrm>
              <a:off x="1591126" y="5745097"/>
              <a:ext cx="341042" cy="91564"/>
            </a:xfrm>
            <a:prstGeom prst="rect">
              <a:avLst/>
            </a:prstGeom>
            <a:solidFill>
              <a:srgbClr val="D092A7">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Isosceles Triangle 20">
              <a:extLst>
                <a:ext uri="{FF2B5EF4-FFF2-40B4-BE49-F238E27FC236}">
                  <a16:creationId xmlns:a16="http://schemas.microsoft.com/office/drawing/2014/main" id="{BA4DB58E-9B84-01D2-4F8C-38B39FF682D9}"/>
                </a:ext>
              </a:extLst>
            </p:cNvPr>
            <p:cNvSpPr/>
            <p:nvPr/>
          </p:nvSpPr>
          <p:spPr>
            <a:xfrm rot="10800000">
              <a:off x="132968" y="6082741"/>
              <a:ext cx="463378" cy="262395"/>
            </a:xfrm>
            <a:prstGeom prst="triangle">
              <a:avLst>
                <a:gd name="adj" fmla="val 45930"/>
              </a:avLst>
            </a:prstGeom>
            <a:solidFill>
              <a:srgbClr val="D092A7">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Isosceles Triangle 21">
              <a:extLst>
                <a:ext uri="{FF2B5EF4-FFF2-40B4-BE49-F238E27FC236}">
                  <a16:creationId xmlns:a16="http://schemas.microsoft.com/office/drawing/2014/main" id="{C9DC9FE4-D5A6-51FE-8614-B7923F4B3820}"/>
                </a:ext>
              </a:extLst>
            </p:cNvPr>
            <p:cNvSpPr/>
            <p:nvPr/>
          </p:nvSpPr>
          <p:spPr>
            <a:xfrm rot="10800000">
              <a:off x="596347" y="6082744"/>
              <a:ext cx="492981" cy="262395"/>
            </a:xfrm>
            <a:prstGeom prst="triangle">
              <a:avLst>
                <a:gd name="adj" fmla="val 45930"/>
              </a:avLst>
            </a:prstGeom>
            <a:solidFill>
              <a:srgbClr val="D092A7">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Isosceles Triangle 22">
              <a:extLst>
                <a:ext uri="{FF2B5EF4-FFF2-40B4-BE49-F238E27FC236}">
                  <a16:creationId xmlns:a16="http://schemas.microsoft.com/office/drawing/2014/main" id="{3FFAFDE5-BA1E-24DE-7611-E71CA25F1F5C}"/>
                </a:ext>
              </a:extLst>
            </p:cNvPr>
            <p:cNvSpPr/>
            <p:nvPr/>
          </p:nvSpPr>
          <p:spPr>
            <a:xfrm rot="10800000">
              <a:off x="1077715" y="6090693"/>
              <a:ext cx="492981" cy="262395"/>
            </a:xfrm>
            <a:prstGeom prst="triangle">
              <a:avLst>
                <a:gd name="adj" fmla="val 45930"/>
              </a:avLst>
            </a:prstGeom>
            <a:solidFill>
              <a:srgbClr val="D092A7">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Isosceles Triangle 24">
              <a:extLst>
                <a:ext uri="{FF2B5EF4-FFF2-40B4-BE49-F238E27FC236}">
                  <a16:creationId xmlns:a16="http://schemas.microsoft.com/office/drawing/2014/main" id="{5BA212BF-D698-DE1A-6B6A-27A926FBF26F}"/>
                </a:ext>
              </a:extLst>
            </p:cNvPr>
            <p:cNvSpPr/>
            <p:nvPr/>
          </p:nvSpPr>
          <p:spPr>
            <a:xfrm>
              <a:off x="1932168" y="5739487"/>
              <a:ext cx="98585" cy="97174"/>
            </a:xfrm>
            <a:prstGeom prst="triangle">
              <a:avLst>
                <a:gd name="adj" fmla="val 0"/>
              </a:avLst>
            </a:prstGeom>
            <a:solidFill>
              <a:srgbClr val="D092A7">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8" name="TextBox 27">
            <a:extLst>
              <a:ext uri="{FF2B5EF4-FFF2-40B4-BE49-F238E27FC236}">
                <a16:creationId xmlns:a16="http://schemas.microsoft.com/office/drawing/2014/main" id="{FD8D7A39-0639-8942-45D8-3A646E337E55}"/>
              </a:ext>
            </a:extLst>
          </p:cNvPr>
          <p:cNvSpPr txBox="1"/>
          <p:nvPr/>
        </p:nvSpPr>
        <p:spPr>
          <a:xfrm>
            <a:off x="10304049" y="3883715"/>
            <a:ext cx="1494238" cy="369332"/>
          </a:xfrm>
          <a:prstGeom prst="rect">
            <a:avLst/>
          </a:prstGeom>
          <a:noFill/>
        </p:spPr>
        <p:txBody>
          <a:bodyPr wrap="square" rtlCol="0">
            <a:spAutoFit/>
          </a:bodyPr>
          <a:lstStyle/>
          <a:p>
            <a:r>
              <a:rPr lang="en-US" dirty="0"/>
              <a:t>heating value</a:t>
            </a:r>
          </a:p>
        </p:txBody>
      </p:sp>
      <p:cxnSp>
        <p:nvCxnSpPr>
          <p:cNvPr id="46" name="Connector: Curved 45">
            <a:extLst>
              <a:ext uri="{FF2B5EF4-FFF2-40B4-BE49-F238E27FC236}">
                <a16:creationId xmlns:a16="http://schemas.microsoft.com/office/drawing/2014/main" id="{0CEA25C1-2207-7A82-9E91-59DF714BCFAB}"/>
              </a:ext>
            </a:extLst>
          </p:cNvPr>
          <p:cNvCxnSpPr>
            <a:stCxn id="28" idx="1"/>
          </p:cNvCxnSpPr>
          <p:nvPr/>
        </p:nvCxnSpPr>
        <p:spPr>
          <a:xfrm rot="10800000">
            <a:off x="9865631" y="3277847"/>
            <a:ext cx="438419" cy="790535"/>
          </a:xfrm>
          <a:prstGeom prst="curvedConnector2">
            <a:avLst/>
          </a:prstGeom>
          <a:ln w="38100">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E26A2917-11EC-CDDE-78F5-94E700C1B501}"/>
              </a:ext>
            </a:extLst>
          </p:cNvPr>
          <p:cNvSpPr txBox="1"/>
          <p:nvPr/>
        </p:nvSpPr>
        <p:spPr>
          <a:xfrm>
            <a:off x="9334469" y="2126190"/>
            <a:ext cx="1062321" cy="369332"/>
          </a:xfrm>
          <a:prstGeom prst="rect">
            <a:avLst/>
          </a:prstGeom>
          <a:noFill/>
        </p:spPr>
        <p:txBody>
          <a:bodyPr wrap="square" rtlCol="0">
            <a:spAutoFit/>
          </a:bodyPr>
          <a:lstStyle/>
          <a:p>
            <a:pPr algn="ctr"/>
            <a:r>
              <a:rPr lang="en-US" b="1" dirty="0"/>
              <a:t>capacity</a:t>
            </a:r>
          </a:p>
        </p:txBody>
      </p:sp>
      <p:sp>
        <p:nvSpPr>
          <p:cNvPr id="55" name="TextBox 54">
            <a:extLst>
              <a:ext uri="{FF2B5EF4-FFF2-40B4-BE49-F238E27FC236}">
                <a16:creationId xmlns:a16="http://schemas.microsoft.com/office/drawing/2014/main" id="{C4A87BEC-36F6-BBD8-51C8-7E6FAA5A20CE}"/>
              </a:ext>
            </a:extLst>
          </p:cNvPr>
          <p:cNvSpPr txBox="1"/>
          <p:nvPr/>
        </p:nvSpPr>
        <p:spPr>
          <a:xfrm>
            <a:off x="5605519" y="1338002"/>
            <a:ext cx="2851283" cy="369332"/>
          </a:xfrm>
          <a:prstGeom prst="rect">
            <a:avLst/>
          </a:prstGeom>
          <a:noFill/>
        </p:spPr>
        <p:txBody>
          <a:bodyPr wrap="square" rtlCol="0">
            <a:spAutoFit/>
          </a:bodyPr>
          <a:lstStyle/>
          <a:p>
            <a:r>
              <a:rPr lang="en-US" dirty="0"/>
              <a:t>amount of material burned</a:t>
            </a:r>
          </a:p>
        </p:txBody>
      </p:sp>
      <p:cxnSp>
        <p:nvCxnSpPr>
          <p:cNvPr id="56" name="Connector: Curved 55">
            <a:extLst>
              <a:ext uri="{FF2B5EF4-FFF2-40B4-BE49-F238E27FC236}">
                <a16:creationId xmlns:a16="http://schemas.microsoft.com/office/drawing/2014/main" id="{506C6CFC-7A92-676F-3146-EDB3AE7B1440}"/>
              </a:ext>
            </a:extLst>
          </p:cNvPr>
          <p:cNvCxnSpPr>
            <a:cxnSpLocks/>
          </p:cNvCxnSpPr>
          <p:nvPr/>
        </p:nvCxnSpPr>
        <p:spPr>
          <a:xfrm rot="5400000" flipV="1">
            <a:off x="8465651" y="1312022"/>
            <a:ext cx="438415" cy="1067530"/>
          </a:xfrm>
          <a:prstGeom prst="curvedConnector2">
            <a:avLst/>
          </a:prstGeom>
          <a:ln w="38100">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3D873366-B544-D8BE-98B9-8DC60BD228F7}"/>
              </a:ext>
            </a:extLst>
          </p:cNvPr>
          <p:cNvSpPr txBox="1"/>
          <p:nvPr/>
        </p:nvSpPr>
        <p:spPr>
          <a:xfrm>
            <a:off x="11069030" y="545729"/>
            <a:ext cx="1089053" cy="923330"/>
          </a:xfrm>
          <a:prstGeom prst="rect">
            <a:avLst/>
          </a:prstGeom>
          <a:noFill/>
        </p:spPr>
        <p:txBody>
          <a:bodyPr wrap="square" rtlCol="0">
            <a:spAutoFit/>
          </a:bodyPr>
          <a:lstStyle/>
          <a:p>
            <a:r>
              <a:rPr lang="en-US" dirty="0"/>
              <a:t>type of material burned</a:t>
            </a:r>
          </a:p>
        </p:txBody>
      </p:sp>
      <p:cxnSp>
        <p:nvCxnSpPr>
          <p:cNvPr id="60" name="Connector: Curved 59">
            <a:extLst>
              <a:ext uri="{FF2B5EF4-FFF2-40B4-BE49-F238E27FC236}">
                <a16:creationId xmlns:a16="http://schemas.microsoft.com/office/drawing/2014/main" id="{B27127BC-E7CA-B2CA-02E4-2B6F776DEDF1}"/>
              </a:ext>
            </a:extLst>
          </p:cNvPr>
          <p:cNvCxnSpPr>
            <a:cxnSpLocks/>
          </p:cNvCxnSpPr>
          <p:nvPr/>
        </p:nvCxnSpPr>
        <p:spPr>
          <a:xfrm rot="5400000">
            <a:off x="10831958" y="1256071"/>
            <a:ext cx="438419" cy="790535"/>
          </a:xfrm>
          <a:prstGeom prst="curvedConnector2">
            <a:avLst/>
          </a:prstGeom>
          <a:ln w="38100">
            <a:solidFill>
              <a:srgbClr val="00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14336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5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4" grpId="0" animBg="1"/>
      <p:bldP spid="27" grpId="0" animBg="1"/>
      <p:bldP spid="28" grpId="0"/>
      <p:bldP spid="48" grpId="0"/>
      <p:bldP spid="55" grpId="0"/>
      <p:bldP spid="59"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6A0DC3-B178-53DE-48D3-E13FCAA5CA6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8A5B142-DA1E-4F50-9D41-818F7AF18F56}"/>
              </a:ext>
            </a:extLst>
          </p:cNvPr>
          <p:cNvSpPr>
            <a:spLocks noGrp="1"/>
          </p:cNvSpPr>
          <p:nvPr>
            <p:ph type="title"/>
          </p:nvPr>
        </p:nvSpPr>
        <p:spPr/>
        <p:txBody>
          <a:bodyPr/>
          <a:lstStyle/>
          <a:p>
            <a:r>
              <a:rPr lang="en-US" dirty="0"/>
              <a:t>Method to Determine WTE Capacity </a:t>
            </a:r>
          </a:p>
        </p:txBody>
      </p:sp>
      <p:sp>
        <p:nvSpPr>
          <p:cNvPr id="3" name="Content Placeholder 2">
            <a:extLst>
              <a:ext uri="{FF2B5EF4-FFF2-40B4-BE49-F238E27FC236}">
                <a16:creationId xmlns:a16="http://schemas.microsoft.com/office/drawing/2014/main" id="{013C00EE-E1F1-3775-5F1C-7667E2AFDC67}"/>
              </a:ext>
            </a:extLst>
          </p:cNvPr>
          <p:cNvSpPr>
            <a:spLocks noGrp="1"/>
          </p:cNvSpPr>
          <p:nvPr>
            <p:ph idx="1"/>
          </p:nvPr>
        </p:nvSpPr>
        <p:spPr>
          <a:xfrm>
            <a:off x="838200" y="1825625"/>
            <a:ext cx="10515600" cy="4895850"/>
          </a:xfrm>
        </p:spPr>
        <p:txBody>
          <a:bodyPr vert="horz" lIns="91440" tIns="45720" rIns="91440" bIns="45720" rtlCol="0" anchor="t">
            <a:normAutofit/>
          </a:bodyPr>
          <a:lstStyle/>
          <a:p>
            <a:pPr marL="457200" indent="-457200">
              <a:buAutoNum type="arabicParenR"/>
            </a:pPr>
            <a:r>
              <a:rPr lang="en-US" dirty="0">
                <a:cs typeface="Calibri"/>
              </a:rPr>
              <a:t>Use publicly-available for:</a:t>
            </a:r>
          </a:p>
          <a:p>
            <a:pPr lvl="1"/>
            <a:r>
              <a:rPr lang="en-US" dirty="0">
                <a:ea typeface="Times New Roman" panose="02020603050405020304" pitchFamily="18" charset="0"/>
                <a:cs typeface="Calibri"/>
              </a:rPr>
              <a:t>Processing capacity from </a:t>
            </a:r>
            <a:r>
              <a:rPr lang="en-US" i="1" dirty="0">
                <a:ea typeface="Times New Roman" panose="02020603050405020304" pitchFamily="18" charset="0"/>
                <a:cs typeface="Calibri"/>
              </a:rPr>
              <a:t>ACFR</a:t>
            </a:r>
            <a:r>
              <a:rPr lang="en-US" dirty="0">
                <a:ea typeface="Times New Roman" panose="02020603050405020304" pitchFamily="18" charset="0"/>
                <a:cs typeface="Calibri"/>
              </a:rPr>
              <a:t>, processing reports from OCULUS</a:t>
            </a:r>
          </a:p>
          <a:p>
            <a:pPr lvl="1"/>
            <a:r>
              <a:rPr lang="en-US" dirty="0">
                <a:ea typeface="Times New Roman" panose="02020603050405020304" pitchFamily="18" charset="0"/>
                <a:cs typeface="Calibri"/>
              </a:rPr>
              <a:t>Permitting information through the Power Plant Siting Act</a:t>
            </a:r>
            <a:endParaRPr lang="en-US" dirty="0">
              <a:ea typeface="Times New Roman" panose="02020603050405020304" pitchFamily="18" charset="0"/>
            </a:endParaRPr>
          </a:p>
          <a:p>
            <a:pPr marL="514350" indent="-514350">
              <a:buFont typeface="+mj-lt"/>
              <a:buAutoNum type="arabicParenR"/>
            </a:pPr>
            <a:r>
              <a:rPr lang="en-US" dirty="0">
                <a:cs typeface="Calibri"/>
              </a:rPr>
              <a:t>Verify information with facility operators</a:t>
            </a:r>
          </a:p>
          <a:p>
            <a:pPr lvl="1"/>
            <a:r>
              <a:rPr lang="en-US" dirty="0">
                <a:cs typeface="Calibri"/>
              </a:rPr>
              <a:t>Processing capacity, composition of waste managed, 2023 tons</a:t>
            </a:r>
          </a:p>
          <a:p>
            <a:pPr lvl="1"/>
            <a:r>
              <a:rPr lang="en-US" dirty="0">
                <a:cs typeface="Calibri"/>
              </a:rPr>
              <a:t>Potential for future expansions</a:t>
            </a:r>
          </a:p>
          <a:p>
            <a:pPr marL="514350" indent="-514350">
              <a:buAutoNum type="arabicParenR"/>
            </a:pPr>
            <a:endParaRPr lang="en-US" dirty="0">
              <a:cs typeface="Calibri"/>
            </a:endParaRPr>
          </a:p>
        </p:txBody>
      </p:sp>
    </p:spTree>
    <p:extLst>
      <p:ext uri="{BB962C8B-B14F-4D97-AF65-F5344CB8AC3E}">
        <p14:creationId xmlns:p14="http://schemas.microsoft.com/office/powerpoint/2010/main" val="35642259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2D6992-0897-601C-5DE6-26B9687A2CF9}"/>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2BBECD3A-B3B1-8C1B-C77E-494BA95183CA}"/>
              </a:ext>
            </a:extLst>
          </p:cNvPr>
          <p:cNvPicPr>
            <a:picLocks noChangeAspect="1"/>
          </p:cNvPicPr>
          <p:nvPr/>
        </p:nvPicPr>
        <p:blipFill>
          <a:blip r:embed="rId3"/>
          <a:stretch>
            <a:fillRect/>
          </a:stretch>
        </p:blipFill>
        <p:spPr>
          <a:xfrm>
            <a:off x="5790307" y="1646807"/>
            <a:ext cx="6401693" cy="5220429"/>
          </a:xfrm>
          <a:prstGeom prst="rect">
            <a:avLst/>
          </a:prstGeom>
        </p:spPr>
      </p:pic>
      <p:graphicFrame>
        <p:nvGraphicFramePr>
          <p:cNvPr id="8" name="Chart 7">
            <a:extLst>
              <a:ext uri="{FF2B5EF4-FFF2-40B4-BE49-F238E27FC236}">
                <a16:creationId xmlns:a16="http://schemas.microsoft.com/office/drawing/2014/main" id="{C1C693B5-1CEA-B37E-B7D2-E5B308BC0C12}"/>
              </a:ext>
            </a:extLst>
          </p:cNvPr>
          <p:cNvGraphicFramePr>
            <a:graphicFrameLocks/>
          </p:cNvGraphicFramePr>
          <p:nvPr>
            <p:custDataLst>
              <p:tags r:id="rId1"/>
            </p:custDataLst>
            <p:extLst>
              <p:ext uri="{D42A27DB-BD31-4B8C-83A1-F6EECF244321}">
                <p14:modId xmlns:p14="http://schemas.microsoft.com/office/powerpoint/2010/main" val="498601379"/>
              </p:ext>
            </p:extLst>
          </p:nvPr>
        </p:nvGraphicFramePr>
        <p:xfrm>
          <a:off x="0" y="2785918"/>
          <a:ext cx="8017164" cy="4072082"/>
        </p:xfrm>
        <a:graphic>
          <a:graphicData uri="http://schemas.openxmlformats.org/drawingml/2006/chart">
            <c:chart xmlns:c="http://schemas.openxmlformats.org/drawingml/2006/chart" xmlns:r="http://schemas.openxmlformats.org/officeDocument/2006/relationships" r:id="rId4"/>
          </a:graphicData>
        </a:graphic>
      </p:graphicFrame>
      <p:sp>
        <p:nvSpPr>
          <p:cNvPr id="13" name="Title 1">
            <a:extLst>
              <a:ext uri="{FF2B5EF4-FFF2-40B4-BE49-F238E27FC236}">
                <a16:creationId xmlns:a16="http://schemas.microsoft.com/office/drawing/2014/main" id="{EC12ED4E-9759-6421-1049-D41C92AD288C}"/>
              </a:ext>
            </a:extLst>
          </p:cNvPr>
          <p:cNvSpPr txBox="1">
            <a:spLocks/>
          </p:cNvSpPr>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t>Florida’s WTE Capacity as of January 2025</a:t>
            </a:r>
          </a:p>
        </p:txBody>
      </p:sp>
      <p:sp>
        <p:nvSpPr>
          <p:cNvPr id="3" name="TextBox 2">
            <a:extLst>
              <a:ext uri="{FF2B5EF4-FFF2-40B4-BE49-F238E27FC236}">
                <a16:creationId xmlns:a16="http://schemas.microsoft.com/office/drawing/2014/main" id="{0C36BA9B-50DF-7886-9203-905083E48D40}"/>
              </a:ext>
            </a:extLst>
          </p:cNvPr>
          <p:cNvSpPr txBox="1"/>
          <p:nvPr/>
        </p:nvSpPr>
        <p:spPr>
          <a:xfrm>
            <a:off x="912158" y="5824243"/>
            <a:ext cx="1819275" cy="338554"/>
          </a:xfrm>
          <a:prstGeom prst="rect">
            <a:avLst/>
          </a:prstGeom>
          <a:noFill/>
        </p:spPr>
        <p:txBody>
          <a:bodyPr wrap="square" rtlCol="0">
            <a:spAutoFit/>
          </a:bodyPr>
          <a:lstStyle/>
          <a:p>
            <a:pPr algn="ctr"/>
            <a:r>
              <a:rPr lang="en-US" sz="1600" b="1" dirty="0">
                <a:solidFill>
                  <a:schemeClr val="tx1">
                    <a:lumMod val="65000"/>
                    <a:lumOff val="35000"/>
                  </a:schemeClr>
                </a:solidFill>
              </a:rPr>
              <a:t>0.16 M tons</a:t>
            </a:r>
          </a:p>
        </p:txBody>
      </p:sp>
      <p:sp>
        <p:nvSpPr>
          <p:cNvPr id="4" name="TextBox 3">
            <a:extLst>
              <a:ext uri="{FF2B5EF4-FFF2-40B4-BE49-F238E27FC236}">
                <a16:creationId xmlns:a16="http://schemas.microsoft.com/office/drawing/2014/main" id="{B2ED2234-EE7A-68A8-AC7E-FB15CF19F1F6}"/>
              </a:ext>
            </a:extLst>
          </p:cNvPr>
          <p:cNvSpPr txBox="1"/>
          <p:nvPr/>
        </p:nvSpPr>
        <p:spPr>
          <a:xfrm>
            <a:off x="4206726" y="5317084"/>
            <a:ext cx="1819275" cy="338554"/>
          </a:xfrm>
          <a:prstGeom prst="rect">
            <a:avLst/>
          </a:prstGeom>
          <a:noFill/>
        </p:spPr>
        <p:txBody>
          <a:bodyPr wrap="square" rtlCol="0">
            <a:spAutoFit/>
          </a:bodyPr>
          <a:lstStyle/>
          <a:p>
            <a:pPr algn="ctr"/>
            <a:r>
              <a:rPr lang="en-US" sz="1600" b="1" dirty="0">
                <a:solidFill>
                  <a:schemeClr val="tx1">
                    <a:lumMod val="65000"/>
                    <a:lumOff val="35000"/>
                  </a:schemeClr>
                </a:solidFill>
              </a:rPr>
              <a:t>0.61 M tons</a:t>
            </a:r>
          </a:p>
        </p:txBody>
      </p:sp>
      <p:sp>
        <p:nvSpPr>
          <p:cNvPr id="5" name="TextBox 4">
            <a:extLst>
              <a:ext uri="{FF2B5EF4-FFF2-40B4-BE49-F238E27FC236}">
                <a16:creationId xmlns:a16="http://schemas.microsoft.com/office/drawing/2014/main" id="{0C0E39F5-7C42-3262-089E-AF59B09F5864}"/>
              </a:ext>
            </a:extLst>
          </p:cNvPr>
          <p:cNvSpPr txBox="1"/>
          <p:nvPr/>
        </p:nvSpPr>
        <p:spPr>
          <a:xfrm>
            <a:off x="5329528" y="3053502"/>
            <a:ext cx="1819275" cy="338554"/>
          </a:xfrm>
          <a:prstGeom prst="rect">
            <a:avLst/>
          </a:prstGeom>
          <a:noFill/>
        </p:spPr>
        <p:txBody>
          <a:bodyPr wrap="square" rtlCol="0">
            <a:spAutoFit/>
          </a:bodyPr>
          <a:lstStyle/>
          <a:p>
            <a:pPr algn="ctr"/>
            <a:r>
              <a:rPr lang="en-US" sz="1600" b="1" dirty="0">
                <a:solidFill>
                  <a:schemeClr val="tx1">
                    <a:lumMod val="65000"/>
                    <a:lumOff val="35000"/>
                  </a:schemeClr>
                </a:solidFill>
              </a:rPr>
              <a:t>2.64 M tons</a:t>
            </a:r>
          </a:p>
        </p:txBody>
      </p:sp>
      <p:sp>
        <p:nvSpPr>
          <p:cNvPr id="6" name="TextBox 5">
            <a:extLst>
              <a:ext uri="{FF2B5EF4-FFF2-40B4-BE49-F238E27FC236}">
                <a16:creationId xmlns:a16="http://schemas.microsoft.com/office/drawing/2014/main" id="{B22B58AF-DFDA-A652-F956-9EACEF9CB217}"/>
              </a:ext>
            </a:extLst>
          </p:cNvPr>
          <p:cNvSpPr txBox="1"/>
          <p:nvPr/>
        </p:nvSpPr>
        <p:spPr>
          <a:xfrm>
            <a:off x="6418883" y="3547659"/>
            <a:ext cx="1819275" cy="338554"/>
          </a:xfrm>
          <a:prstGeom prst="rect">
            <a:avLst/>
          </a:prstGeom>
          <a:noFill/>
        </p:spPr>
        <p:txBody>
          <a:bodyPr wrap="square" rtlCol="0">
            <a:spAutoFit/>
          </a:bodyPr>
          <a:lstStyle/>
          <a:p>
            <a:pPr algn="ctr"/>
            <a:r>
              <a:rPr lang="en-US" sz="1600" b="1" dirty="0">
                <a:solidFill>
                  <a:schemeClr val="tx1">
                    <a:lumMod val="65000"/>
                    <a:lumOff val="35000"/>
                  </a:schemeClr>
                </a:solidFill>
              </a:rPr>
              <a:t>2.19 M tons</a:t>
            </a:r>
          </a:p>
        </p:txBody>
      </p:sp>
      <p:pic>
        <p:nvPicPr>
          <p:cNvPr id="14" name="Picture 13">
            <a:extLst>
              <a:ext uri="{FF2B5EF4-FFF2-40B4-BE49-F238E27FC236}">
                <a16:creationId xmlns:a16="http://schemas.microsoft.com/office/drawing/2014/main" id="{BF51B0EA-0CF2-712A-29A1-5C17150FF5B9}"/>
              </a:ext>
            </a:extLst>
          </p:cNvPr>
          <p:cNvPicPr>
            <a:picLocks noChangeAspect="1"/>
          </p:cNvPicPr>
          <p:nvPr/>
        </p:nvPicPr>
        <p:blipFill>
          <a:blip r:embed="rId5"/>
          <a:stretch>
            <a:fillRect/>
          </a:stretch>
        </p:blipFill>
        <p:spPr>
          <a:xfrm>
            <a:off x="8168669" y="5530167"/>
            <a:ext cx="1124107" cy="1209844"/>
          </a:xfrm>
          <a:prstGeom prst="rect">
            <a:avLst/>
          </a:prstGeom>
        </p:spPr>
      </p:pic>
      <p:sp>
        <p:nvSpPr>
          <p:cNvPr id="15" name="TextBox 14">
            <a:extLst>
              <a:ext uri="{FF2B5EF4-FFF2-40B4-BE49-F238E27FC236}">
                <a16:creationId xmlns:a16="http://schemas.microsoft.com/office/drawing/2014/main" id="{261A2CB9-A53C-4C41-E885-CBB5CF7FEAD7}"/>
              </a:ext>
            </a:extLst>
          </p:cNvPr>
          <p:cNvSpPr txBox="1"/>
          <p:nvPr/>
        </p:nvSpPr>
        <p:spPr>
          <a:xfrm>
            <a:off x="9257546" y="5837410"/>
            <a:ext cx="2087018" cy="707886"/>
          </a:xfrm>
          <a:prstGeom prst="rect">
            <a:avLst/>
          </a:prstGeom>
          <a:noFill/>
        </p:spPr>
        <p:txBody>
          <a:bodyPr wrap="square" rtlCol="0">
            <a:spAutoFit/>
          </a:bodyPr>
          <a:lstStyle/>
          <a:p>
            <a:r>
              <a:rPr lang="en-US" sz="2000" b="1" dirty="0"/>
              <a:t>Tons of Annual WTE Capacity </a:t>
            </a:r>
          </a:p>
        </p:txBody>
      </p:sp>
    </p:spTree>
    <p:extLst>
      <p:ext uri="{BB962C8B-B14F-4D97-AF65-F5344CB8AC3E}">
        <p14:creationId xmlns:p14="http://schemas.microsoft.com/office/powerpoint/2010/main" val="33366851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81BC68-8B46-8374-9190-F8B4CC6653F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2B5B17-467D-0F22-DE25-63D5F16B0DC3}"/>
              </a:ext>
            </a:extLst>
          </p:cNvPr>
          <p:cNvSpPr>
            <a:spLocks noGrp="1"/>
          </p:cNvSpPr>
          <p:nvPr>
            <p:ph type="title"/>
          </p:nvPr>
        </p:nvSpPr>
        <p:spPr/>
        <p:txBody>
          <a:bodyPr/>
          <a:lstStyle/>
          <a:p>
            <a:r>
              <a:rPr lang="en-US" dirty="0"/>
              <a:t>Facilities of Interest</a:t>
            </a:r>
          </a:p>
        </p:txBody>
      </p:sp>
      <p:sp>
        <p:nvSpPr>
          <p:cNvPr id="7" name="Rectangle 6">
            <a:extLst>
              <a:ext uri="{FF2B5EF4-FFF2-40B4-BE49-F238E27FC236}">
                <a16:creationId xmlns:a16="http://schemas.microsoft.com/office/drawing/2014/main" id="{998D93C8-EEBC-2777-E0EB-03101D09FCC0}"/>
              </a:ext>
            </a:extLst>
          </p:cNvPr>
          <p:cNvSpPr/>
          <p:nvPr/>
        </p:nvSpPr>
        <p:spPr>
          <a:xfrm>
            <a:off x="6116224" y="1492696"/>
            <a:ext cx="5016241" cy="4840468"/>
          </a:xfrm>
          <a:prstGeom prst="rect">
            <a:avLst/>
          </a:prstGeom>
          <a:solidFill>
            <a:schemeClr val="accent6">
              <a:alpha val="1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E5BEAB2-59D0-7891-287B-12BB66335082}"/>
              </a:ext>
            </a:extLst>
          </p:cNvPr>
          <p:cNvSpPr/>
          <p:nvPr/>
        </p:nvSpPr>
        <p:spPr>
          <a:xfrm>
            <a:off x="838200" y="1501630"/>
            <a:ext cx="5020056" cy="4840469"/>
          </a:xfrm>
          <a:prstGeom prst="rect">
            <a:avLst/>
          </a:prstGeom>
          <a:solidFill>
            <a:schemeClr val="accent1">
              <a:alpha val="1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Diagram 8">
            <a:extLst>
              <a:ext uri="{FF2B5EF4-FFF2-40B4-BE49-F238E27FC236}">
                <a16:creationId xmlns:a16="http://schemas.microsoft.com/office/drawing/2014/main" id="{8F21FA74-A7C5-1A8F-5FBE-6D6242DE75D4}"/>
              </a:ext>
            </a:extLst>
          </p:cNvPr>
          <p:cNvGraphicFramePr/>
          <p:nvPr/>
        </p:nvGraphicFramePr>
        <p:xfrm>
          <a:off x="1731649" y="1501631"/>
          <a:ext cx="3116975" cy="48404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0" name="Diagram 9">
            <a:extLst>
              <a:ext uri="{FF2B5EF4-FFF2-40B4-BE49-F238E27FC236}">
                <a16:creationId xmlns:a16="http://schemas.microsoft.com/office/drawing/2014/main" id="{4E800BCF-758D-A894-0F24-B76D0561355C}"/>
              </a:ext>
            </a:extLst>
          </p:cNvPr>
          <p:cNvGraphicFramePr/>
          <p:nvPr/>
        </p:nvGraphicFramePr>
        <p:xfrm>
          <a:off x="6422503" y="1911940"/>
          <a:ext cx="4420976" cy="429363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1" name="TextBox 10">
            <a:extLst>
              <a:ext uri="{FF2B5EF4-FFF2-40B4-BE49-F238E27FC236}">
                <a16:creationId xmlns:a16="http://schemas.microsoft.com/office/drawing/2014/main" id="{F67C4A8A-4D24-B9D3-2420-E3DBCD34D81D}"/>
              </a:ext>
            </a:extLst>
          </p:cNvPr>
          <p:cNvSpPr txBox="1"/>
          <p:nvPr/>
        </p:nvSpPr>
        <p:spPr>
          <a:xfrm>
            <a:off x="919686" y="1492696"/>
            <a:ext cx="1435008" cy="523220"/>
          </a:xfrm>
          <a:prstGeom prst="rect">
            <a:avLst/>
          </a:prstGeom>
          <a:noFill/>
        </p:spPr>
        <p:txBody>
          <a:bodyPr wrap="none" rtlCol="0">
            <a:spAutoFit/>
          </a:bodyPr>
          <a:lstStyle/>
          <a:p>
            <a:r>
              <a:rPr lang="en-US" sz="2800" b="1" dirty="0"/>
              <a:t>Disposal</a:t>
            </a:r>
          </a:p>
        </p:txBody>
      </p:sp>
      <p:sp>
        <p:nvSpPr>
          <p:cNvPr id="12" name="TextBox 11">
            <a:extLst>
              <a:ext uri="{FF2B5EF4-FFF2-40B4-BE49-F238E27FC236}">
                <a16:creationId xmlns:a16="http://schemas.microsoft.com/office/drawing/2014/main" id="{D111F89A-C09E-21C7-6907-AEE11A942CA6}"/>
              </a:ext>
            </a:extLst>
          </p:cNvPr>
          <p:cNvSpPr txBox="1"/>
          <p:nvPr/>
        </p:nvSpPr>
        <p:spPr>
          <a:xfrm>
            <a:off x="6197709" y="1492695"/>
            <a:ext cx="1759264" cy="523220"/>
          </a:xfrm>
          <a:prstGeom prst="rect">
            <a:avLst/>
          </a:prstGeom>
          <a:noFill/>
        </p:spPr>
        <p:txBody>
          <a:bodyPr wrap="none" rtlCol="0">
            <a:spAutoFit/>
          </a:bodyPr>
          <a:lstStyle/>
          <a:p>
            <a:r>
              <a:rPr lang="en-US" sz="2800" b="1" dirty="0"/>
              <a:t>Processing</a:t>
            </a:r>
            <a:endParaRPr lang="en-US" sz="2400" b="1" dirty="0"/>
          </a:p>
        </p:txBody>
      </p:sp>
    </p:spTree>
    <p:extLst>
      <p:ext uri="{BB962C8B-B14F-4D97-AF65-F5344CB8AC3E}">
        <p14:creationId xmlns:p14="http://schemas.microsoft.com/office/powerpoint/2010/main" val="267428050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340A56C-A4B4-EE01-EEDF-3A69BC96F16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5D8BABD-2C53-FE9B-1CD7-CCA81A2BAC8A}"/>
              </a:ext>
            </a:extLst>
          </p:cNvPr>
          <p:cNvSpPr>
            <a:spLocks noGrp="1"/>
          </p:cNvSpPr>
          <p:nvPr>
            <p:ph type="title"/>
          </p:nvPr>
        </p:nvSpPr>
        <p:spPr/>
        <p:txBody>
          <a:bodyPr/>
          <a:lstStyle/>
          <a:p>
            <a:r>
              <a:rPr lang="en-US" dirty="0"/>
              <a:t>Facilities of Interest</a:t>
            </a:r>
          </a:p>
        </p:txBody>
      </p:sp>
      <p:sp>
        <p:nvSpPr>
          <p:cNvPr id="7" name="Rectangle 6">
            <a:extLst>
              <a:ext uri="{FF2B5EF4-FFF2-40B4-BE49-F238E27FC236}">
                <a16:creationId xmlns:a16="http://schemas.microsoft.com/office/drawing/2014/main" id="{7A81DFEB-1910-88C8-94DD-4104A531089E}"/>
              </a:ext>
            </a:extLst>
          </p:cNvPr>
          <p:cNvSpPr/>
          <p:nvPr/>
        </p:nvSpPr>
        <p:spPr>
          <a:xfrm>
            <a:off x="6116224" y="1492696"/>
            <a:ext cx="5016241" cy="4840468"/>
          </a:xfrm>
          <a:prstGeom prst="rect">
            <a:avLst/>
          </a:prstGeom>
          <a:solidFill>
            <a:schemeClr val="accent6">
              <a:alpha val="1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52E2ECDB-7D24-33ED-ED33-04A9380ABB09}"/>
              </a:ext>
            </a:extLst>
          </p:cNvPr>
          <p:cNvSpPr/>
          <p:nvPr/>
        </p:nvSpPr>
        <p:spPr>
          <a:xfrm>
            <a:off x="838200" y="1501630"/>
            <a:ext cx="5020056" cy="4840469"/>
          </a:xfrm>
          <a:prstGeom prst="rect">
            <a:avLst/>
          </a:prstGeom>
          <a:solidFill>
            <a:schemeClr val="accent1">
              <a:alpha val="1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0" name="Diagram 9">
            <a:extLst>
              <a:ext uri="{FF2B5EF4-FFF2-40B4-BE49-F238E27FC236}">
                <a16:creationId xmlns:a16="http://schemas.microsoft.com/office/drawing/2014/main" id="{4EC912AD-7AA0-3BC2-A422-F520FBF1737D}"/>
              </a:ext>
            </a:extLst>
          </p:cNvPr>
          <p:cNvGraphicFramePr/>
          <p:nvPr>
            <p:extLst>
              <p:ext uri="{D42A27DB-BD31-4B8C-83A1-F6EECF244321}">
                <p14:modId xmlns:p14="http://schemas.microsoft.com/office/powerpoint/2010/main" val="1267846919"/>
              </p:ext>
            </p:extLst>
          </p:nvPr>
        </p:nvGraphicFramePr>
        <p:xfrm>
          <a:off x="6422503" y="1911940"/>
          <a:ext cx="4420976" cy="42936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TextBox 10">
            <a:extLst>
              <a:ext uri="{FF2B5EF4-FFF2-40B4-BE49-F238E27FC236}">
                <a16:creationId xmlns:a16="http://schemas.microsoft.com/office/drawing/2014/main" id="{831C02B6-CA23-EF07-EB50-6F30153D7AD3}"/>
              </a:ext>
            </a:extLst>
          </p:cNvPr>
          <p:cNvSpPr txBox="1"/>
          <p:nvPr/>
        </p:nvSpPr>
        <p:spPr>
          <a:xfrm>
            <a:off x="919686" y="1492696"/>
            <a:ext cx="1435008" cy="523220"/>
          </a:xfrm>
          <a:prstGeom prst="rect">
            <a:avLst/>
          </a:prstGeom>
          <a:noFill/>
        </p:spPr>
        <p:txBody>
          <a:bodyPr wrap="none" rtlCol="0">
            <a:spAutoFit/>
          </a:bodyPr>
          <a:lstStyle/>
          <a:p>
            <a:r>
              <a:rPr lang="en-US" sz="2800" b="1" dirty="0"/>
              <a:t>Disposal</a:t>
            </a:r>
          </a:p>
        </p:txBody>
      </p:sp>
      <p:sp>
        <p:nvSpPr>
          <p:cNvPr id="12" name="TextBox 11">
            <a:extLst>
              <a:ext uri="{FF2B5EF4-FFF2-40B4-BE49-F238E27FC236}">
                <a16:creationId xmlns:a16="http://schemas.microsoft.com/office/drawing/2014/main" id="{A0D9E724-E25C-3794-97F3-D6799F2CD243}"/>
              </a:ext>
            </a:extLst>
          </p:cNvPr>
          <p:cNvSpPr txBox="1"/>
          <p:nvPr/>
        </p:nvSpPr>
        <p:spPr>
          <a:xfrm>
            <a:off x="6197709" y="1492695"/>
            <a:ext cx="1759264" cy="523220"/>
          </a:xfrm>
          <a:prstGeom prst="rect">
            <a:avLst/>
          </a:prstGeom>
          <a:noFill/>
        </p:spPr>
        <p:txBody>
          <a:bodyPr wrap="none" rtlCol="0">
            <a:spAutoFit/>
          </a:bodyPr>
          <a:lstStyle/>
          <a:p>
            <a:r>
              <a:rPr lang="en-US" sz="2800" b="1" dirty="0"/>
              <a:t>Processing</a:t>
            </a:r>
            <a:endParaRPr lang="en-US" sz="2400" b="1" dirty="0"/>
          </a:p>
        </p:txBody>
      </p:sp>
      <p:graphicFrame>
        <p:nvGraphicFramePr>
          <p:cNvPr id="3" name="Diagram 2">
            <a:extLst>
              <a:ext uri="{FF2B5EF4-FFF2-40B4-BE49-F238E27FC236}">
                <a16:creationId xmlns:a16="http://schemas.microsoft.com/office/drawing/2014/main" id="{5668BE4C-7670-FFAB-2DFA-2964EB8B6CE1}"/>
              </a:ext>
            </a:extLst>
          </p:cNvPr>
          <p:cNvGraphicFramePr/>
          <p:nvPr>
            <p:extLst>
              <p:ext uri="{D42A27DB-BD31-4B8C-83A1-F6EECF244321}">
                <p14:modId xmlns:p14="http://schemas.microsoft.com/office/powerpoint/2010/main" val="3127911673"/>
              </p:ext>
            </p:extLst>
          </p:nvPr>
        </p:nvGraphicFramePr>
        <p:xfrm>
          <a:off x="1731649" y="1501631"/>
          <a:ext cx="3116975" cy="484046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99469636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5E9A30-9036-608C-4E12-934C0EC4E150}"/>
            </a:ext>
          </a:extLst>
        </p:cNvPr>
        <p:cNvGrpSpPr/>
        <p:nvPr/>
      </p:nvGrpSpPr>
      <p:grpSpPr>
        <a:xfrm>
          <a:off x="0" y="0"/>
          <a:ext cx="0" cy="0"/>
          <a:chOff x="0" y="0"/>
          <a:chExt cx="0" cy="0"/>
        </a:xfrm>
      </p:grpSpPr>
      <p:sp>
        <p:nvSpPr>
          <p:cNvPr id="6" name="Rectangle 5">
            <a:extLst>
              <a:ext uri="{FF2B5EF4-FFF2-40B4-BE49-F238E27FC236}">
                <a16:creationId xmlns:a16="http://schemas.microsoft.com/office/drawing/2014/main" id="{95B9F02F-480A-4BEA-E112-DCD07122DDCB}"/>
              </a:ext>
            </a:extLst>
          </p:cNvPr>
          <p:cNvSpPr/>
          <p:nvPr/>
        </p:nvSpPr>
        <p:spPr>
          <a:xfrm>
            <a:off x="829121" y="1492696"/>
            <a:ext cx="5016241" cy="4840468"/>
          </a:xfrm>
          <a:prstGeom prst="rect">
            <a:avLst/>
          </a:prstGeom>
          <a:solidFill>
            <a:schemeClr val="accent6">
              <a:alpha val="1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0" name="Diagram 9">
            <a:extLst>
              <a:ext uri="{FF2B5EF4-FFF2-40B4-BE49-F238E27FC236}">
                <a16:creationId xmlns:a16="http://schemas.microsoft.com/office/drawing/2014/main" id="{B2C9B727-1054-F9E4-78AA-26DE06BE7291}"/>
              </a:ext>
            </a:extLst>
          </p:cNvPr>
          <p:cNvGraphicFramePr/>
          <p:nvPr>
            <p:extLst>
              <p:ext uri="{D42A27DB-BD31-4B8C-83A1-F6EECF244321}">
                <p14:modId xmlns:p14="http://schemas.microsoft.com/office/powerpoint/2010/main" val="3720011243"/>
              </p:ext>
            </p:extLst>
          </p:nvPr>
        </p:nvGraphicFramePr>
        <p:xfrm>
          <a:off x="1135400" y="1911940"/>
          <a:ext cx="4420976" cy="42936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3" name="TextBox 12">
            <a:extLst>
              <a:ext uri="{FF2B5EF4-FFF2-40B4-BE49-F238E27FC236}">
                <a16:creationId xmlns:a16="http://schemas.microsoft.com/office/drawing/2014/main" id="{748C3501-3002-5610-E3F6-1ED5DACAB545}"/>
              </a:ext>
            </a:extLst>
          </p:cNvPr>
          <p:cNvSpPr txBox="1"/>
          <p:nvPr/>
        </p:nvSpPr>
        <p:spPr>
          <a:xfrm>
            <a:off x="910606" y="1492695"/>
            <a:ext cx="1759264" cy="523220"/>
          </a:xfrm>
          <a:prstGeom prst="rect">
            <a:avLst/>
          </a:prstGeom>
          <a:noFill/>
        </p:spPr>
        <p:txBody>
          <a:bodyPr wrap="none" rtlCol="0">
            <a:spAutoFit/>
          </a:bodyPr>
          <a:lstStyle/>
          <a:p>
            <a:r>
              <a:rPr lang="en-US" sz="2800" b="1" dirty="0"/>
              <a:t>Processing</a:t>
            </a:r>
            <a:endParaRPr lang="en-US" sz="2400" b="1" dirty="0"/>
          </a:p>
        </p:txBody>
      </p:sp>
      <p:sp>
        <p:nvSpPr>
          <p:cNvPr id="2" name="Title 1">
            <a:extLst>
              <a:ext uri="{FF2B5EF4-FFF2-40B4-BE49-F238E27FC236}">
                <a16:creationId xmlns:a16="http://schemas.microsoft.com/office/drawing/2014/main" id="{0F72D351-9309-C081-52CF-E5F01F357286}"/>
              </a:ext>
            </a:extLst>
          </p:cNvPr>
          <p:cNvSpPr>
            <a:spLocks noGrp="1"/>
          </p:cNvSpPr>
          <p:nvPr>
            <p:ph type="title"/>
          </p:nvPr>
        </p:nvSpPr>
        <p:spPr/>
        <p:txBody>
          <a:bodyPr/>
          <a:lstStyle/>
          <a:p>
            <a:r>
              <a:rPr lang="en-US" dirty="0"/>
              <a:t>Facilities of Interest</a:t>
            </a:r>
          </a:p>
        </p:txBody>
      </p:sp>
      <p:sp>
        <p:nvSpPr>
          <p:cNvPr id="7" name="Rectangle 6">
            <a:extLst>
              <a:ext uri="{FF2B5EF4-FFF2-40B4-BE49-F238E27FC236}">
                <a16:creationId xmlns:a16="http://schemas.microsoft.com/office/drawing/2014/main" id="{3B213977-CFCB-C72E-D3B1-BF3F200BE1C3}"/>
              </a:ext>
            </a:extLst>
          </p:cNvPr>
          <p:cNvSpPr/>
          <p:nvPr/>
        </p:nvSpPr>
        <p:spPr>
          <a:xfrm>
            <a:off x="6116224" y="1492696"/>
            <a:ext cx="5016241" cy="4840468"/>
          </a:xfrm>
          <a:prstGeom prst="rect">
            <a:avLst/>
          </a:prstGeom>
          <a:solidFill>
            <a:schemeClr val="accent6">
              <a:alpha val="1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49FBAA43-3393-139A-FE7D-E5827E545A01}"/>
              </a:ext>
            </a:extLst>
          </p:cNvPr>
          <p:cNvSpPr txBox="1"/>
          <p:nvPr/>
        </p:nvSpPr>
        <p:spPr>
          <a:xfrm>
            <a:off x="6116224" y="2635657"/>
            <a:ext cx="5016241" cy="2554545"/>
          </a:xfrm>
          <a:prstGeom prst="rect">
            <a:avLst/>
          </a:prstGeom>
          <a:noFill/>
        </p:spPr>
        <p:txBody>
          <a:bodyPr wrap="square" rtlCol="0">
            <a:spAutoFit/>
          </a:bodyPr>
          <a:lstStyle/>
          <a:p>
            <a:pPr algn="ctr"/>
            <a:r>
              <a:rPr lang="en-US" sz="4000" b="1" dirty="0"/>
              <a:t>How much capacity do Florida’s single and dual stream MRFs have?</a:t>
            </a:r>
          </a:p>
        </p:txBody>
      </p:sp>
    </p:spTree>
    <p:extLst>
      <p:ext uri="{BB962C8B-B14F-4D97-AF65-F5344CB8AC3E}">
        <p14:creationId xmlns:p14="http://schemas.microsoft.com/office/powerpoint/2010/main" val="6744034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53EF91-8CF0-9803-0A81-B5C004CDE2E3}"/>
            </a:ext>
          </a:extLst>
        </p:cNvPr>
        <p:cNvGrpSpPr/>
        <p:nvPr/>
      </p:nvGrpSpPr>
      <p:grpSpPr>
        <a:xfrm>
          <a:off x="0" y="0"/>
          <a:ext cx="0" cy="0"/>
          <a:chOff x="0" y="0"/>
          <a:chExt cx="0" cy="0"/>
        </a:xfrm>
      </p:grpSpPr>
      <p:pic>
        <p:nvPicPr>
          <p:cNvPr id="4" name="Picture 3">
            <a:extLst>
              <a:ext uri="{FF2B5EF4-FFF2-40B4-BE49-F238E27FC236}">
                <a16:creationId xmlns:a16="http://schemas.microsoft.com/office/drawing/2014/main" id="{C7EA6410-CD49-BCDC-EE65-8E1A4FA1F5B8}"/>
              </a:ext>
            </a:extLst>
          </p:cNvPr>
          <p:cNvPicPr>
            <a:picLocks noChangeAspect="1"/>
          </p:cNvPicPr>
          <p:nvPr/>
        </p:nvPicPr>
        <p:blipFill>
          <a:blip r:embed="rId2"/>
          <a:stretch>
            <a:fillRect/>
          </a:stretch>
        </p:blipFill>
        <p:spPr>
          <a:xfrm>
            <a:off x="3044271" y="1281299"/>
            <a:ext cx="6827357" cy="5576701"/>
          </a:xfrm>
          <a:prstGeom prst="rect">
            <a:avLst/>
          </a:prstGeom>
        </p:spPr>
      </p:pic>
      <p:sp>
        <p:nvSpPr>
          <p:cNvPr id="2" name="Title 1">
            <a:extLst>
              <a:ext uri="{FF2B5EF4-FFF2-40B4-BE49-F238E27FC236}">
                <a16:creationId xmlns:a16="http://schemas.microsoft.com/office/drawing/2014/main" id="{AEC06277-8382-8FDE-2E0F-721F8B4752AF}"/>
              </a:ext>
            </a:extLst>
          </p:cNvPr>
          <p:cNvSpPr>
            <a:spLocks noGrp="1"/>
          </p:cNvSpPr>
          <p:nvPr>
            <p:ph type="title"/>
          </p:nvPr>
        </p:nvSpPr>
        <p:spPr>
          <a:xfrm>
            <a:off x="690560" y="336550"/>
            <a:ext cx="11353801" cy="1325563"/>
          </a:xfrm>
        </p:spPr>
        <p:txBody>
          <a:bodyPr>
            <a:normAutofit/>
          </a:bodyPr>
          <a:lstStyle/>
          <a:p>
            <a:r>
              <a:rPr lang="en-US" dirty="0"/>
              <a:t>Location of Florida’s Single and Dual Stream MRFs</a:t>
            </a:r>
          </a:p>
        </p:txBody>
      </p:sp>
      <p:sp>
        <p:nvSpPr>
          <p:cNvPr id="6" name="TextBox 5">
            <a:extLst>
              <a:ext uri="{FF2B5EF4-FFF2-40B4-BE49-F238E27FC236}">
                <a16:creationId xmlns:a16="http://schemas.microsoft.com/office/drawing/2014/main" id="{0608A7E6-A23B-12D6-D21C-22E0F0EBEDF4}"/>
              </a:ext>
            </a:extLst>
          </p:cNvPr>
          <p:cNvSpPr txBox="1"/>
          <p:nvPr/>
        </p:nvSpPr>
        <p:spPr>
          <a:xfrm>
            <a:off x="3347890" y="6359465"/>
            <a:ext cx="2792817" cy="400110"/>
          </a:xfrm>
          <a:prstGeom prst="rect">
            <a:avLst/>
          </a:prstGeom>
          <a:noFill/>
        </p:spPr>
        <p:txBody>
          <a:bodyPr wrap="square" rtlCol="0">
            <a:spAutoFit/>
          </a:bodyPr>
          <a:lstStyle/>
          <a:p>
            <a:r>
              <a:rPr lang="en-US" sz="2000" b="1" dirty="0"/>
              <a:t>Dual Stream MRF</a:t>
            </a:r>
          </a:p>
        </p:txBody>
      </p:sp>
      <p:sp>
        <p:nvSpPr>
          <p:cNvPr id="7" name="Oval 6">
            <a:extLst>
              <a:ext uri="{FF2B5EF4-FFF2-40B4-BE49-F238E27FC236}">
                <a16:creationId xmlns:a16="http://schemas.microsoft.com/office/drawing/2014/main" id="{09C72A00-C042-D525-298E-34E885F456EE}"/>
              </a:ext>
            </a:extLst>
          </p:cNvPr>
          <p:cNvSpPr/>
          <p:nvPr/>
        </p:nvSpPr>
        <p:spPr>
          <a:xfrm>
            <a:off x="3073570" y="6438899"/>
            <a:ext cx="274320" cy="276225"/>
          </a:xfrm>
          <a:prstGeom prst="ellipse">
            <a:avLst/>
          </a:prstGeom>
          <a:solidFill>
            <a:srgbClr val="73B2FF"/>
          </a:solid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E280B340-1D15-4772-6C90-82E59320A474}"/>
              </a:ext>
            </a:extLst>
          </p:cNvPr>
          <p:cNvSpPr txBox="1"/>
          <p:nvPr/>
        </p:nvSpPr>
        <p:spPr>
          <a:xfrm>
            <a:off x="3347890" y="5984785"/>
            <a:ext cx="2792817" cy="400110"/>
          </a:xfrm>
          <a:prstGeom prst="rect">
            <a:avLst/>
          </a:prstGeom>
          <a:noFill/>
        </p:spPr>
        <p:txBody>
          <a:bodyPr wrap="square" rtlCol="0">
            <a:spAutoFit/>
          </a:bodyPr>
          <a:lstStyle/>
          <a:p>
            <a:r>
              <a:rPr lang="en-US" sz="2000" b="1" dirty="0"/>
              <a:t>Single Stream MRF</a:t>
            </a:r>
          </a:p>
        </p:txBody>
      </p:sp>
      <p:sp>
        <p:nvSpPr>
          <p:cNvPr id="9" name="Oval 8">
            <a:extLst>
              <a:ext uri="{FF2B5EF4-FFF2-40B4-BE49-F238E27FC236}">
                <a16:creationId xmlns:a16="http://schemas.microsoft.com/office/drawing/2014/main" id="{36844A72-AC8E-F2A1-E5E2-58E1E9A23A4F}"/>
              </a:ext>
            </a:extLst>
          </p:cNvPr>
          <p:cNvSpPr/>
          <p:nvPr/>
        </p:nvSpPr>
        <p:spPr>
          <a:xfrm>
            <a:off x="3073570" y="6064219"/>
            <a:ext cx="274320" cy="276225"/>
          </a:xfrm>
          <a:prstGeom prst="ellipse">
            <a:avLst/>
          </a:prstGeom>
          <a:solidFill>
            <a:srgbClr val="FFBEE8"/>
          </a:solid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220643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13653E-C9F0-41CF-674F-F9FF8FF9B4E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E02610D-CEE4-2A82-03FF-30119C36B638}"/>
              </a:ext>
            </a:extLst>
          </p:cNvPr>
          <p:cNvSpPr>
            <a:spLocks noGrp="1"/>
          </p:cNvSpPr>
          <p:nvPr>
            <p:ph type="title"/>
          </p:nvPr>
        </p:nvSpPr>
        <p:spPr/>
        <p:txBody>
          <a:bodyPr/>
          <a:lstStyle/>
          <a:p>
            <a:r>
              <a:rPr lang="en-US" dirty="0"/>
              <a:t>Method to Determine MRF Capacity </a:t>
            </a:r>
          </a:p>
        </p:txBody>
      </p:sp>
      <p:sp>
        <p:nvSpPr>
          <p:cNvPr id="3" name="Content Placeholder 2">
            <a:extLst>
              <a:ext uri="{FF2B5EF4-FFF2-40B4-BE49-F238E27FC236}">
                <a16:creationId xmlns:a16="http://schemas.microsoft.com/office/drawing/2014/main" id="{9E6D791E-3700-9322-E3E8-102794F59AFE}"/>
              </a:ext>
            </a:extLst>
          </p:cNvPr>
          <p:cNvSpPr>
            <a:spLocks noGrp="1"/>
          </p:cNvSpPr>
          <p:nvPr>
            <p:ph idx="1"/>
          </p:nvPr>
        </p:nvSpPr>
        <p:spPr>
          <a:xfrm>
            <a:off x="838200" y="1825625"/>
            <a:ext cx="10515600" cy="4895850"/>
          </a:xfrm>
        </p:spPr>
        <p:txBody>
          <a:bodyPr vert="horz" lIns="91440" tIns="45720" rIns="91440" bIns="45720" rtlCol="0" anchor="t">
            <a:normAutofit/>
          </a:bodyPr>
          <a:lstStyle/>
          <a:p>
            <a:pPr marL="457200" indent="-457200">
              <a:buAutoNum type="arabicParenR"/>
            </a:pPr>
            <a:r>
              <a:rPr lang="en-US" dirty="0">
                <a:cs typeface="Calibri"/>
              </a:rPr>
              <a:t>Limited publicly-available MRF data</a:t>
            </a:r>
          </a:p>
          <a:p>
            <a:pPr lvl="1"/>
            <a:r>
              <a:rPr lang="en-US" dirty="0">
                <a:ea typeface="Times New Roman" panose="02020603050405020304" pitchFamily="18" charset="0"/>
                <a:cs typeface="Calibri"/>
              </a:rPr>
              <a:t>Recycling totals available in annual solid waste reports</a:t>
            </a:r>
            <a:endParaRPr lang="en-US" dirty="0">
              <a:ea typeface="Times New Roman" panose="02020603050405020304" pitchFamily="18" charset="0"/>
            </a:endParaRPr>
          </a:p>
          <a:p>
            <a:pPr marL="514350" indent="-514350">
              <a:buFont typeface="+mj-lt"/>
              <a:buAutoNum type="arabicParenR"/>
            </a:pPr>
            <a:r>
              <a:rPr lang="en-US" dirty="0">
                <a:cs typeface="Calibri"/>
              </a:rPr>
              <a:t>Rely on conversations with facility operators</a:t>
            </a:r>
          </a:p>
          <a:p>
            <a:pPr lvl="1"/>
            <a:r>
              <a:rPr lang="en-US" dirty="0">
                <a:cs typeface="Calibri"/>
              </a:rPr>
              <a:t>Processing capacity, contamination rate, service area</a:t>
            </a:r>
          </a:p>
          <a:p>
            <a:pPr lvl="1"/>
            <a:r>
              <a:rPr lang="en-US" dirty="0">
                <a:cs typeface="Calibri"/>
              </a:rPr>
              <a:t>Potential for future expansions</a:t>
            </a:r>
          </a:p>
          <a:p>
            <a:pPr lvl="1"/>
            <a:r>
              <a:rPr lang="en-US" dirty="0">
                <a:cs typeface="Calibri"/>
              </a:rPr>
              <a:t>Challenges and opportunities</a:t>
            </a:r>
          </a:p>
          <a:p>
            <a:pPr marL="514350" indent="-514350">
              <a:buAutoNum type="arabicParenR"/>
            </a:pPr>
            <a:endParaRPr lang="en-US" dirty="0">
              <a:cs typeface="Calibri"/>
            </a:endParaRPr>
          </a:p>
        </p:txBody>
      </p:sp>
    </p:spTree>
    <p:extLst>
      <p:ext uri="{BB962C8B-B14F-4D97-AF65-F5344CB8AC3E}">
        <p14:creationId xmlns:p14="http://schemas.microsoft.com/office/powerpoint/2010/main" val="19387851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A0B7068-8A85-37F7-233B-06EEDE3C443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E572E60-C15B-CA6B-980B-E7FF8F312C52}"/>
              </a:ext>
            </a:extLst>
          </p:cNvPr>
          <p:cNvSpPr>
            <a:spLocks noGrp="1"/>
          </p:cNvSpPr>
          <p:nvPr>
            <p:ph type="title"/>
          </p:nvPr>
        </p:nvSpPr>
        <p:spPr/>
        <p:txBody>
          <a:bodyPr/>
          <a:lstStyle/>
          <a:p>
            <a:r>
              <a:rPr lang="en-US" dirty="0"/>
              <a:t>Facilities of Interest</a:t>
            </a:r>
          </a:p>
        </p:txBody>
      </p:sp>
      <p:sp>
        <p:nvSpPr>
          <p:cNvPr id="7" name="Rectangle 6">
            <a:extLst>
              <a:ext uri="{FF2B5EF4-FFF2-40B4-BE49-F238E27FC236}">
                <a16:creationId xmlns:a16="http://schemas.microsoft.com/office/drawing/2014/main" id="{AFB4FE48-D77E-9A68-D145-AD5CE570E3D3}"/>
              </a:ext>
            </a:extLst>
          </p:cNvPr>
          <p:cNvSpPr/>
          <p:nvPr/>
        </p:nvSpPr>
        <p:spPr>
          <a:xfrm>
            <a:off x="6116224" y="1492696"/>
            <a:ext cx="5016241" cy="4840468"/>
          </a:xfrm>
          <a:prstGeom prst="rect">
            <a:avLst/>
          </a:prstGeom>
          <a:solidFill>
            <a:schemeClr val="accent6">
              <a:alpha val="1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0FC0DBFF-D46E-8577-FBB7-66B5E25E5D9E}"/>
              </a:ext>
            </a:extLst>
          </p:cNvPr>
          <p:cNvSpPr/>
          <p:nvPr/>
        </p:nvSpPr>
        <p:spPr>
          <a:xfrm>
            <a:off x="838200" y="1501630"/>
            <a:ext cx="5020056" cy="4840469"/>
          </a:xfrm>
          <a:prstGeom prst="rect">
            <a:avLst/>
          </a:prstGeom>
          <a:solidFill>
            <a:schemeClr val="accent1">
              <a:alpha val="1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0" name="Diagram 9">
            <a:extLst>
              <a:ext uri="{FF2B5EF4-FFF2-40B4-BE49-F238E27FC236}">
                <a16:creationId xmlns:a16="http://schemas.microsoft.com/office/drawing/2014/main" id="{DCDCD83D-0E7E-0BCD-8C6A-B666F4E7FAA3}"/>
              </a:ext>
            </a:extLst>
          </p:cNvPr>
          <p:cNvGraphicFramePr/>
          <p:nvPr/>
        </p:nvGraphicFramePr>
        <p:xfrm>
          <a:off x="6422503" y="1911940"/>
          <a:ext cx="4420976" cy="42936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TextBox 10">
            <a:extLst>
              <a:ext uri="{FF2B5EF4-FFF2-40B4-BE49-F238E27FC236}">
                <a16:creationId xmlns:a16="http://schemas.microsoft.com/office/drawing/2014/main" id="{61AD8695-5761-EA1B-47BF-E8159D3BE921}"/>
              </a:ext>
            </a:extLst>
          </p:cNvPr>
          <p:cNvSpPr txBox="1"/>
          <p:nvPr/>
        </p:nvSpPr>
        <p:spPr>
          <a:xfrm>
            <a:off x="919686" y="1492696"/>
            <a:ext cx="1435008" cy="523220"/>
          </a:xfrm>
          <a:prstGeom prst="rect">
            <a:avLst/>
          </a:prstGeom>
          <a:noFill/>
        </p:spPr>
        <p:txBody>
          <a:bodyPr wrap="none" rtlCol="0">
            <a:spAutoFit/>
          </a:bodyPr>
          <a:lstStyle/>
          <a:p>
            <a:r>
              <a:rPr lang="en-US" sz="2800" b="1" dirty="0"/>
              <a:t>Disposal</a:t>
            </a:r>
          </a:p>
        </p:txBody>
      </p:sp>
      <p:sp>
        <p:nvSpPr>
          <p:cNvPr id="12" name="TextBox 11">
            <a:extLst>
              <a:ext uri="{FF2B5EF4-FFF2-40B4-BE49-F238E27FC236}">
                <a16:creationId xmlns:a16="http://schemas.microsoft.com/office/drawing/2014/main" id="{833E814A-01DC-E986-5740-B26D0C0CD484}"/>
              </a:ext>
            </a:extLst>
          </p:cNvPr>
          <p:cNvSpPr txBox="1"/>
          <p:nvPr/>
        </p:nvSpPr>
        <p:spPr>
          <a:xfrm>
            <a:off x="6197709" y="1492695"/>
            <a:ext cx="1759264" cy="523220"/>
          </a:xfrm>
          <a:prstGeom prst="rect">
            <a:avLst/>
          </a:prstGeom>
          <a:noFill/>
        </p:spPr>
        <p:txBody>
          <a:bodyPr wrap="none" rtlCol="0">
            <a:spAutoFit/>
          </a:bodyPr>
          <a:lstStyle/>
          <a:p>
            <a:r>
              <a:rPr lang="en-US" sz="2800" b="1" dirty="0"/>
              <a:t>Processing</a:t>
            </a:r>
            <a:endParaRPr lang="en-US" sz="2400" b="1" dirty="0"/>
          </a:p>
        </p:txBody>
      </p:sp>
      <p:graphicFrame>
        <p:nvGraphicFramePr>
          <p:cNvPr id="3" name="Diagram 2">
            <a:extLst>
              <a:ext uri="{FF2B5EF4-FFF2-40B4-BE49-F238E27FC236}">
                <a16:creationId xmlns:a16="http://schemas.microsoft.com/office/drawing/2014/main" id="{CB36D407-806B-707A-C888-F7FFDBDC0FF0}"/>
              </a:ext>
            </a:extLst>
          </p:cNvPr>
          <p:cNvGraphicFramePr/>
          <p:nvPr>
            <p:extLst>
              <p:ext uri="{D42A27DB-BD31-4B8C-83A1-F6EECF244321}">
                <p14:modId xmlns:p14="http://schemas.microsoft.com/office/powerpoint/2010/main" val="992388747"/>
              </p:ext>
            </p:extLst>
          </p:nvPr>
        </p:nvGraphicFramePr>
        <p:xfrm>
          <a:off x="1731649" y="1501631"/>
          <a:ext cx="3116975" cy="4840468"/>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38563364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927ED2F-182B-EFFA-CDE9-0575FD0D0F66}"/>
            </a:ext>
          </a:extLst>
        </p:cNvPr>
        <p:cNvGrpSpPr/>
        <p:nvPr/>
      </p:nvGrpSpPr>
      <p:grpSpPr>
        <a:xfrm>
          <a:off x="0" y="0"/>
          <a:ext cx="0" cy="0"/>
          <a:chOff x="0" y="0"/>
          <a:chExt cx="0" cy="0"/>
        </a:xfrm>
      </p:grpSpPr>
      <p:pic>
        <p:nvPicPr>
          <p:cNvPr id="9" name="Picture 8">
            <a:extLst>
              <a:ext uri="{FF2B5EF4-FFF2-40B4-BE49-F238E27FC236}">
                <a16:creationId xmlns:a16="http://schemas.microsoft.com/office/drawing/2014/main" id="{3F95DB68-EEE4-A241-9F1A-96A9EEA2AE38}"/>
              </a:ext>
            </a:extLst>
          </p:cNvPr>
          <p:cNvPicPr>
            <a:picLocks noChangeAspect="1"/>
          </p:cNvPicPr>
          <p:nvPr/>
        </p:nvPicPr>
        <p:blipFill>
          <a:blip r:embed="rId3"/>
          <a:stretch>
            <a:fillRect/>
          </a:stretch>
        </p:blipFill>
        <p:spPr>
          <a:xfrm>
            <a:off x="5570388" y="1414894"/>
            <a:ext cx="6621612" cy="5443106"/>
          </a:xfrm>
          <a:prstGeom prst="rect">
            <a:avLst/>
          </a:prstGeom>
        </p:spPr>
      </p:pic>
      <p:graphicFrame>
        <p:nvGraphicFramePr>
          <p:cNvPr id="2" name="Chart 1">
            <a:extLst>
              <a:ext uri="{FF2B5EF4-FFF2-40B4-BE49-F238E27FC236}">
                <a16:creationId xmlns:a16="http://schemas.microsoft.com/office/drawing/2014/main" id="{7C79FFA0-678B-5CC6-70CC-ECCD775EA5E6}"/>
              </a:ext>
            </a:extLst>
          </p:cNvPr>
          <p:cNvGraphicFramePr>
            <a:graphicFrameLocks/>
          </p:cNvGraphicFramePr>
          <p:nvPr>
            <p:custDataLst>
              <p:tags r:id="rId1"/>
            </p:custDataLst>
            <p:extLst>
              <p:ext uri="{D42A27DB-BD31-4B8C-83A1-F6EECF244321}">
                <p14:modId xmlns:p14="http://schemas.microsoft.com/office/powerpoint/2010/main" val="1028462895"/>
              </p:ext>
            </p:extLst>
          </p:nvPr>
        </p:nvGraphicFramePr>
        <p:xfrm>
          <a:off x="0" y="2740455"/>
          <a:ext cx="8067675" cy="4117545"/>
        </p:xfrm>
        <a:graphic>
          <a:graphicData uri="http://schemas.openxmlformats.org/drawingml/2006/chart">
            <c:chart xmlns:c="http://schemas.openxmlformats.org/drawingml/2006/chart" xmlns:r="http://schemas.openxmlformats.org/officeDocument/2006/relationships" r:id="rId4"/>
          </a:graphicData>
        </a:graphic>
      </p:graphicFrame>
      <p:sp>
        <p:nvSpPr>
          <p:cNvPr id="13" name="Title 1">
            <a:extLst>
              <a:ext uri="{FF2B5EF4-FFF2-40B4-BE49-F238E27FC236}">
                <a16:creationId xmlns:a16="http://schemas.microsoft.com/office/drawing/2014/main" id="{AC7B133A-7D8A-93C4-0DDB-B7546F6BB63B}"/>
              </a:ext>
            </a:extLst>
          </p:cNvPr>
          <p:cNvSpPr txBox="1">
            <a:spLocks/>
          </p:cNvSpPr>
          <p:nvPr/>
        </p:nvSpPr>
        <p:spPr>
          <a:xfrm>
            <a:off x="838200" y="365125"/>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t>Florida’s MRF Capacity as of January 2025</a:t>
            </a:r>
          </a:p>
        </p:txBody>
      </p:sp>
      <p:sp>
        <p:nvSpPr>
          <p:cNvPr id="3" name="TextBox 2">
            <a:extLst>
              <a:ext uri="{FF2B5EF4-FFF2-40B4-BE49-F238E27FC236}">
                <a16:creationId xmlns:a16="http://schemas.microsoft.com/office/drawing/2014/main" id="{336BEC67-F538-7003-6A00-5B147BF86342}"/>
              </a:ext>
            </a:extLst>
          </p:cNvPr>
          <p:cNvSpPr txBox="1"/>
          <p:nvPr/>
        </p:nvSpPr>
        <p:spPr>
          <a:xfrm>
            <a:off x="927774" y="5088926"/>
            <a:ext cx="1819275" cy="338554"/>
          </a:xfrm>
          <a:prstGeom prst="rect">
            <a:avLst/>
          </a:prstGeom>
          <a:noFill/>
        </p:spPr>
        <p:txBody>
          <a:bodyPr wrap="square" rtlCol="0">
            <a:spAutoFit/>
          </a:bodyPr>
          <a:lstStyle/>
          <a:p>
            <a:pPr algn="ctr"/>
            <a:r>
              <a:rPr lang="en-US" sz="1600" b="1" dirty="0">
                <a:solidFill>
                  <a:schemeClr val="tx1">
                    <a:lumMod val="65000"/>
                    <a:lumOff val="35000"/>
                  </a:schemeClr>
                </a:solidFill>
              </a:rPr>
              <a:t>161,000 tons</a:t>
            </a:r>
          </a:p>
        </p:txBody>
      </p:sp>
      <p:sp>
        <p:nvSpPr>
          <p:cNvPr id="4" name="TextBox 3">
            <a:extLst>
              <a:ext uri="{FF2B5EF4-FFF2-40B4-BE49-F238E27FC236}">
                <a16:creationId xmlns:a16="http://schemas.microsoft.com/office/drawing/2014/main" id="{1B2E96A7-0525-1FCE-5D1C-97FCD74F1EA3}"/>
              </a:ext>
            </a:extLst>
          </p:cNvPr>
          <p:cNvSpPr txBox="1"/>
          <p:nvPr/>
        </p:nvSpPr>
        <p:spPr>
          <a:xfrm>
            <a:off x="3138431" y="5457001"/>
            <a:ext cx="1819275" cy="338554"/>
          </a:xfrm>
          <a:prstGeom prst="rect">
            <a:avLst/>
          </a:prstGeom>
          <a:noFill/>
        </p:spPr>
        <p:txBody>
          <a:bodyPr wrap="square" rtlCol="0">
            <a:spAutoFit/>
          </a:bodyPr>
          <a:lstStyle/>
          <a:p>
            <a:pPr algn="ctr"/>
            <a:r>
              <a:rPr lang="en-US" sz="1600" b="1" dirty="0">
                <a:solidFill>
                  <a:schemeClr val="tx1">
                    <a:lumMod val="65000"/>
                    <a:lumOff val="35000"/>
                  </a:schemeClr>
                </a:solidFill>
              </a:rPr>
              <a:t>97,250 tons</a:t>
            </a:r>
          </a:p>
        </p:txBody>
      </p:sp>
      <p:sp>
        <p:nvSpPr>
          <p:cNvPr id="5" name="TextBox 4">
            <a:extLst>
              <a:ext uri="{FF2B5EF4-FFF2-40B4-BE49-F238E27FC236}">
                <a16:creationId xmlns:a16="http://schemas.microsoft.com/office/drawing/2014/main" id="{6E6DEE8A-BC73-EBE1-9BDA-A8CE52F39409}"/>
              </a:ext>
            </a:extLst>
          </p:cNvPr>
          <p:cNvSpPr txBox="1"/>
          <p:nvPr/>
        </p:nvSpPr>
        <p:spPr>
          <a:xfrm>
            <a:off x="4276725" y="4617873"/>
            <a:ext cx="1819275" cy="338554"/>
          </a:xfrm>
          <a:prstGeom prst="rect">
            <a:avLst/>
          </a:prstGeom>
          <a:noFill/>
        </p:spPr>
        <p:txBody>
          <a:bodyPr wrap="square" rtlCol="0">
            <a:spAutoFit/>
          </a:bodyPr>
          <a:lstStyle/>
          <a:p>
            <a:pPr algn="ctr"/>
            <a:r>
              <a:rPr lang="en-US" sz="1600" b="1" dirty="0">
                <a:solidFill>
                  <a:schemeClr val="tx1">
                    <a:lumMod val="65000"/>
                    <a:lumOff val="35000"/>
                  </a:schemeClr>
                </a:solidFill>
              </a:rPr>
              <a:t>246,000 tons</a:t>
            </a:r>
          </a:p>
        </p:txBody>
      </p:sp>
      <p:sp>
        <p:nvSpPr>
          <p:cNvPr id="6" name="TextBox 5">
            <a:extLst>
              <a:ext uri="{FF2B5EF4-FFF2-40B4-BE49-F238E27FC236}">
                <a16:creationId xmlns:a16="http://schemas.microsoft.com/office/drawing/2014/main" id="{34D89F9D-7DBE-3065-FC60-FDFC05950D7E}"/>
              </a:ext>
            </a:extLst>
          </p:cNvPr>
          <p:cNvSpPr txBox="1"/>
          <p:nvPr/>
        </p:nvSpPr>
        <p:spPr>
          <a:xfrm>
            <a:off x="5369050" y="3169327"/>
            <a:ext cx="1819275" cy="338554"/>
          </a:xfrm>
          <a:prstGeom prst="rect">
            <a:avLst/>
          </a:prstGeom>
          <a:noFill/>
        </p:spPr>
        <p:txBody>
          <a:bodyPr wrap="square" rtlCol="0">
            <a:spAutoFit/>
          </a:bodyPr>
          <a:lstStyle/>
          <a:p>
            <a:pPr algn="ctr"/>
            <a:r>
              <a:rPr lang="en-US" sz="1600" b="1" dirty="0">
                <a:solidFill>
                  <a:schemeClr val="tx1">
                    <a:lumMod val="65000"/>
                    <a:lumOff val="35000"/>
                  </a:schemeClr>
                </a:solidFill>
              </a:rPr>
              <a:t>498,500 tons</a:t>
            </a:r>
          </a:p>
        </p:txBody>
      </p:sp>
      <p:sp>
        <p:nvSpPr>
          <p:cNvPr id="11" name="TextBox 10">
            <a:extLst>
              <a:ext uri="{FF2B5EF4-FFF2-40B4-BE49-F238E27FC236}">
                <a16:creationId xmlns:a16="http://schemas.microsoft.com/office/drawing/2014/main" id="{160A9625-BC00-B09C-CE21-713D3E9A5FCB}"/>
              </a:ext>
            </a:extLst>
          </p:cNvPr>
          <p:cNvSpPr txBox="1"/>
          <p:nvPr/>
        </p:nvSpPr>
        <p:spPr>
          <a:xfrm>
            <a:off x="6460756" y="4078999"/>
            <a:ext cx="1819275" cy="338554"/>
          </a:xfrm>
          <a:prstGeom prst="rect">
            <a:avLst/>
          </a:prstGeom>
          <a:noFill/>
        </p:spPr>
        <p:txBody>
          <a:bodyPr wrap="square" rtlCol="0">
            <a:spAutoFit/>
          </a:bodyPr>
          <a:lstStyle/>
          <a:p>
            <a:pPr algn="ctr"/>
            <a:r>
              <a:rPr lang="en-US" sz="1600" b="1" dirty="0">
                <a:solidFill>
                  <a:schemeClr val="tx1">
                    <a:lumMod val="65000"/>
                    <a:lumOff val="35000"/>
                  </a:schemeClr>
                </a:solidFill>
              </a:rPr>
              <a:t>338,000 tons</a:t>
            </a:r>
          </a:p>
        </p:txBody>
      </p:sp>
      <p:sp>
        <p:nvSpPr>
          <p:cNvPr id="12" name="TextBox 11">
            <a:extLst>
              <a:ext uri="{FF2B5EF4-FFF2-40B4-BE49-F238E27FC236}">
                <a16:creationId xmlns:a16="http://schemas.microsoft.com/office/drawing/2014/main" id="{3F4B7AA4-01CE-E203-6B7D-09ECBF26B972}"/>
              </a:ext>
            </a:extLst>
          </p:cNvPr>
          <p:cNvSpPr txBox="1"/>
          <p:nvPr/>
        </p:nvSpPr>
        <p:spPr>
          <a:xfrm>
            <a:off x="2020572" y="5388397"/>
            <a:ext cx="1819275" cy="338554"/>
          </a:xfrm>
          <a:prstGeom prst="rect">
            <a:avLst/>
          </a:prstGeom>
          <a:noFill/>
        </p:spPr>
        <p:txBody>
          <a:bodyPr wrap="square" rtlCol="0">
            <a:spAutoFit/>
          </a:bodyPr>
          <a:lstStyle/>
          <a:p>
            <a:pPr algn="ctr"/>
            <a:r>
              <a:rPr lang="en-US" sz="1600" b="1" dirty="0">
                <a:solidFill>
                  <a:schemeClr val="tx1">
                    <a:lumMod val="65000"/>
                    <a:lumOff val="35000"/>
                  </a:schemeClr>
                </a:solidFill>
              </a:rPr>
              <a:t>109,000 tons</a:t>
            </a:r>
          </a:p>
        </p:txBody>
      </p:sp>
      <p:pic>
        <p:nvPicPr>
          <p:cNvPr id="14" name="Picture 13">
            <a:extLst>
              <a:ext uri="{FF2B5EF4-FFF2-40B4-BE49-F238E27FC236}">
                <a16:creationId xmlns:a16="http://schemas.microsoft.com/office/drawing/2014/main" id="{EB4D6C47-21B0-E08C-D5D2-20DA3912C857}"/>
              </a:ext>
            </a:extLst>
          </p:cNvPr>
          <p:cNvPicPr>
            <a:picLocks noChangeAspect="1"/>
          </p:cNvPicPr>
          <p:nvPr/>
        </p:nvPicPr>
        <p:blipFill>
          <a:blip r:embed="rId5"/>
          <a:srcRect r="7855"/>
          <a:stretch/>
        </p:blipFill>
        <p:spPr>
          <a:xfrm>
            <a:off x="8269014" y="5658126"/>
            <a:ext cx="904802" cy="992056"/>
          </a:xfrm>
          <a:prstGeom prst="rect">
            <a:avLst/>
          </a:prstGeom>
        </p:spPr>
      </p:pic>
      <p:sp>
        <p:nvSpPr>
          <p:cNvPr id="15" name="TextBox 14">
            <a:extLst>
              <a:ext uri="{FF2B5EF4-FFF2-40B4-BE49-F238E27FC236}">
                <a16:creationId xmlns:a16="http://schemas.microsoft.com/office/drawing/2014/main" id="{C2C827F0-14D6-5E69-D012-D4895FAE33B9}"/>
              </a:ext>
            </a:extLst>
          </p:cNvPr>
          <p:cNvSpPr txBox="1"/>
          <p:nvPr/>
        </p:nvSpPr>
        <p:spPr>
          <a:xfrm>
            <a:off x="9155344" y="5794225"/>
            <a:ext cx="2087018" cy="707886"/>
          </a:xfrm>
          <a:prstGeom prst="rect">
            <a:avLst/>
          </a:prstGeom>
          <a:noFill/>
        </p:spPr>
        <p:txBody>
          <a:bodyPr wrap="square" rtlCol="0">
            <a:spAutoFit/>
          </a:bodyPr>
          <a:lstStyle/>
          <a:p>
            <a:r>
              <a:rPr lang="en-US" sz="2000" b="1" dirty="0"/>
              <a:t>Tons of Annual MRF Capacity </a:t>
            </a:r>
          </a:p>
        </p:txBody>
      </p:sp>
    </p:spTree>
    <p:extLst>
      <p:ext uri="{BB962C8B-B14F-4D97-AF65-F5344CB8AC3E}">
        <p14:creationId xmlns:p14="http://schemas.microsoft.com/office/powerpoint/2010/main" val="3013855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F4CA4B9F-5522-B04E-9F9C-B963CF594B18}"/>
              </a:ext>
            </a:extLst>
          </p:cNvPr>
          <p:cNvPicPr>
            <a:picLocks noChangeAspect="1"/>
          </p:cNvPicPr>
          <p:nvPr/>
        </p:nvPicPr>
        <p:blipFill rotWithShape="1">
          <a:blip r:embed="rId2"/>
          <a:srcRect t="14571" b="32946"/>
          <a:stretch/>
        </p:blipFill>
        <p:spPr>
          <a:xfrm>
            <a:off x="8285018" y="2417069"/>
            <a:ext cx="3906982" cy="4440931"/>
          </a:xfrm>
          <a:prstGeom prst="rect">
            <a:avLst/>
          </a:prstGeom>
        </p:spPr>
      </p:pic>
      <p:pic>
        <p:nvPicPr>
          <p:cNvPr id="3" name="Picture 2">
            <a:extLst>
              <a:ext uri="{FF2B5EF4-FFF2-40B4-BE49-F238E27FC236}">
                <a16:creationId xmlns:a16="http://schemas.microsoft.com/office/drawing/2014/main" id="{2772F655-8B38-EC73-A1CC-FEDD609F922E}"/>
              </a:ext>
            </a:extLst>
          </p:cNvPr>
          <p:cNvPicPr>
            <a:picLocks noChangeAspect="1"/>
          </p:cNvPicPr>
          <p:nvPr/>
        </p:nvPicPr>
        <p:blipFill>
          <a:blip r:embed="rId3"/>
          <a:srcRect r="3977"/>
          <a:stretch/>
        </p:blipFill>
        <p:spPr>
          <a:xfrm>
            <a:off x="3777455" y="2714492"/>
            <a:ext cx="4507564" cy="3858768"/>
          </a:xfrm>
          <a:prstGeom prst="rect">
            <a:avLst/>
          </a:prstGeom>
        </p:spPr>
      </p:pic>
      <p:pic>
        <p:nvPicPr>
          <p:cNvPr id="5" name="Picture 4">
            <a:extLst>
              <a:ext uri="{FF2B5EF4-FFF2-40B4-BE49-F238E27FC236}">
                <a16:creationId xmlns:a16="http://schemas.microsoft.com/office/drawing/2014/main" id="{F76C03B3-F6F8-43FC-A24E-718E760D7C3C}"/>
              </a:ext>
            </a:extLst>
          </p:cNvPr>
          <p:cNvPicPr>
            <a:picLocks noChangeAspect="1"/>
          </p:cNvPicPr>
          <p:nvPr/>
        </p:nvPicPr>
        <p:blipFill>
          <a:blip r:embed="rId4"/>
          <a:srcRect l="34901" t="1637" r="16940" b="559"/>
          <a:stretch/>
        </p:blipFill>
        <p:spPr>
          <a:xfrm>
            <a:off x="0" y="2417069"/>
            <a:ext cx="3906982" cy="4440931"/>
          </a:xfrm>
          <a:prstGeom prst="rect">
            <a:avLst/>
          </a:prstGeom>
        </p:spPr>
      </p:pic>
      <p:sp>
        <p:nvSpPr>
          <p:cNvPr id="11" name="Rectangle 10">
            <a:extLst>
              <a:ext uri="{FF2B5EF4-FFF2-40B4-BE49-F238E27FC236}">
                <a16:creationId xmlns:a16="http://schemas.microsoft.com/office/drawing/2014/main" id="{FCF4DBC3-A1B4-C90F-A0A9-4B095BD9D07D}"/>
              </a:ext>
            </a:extLst>
          </p:cNvPr>
          <p:cNvSpPr/>
          <p:nvPr/>
        </p:nvSpPr>
        <p:spPr>
          <a:xfrm>
            <a:off x="3906982" y="6575061"/>
            <a:ext cx="4378036" cy="287898"/>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F28259C-84FE-1481-46E0-82F87AF5E8FE}"/>
              </a:ext>
            </a:extLst>
          </p:cNvPr>
          <p:cNvSpPr/>
          <p:nvPr/>
        </p:nvSpPr>
        <p:spPr>
          <a:xfrm>
            <a:off x="3906982" y="2417069"/>
            <a:ext cx="4378036" cy="287898"/>
          </a:xfrm>
          <a:prstGeom prst="rect">
            <a:avLst/>
          </a:prstGeom>
          <a:solidFill>
            <a:schemeClr val="tx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Box 12">
            <a:extLst>
              <a:ext uri="{FF2B5EF4-FFF2-40B4-BE49-F238E27FC236}">
                <a16:creationId xmlns:a16="http://schemas.microsoft.com/office/drawing/2014/main" id="{36B4842A-1DA0-3937-B9C9-F4C07C7CE3DA}"/>
              </a:ext>
            </a:extLst>
          </p:cNvPr>
          <p:cNvSpPr txBox="1"/>
          <p:nvPr/>
        </p:nvSpPr>
        <p:spPr>
          <a:xfrm>
            <a:off x="-60037" y="804003"/>
            <a:ext cx="4027055" cy="1200329"/>
          </a:xfrm>
          <a:prstGeom prst="rect">
            <a:avLst/>
          </a:prstGeom>
          <a:noFill/>
        </p:spPr>
        <p:txBody>
          <a:bodyPr wrap="square" rtlCol="0">
            <a:spAutoFit/>
          </a:bodyPr>
          <a:lstStyle/>
          <a:p>
            <a:pPr algn="ctr"/>
            <a:r>
              <a:rPr lang="en-US" sz="2400" dirty="0"/>
              <a:t>There is capacity to manage the materials currently recycled in the state.</a:t>
            </a:r>
          </a:p>
        </p:txBody>
      </p:sp>
      <p:sp>
        <p:nvSpPr>
          <p:cNvPr id="14" name="TextBox 13">
            <a:extLst>
              <a:ext uri="{FF2B5EF4-FFF2-40B4-BE49-F238E27FC236}">
                <a16:creationId xmlns:a16="http://schemas.microsoft.com/office/drawing/2014/main" id="{ACC186C0-EFA3-08E8-23A3-3D0ABE4824A8}"/>
              </a:ext>
            </a:extLst>
          </p:cNvPr>
          <p:cNvSpPr txBox="1"/>
          <p:nvPr/>
        </p:nvSpPr>
        <p:spPr>
          <a:xfrm>
            <a:off x="3967018" y="804221"/>
            <a:ext cx="4027055" cy="1200329"/>
          </a:xfrm>
          <a:prstGeom prst="rect">
            <a:avLst/>
          </a:prstGeom>
          <a:noFill/>
        </p:spPr>
        <p:txBody>
          <a:bodyPr wrap="square" rtlCol="0">
            <a:spAutoFit/>
          </a:bodyPr>
          <a:lstStyle/>
          <a:p>
            <a:pPr algn="ctr"/>
            <a:r>
              <a:rPr lang="en-US" sz="2400" dirty="0"/>
              <a:t>Infrastructure in Central and South Florida is generally operating at capacity.</a:t>
            </a:r>
          </a:p>
        </p:txBody>
      </p:sp>
      <p:sp>
        <p:nvSpPr>
          <p:cNvPr id="15" name="TextBox 14">
            <a:extLst>
              <a:ext uri="{FF2B5EF4-FFF2-40B4-BE49-F238E27FC236}">
                <a16:creationId xmlns:a16="http://schemas.microsoft.com/office/drawing/2014/main" id="{899E3C2F-23C6-5617-7010-8FD682F19F1D}"/>
              </a:ext>
            </a:extLst>
          </p:cNvPr>
          <p:cNvSpPr txBox="1"/>
          <p:nvPr/>
        </p:nvSpPr>
        <p:spPr>
          <a:xfrm>
            <a:off x="8224981" y="804002"/>
            <a:ext cx="4027055" cy="830997"/>
          </a:xfrm>
          <a:prstGeom prst="rect">
            <a:avLst/>
          </a:prstGeom>
          <a:noFill/>
        </p:spPr>
        <p:txBody>
          <a:bodyPr wrap="square" rtlCol="0">
            <a:spAutoFit/>
          </a:bodyPr>
          <a:lstStyle/>
          <a:p>
            <a:pPr algn="ctr"/>
            <a:r>
              <a:rPr lang="en-US" sz="2400" dirty="0"/>
              <a:t>The industry is moving toward increased automation.</a:t>
            </a:r>
          </a:p>
        </p:txBody>
      </p:sp>
      <p:sp>
        <p:nvSpPr>
          <p:cNvPr id="16" name="Freeform: Shape 15">
            <a:extLst>
              <a:ext uri="{FF2B5EF4-FFF2-40B4-BE49-F238E27FC236}">
                <a16:creationId xmlns:a16="http://schemas.microsoft.com/office/drawing/2014/main" id="{E7A4920A-6AD0-6642-4E60-C34DF6EE2998}"/>
              </a:ext>
            </a:extLst>
          </p:cNvPr>
          <p:cNvSpPr/>
          <p:nvPr/>
        </p:nvSpPr>
        <p:spPr>
          <a:xfrm>
            <a:off x="6613236" y="4027055"/>
            <a:ext cx="1634836" cy="2133600"/>
          </a:xfrm>
          <a:custGeom>
            <a:avLst/>
            <a:gdLst>
              <a:gd name="connsiteX0" fmla="*/ 83127 w 1634836"/>
              <a:gd name="connsiteY0" fmla="*/ 397164 h 2133600"/>
              <a:gd name="connsiteX1" fmla="*/ 1136073 w 1634836"/>
              <a:gd name="connsiteY1" fmla="*/ 0 h 2133600"/>
              <a:gd name="connsiteX2" fmla="*/ 1256145 w 1634836"/>
              <a:gd name="connsiteY2" fmla="*/ 138545 h 2133600"/>
              <a:gd name="connsiteX3" fmla="*/ 1320800 w 1634836"/>
              <a:gd name="connsiteY3" fmla="*/ 240145 h 2133600"/>
              <a:gd name="connsiteX4" fmla="*/ 1256145 w 1634836"/>
              <a:gd name="connsiteY4" fmla="*/ 314036 h 2133600"/>
              <a:gd name="connsiteX5" fmla="*/ 1320800 w 1634836"/>
              <a:gd name="connsiteY5" fmla="*/ 526473 h 2133600"/>
              <a:gd name="connsiteX6" fmla="*/ 1440873 w 1634836"/>
              <a:gd name="connsiteY6" fmla="*/ 757382 h 2133600"/>
              <a:gd name="connsiteX7" fmla="*/ 1551709 w 1634836"/>
              <a:gd name="connsiteY7" fmla="*/ 997527 h 2133600"/>
              <a:gd name="connsiteX8" fmla="*/ 1634836 w 1634836"/>
              <a:gd name="connsiteY8" fmla="*/ 1136073 h 2133600"/>
              <a:gd name="connsiteX9" fmla="*/ 1634836 w 1634836"/>
              <a:gd name="connsiteY9" fmla="*/ 1348509 h 2133600"/>
              <a:gd name="connsiteX10" fmla="*/ 1597891 w 1634836"/>
              <a:gd name="connsiteY10" fmla="*/ 1560945 h 2133600"/>
              <a:gd name="connsiteX11" fmla="*/ 1514764 w 1634836"/>
              <a:gd name="connsiteY11" fmla="*/ 1791854 h 2133600"/>
              <a:gd name="connsiteX12" fmla="*/ 1468582 w 1634836"/>
              <a:gd name="connsiteY12" fmla="*/ 2004291 h 2133600"/>
              <a:gd name="connsiteX13" fmla="*/ 1311564 w 1634836"/>
              <a:gd name="connsiteY13" fmla="*/ 2133600 h 2133600"/>
              <a:gd name="connsiteX14" fmla="*/ 1163782 w 1634836"/>
              <a:gd name="connsiteY14" fmla="*/ 2124364 h 2133600"/>
              <a:gd name="connsiteX15" fmla="*/ 1052945 w 1634836"/>
              <a:gd name="connsiteY15" fmla="*/ 2032000 h 2133600"/>
              <a:gd name="connsiteX16" fmla="*/ 960582 w 1634836"/>
              <a:gd name="connsiteY16" fmla="*/ 1874982 h 2133600"/>
              <a:gd name="connsiteX17" fmla="*/ 942109 w 1634836"/>
              <a:gd name="connsiteY17" fmla="*/ 1782618 h 2133600"/>
              <a:gd name="connsiteX18" fmla="*/ 886691 w 1634836"/>
              <a:gd name="connsiteY18" fmla="*/ 1745673 h 2133600"/>
              <a:gd name="connsiteX19" fmla="*/ 674255 w 1634836"/>
              <a:gd name="connsiteY19" fmla="*/ 1717964 h 2133600"/>
              <a:gd name="connsiteX20" fmla="*/ 637309 w 1634836"/>
              <a:gd name="connsiteY20" fmla="*/ 1625600 h 2133600"/>
              <a:gd name="connsiteX21" fmla="*/ 637309 w 1634836"/>
              <a:gd name="connsiteY21" fmla="*/ 1487054 h 2133600"/>
              <a:gd name="connsiteX22" fmla="*/ 637309 w 1634836"/>
              <a:gd name="connsiteY22" fmla="*/ 1403927 h 2133600"/>
              <a:gd name="connsiteX23" fmla="*/ 498764 w 1634836"/>
              <a:gd name="connsiteY23" fmla="*/ 1330036 h 2133600"/>
              <a:gd name="connsiteX24" fmla="*/ 471055 w 1634836"/>
              <a:gd name="connsiteY24" fmla="*/ 1274618 h 2133600"/>
              <a:gd name="connsiteX25" fmla="*/ 498764 w 1634836"/>
              <a:gd name="connsiteY25" fmla="*/ 1136073 h 2133600"/>
              <a:gd name="connsiteX26" fmla="*/ 434109 w 1634836"/>
              <a:gd name="connsiteY26" fmla="*/ 1071418 h 2133600"/>
              <a:gd name="connsiteX27" fmla="*/ 360218 w 1634836"/>
              <a:gd name="connsiteY27" fmla="*/ 1136073 h 2133600"/>
              <a:gd name="connsiteX28" fmla="*/ 461818 w 1634836"/>
              <a:gd name="connsiteY28" fmla="*/ 1219200 h 2133600"/>
              <a:gd name="connsiteX29" fmla="*/ 332509 w 1634836"/>
              <a:gd name="connsiteY29" fmla="*/ 1228436 h 2133600"/>
              <a:gd name="connsiteX30" fmla="*/ 230909 w 1634836"/>
              <a:gd name="connsiteY30" fmla="*/ 1052945 h 2133600"/>
              <a:gd name="connsiteX31" fmla="*/ 138545 w 1634836"/>
              <a:gd name="connsiteY31" fmla="*/ 775854 h 2133600"/>
              <a:gd name="connsiteX32" fmla="*/ 0 w 1634836"/>
              <a:gd name="connsiteY32" fmla="*/ 535709 h 2133600"/>
              <a:gd name="connsiteX33" fmla="*/ 83127 w 1634836"/>
              <a:gd name="connsiteY33" fmla="*/ 397164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634836" h="2133600">
                <a:moveTo>
                  <a:pt x="83127" y="397164"/>
                </a:moveTo>
                <a:lnTo>
                  <a:pt x="1136073" y="0"/>
                </a:lnTo>
                <a:lnTo>
                  <a:pt x="1256145" y="138545"/>
                </a:lnTo>
                <a:lnTo>
                  <a:pt x="1320800" y="240145"/>
                </a:lnTo>
                <a:lnTo>
                  <a:pt x="1256145" y="314036"/>
                </a:lnTo>
                <a:lnTo>
                  <a:pt x="1320800" y="526473"/>
                </a:lnTo>
                <a:lnTo>
                  <a:pt x="1440873" y="757382"/>
                </a:lnTo>
                <a:lnTo>
                  <a:pt x="1551709" y="997527"/>
                </a:lnTo>
                <a:lnTo>
                  <a:pt x="1634836" y="1136073"/>
                </a:lnTo>
                <a:lnTo>
                  <a:pt x="1634836" y="1348509"/>
                </a:lnTo>
                <a:lnTo>
                  <a:pt x="1597891" y="1560945"/>
                </a:lnTo>
                <a:lnTo>
                  <a:pt x="1514764" y="1791854"/>
                </a:lnTo>
                <a:lnTo>
                  <a:pt x="1468582" y="2004291"/>
                </a:lnTo>
                <a:lnTo>
                  <a:pt x="1311564" y="2133600"/>
                </a:lnTo>
                <a:lnTo>
                  <a:pt x="1163782" y="2124364"/>
                </a:lnTo>
                <a:lnTo>
                  <a:pt x="1052945" y="2032000"/>
                </a:lnTo>
                <a:lnTo>
                  <a:pt x="960582" y="1874982"/>
                </a:lnTo>
                <a:lnTo>
                  <a:pt x="942109" y="1782618"/>
                </a:lnTo>
                <a:lnTo>
                  <a:pt x="886691" y="1745673"/>
                </a:lnTo>
                <a:lnTo>
                  <a:pt x="674255" y="1717964"/>
                </a:lnTo>
                <a:lnTo>
                  <a:pt x="637309" y="1625600"/>
                </a:lnTo>
                <a:lnTo>
                  <a:pt x="637309" y="1487054"/>
                </a:lnTo>
                <a:lnTo>
                  <a:pt x="637309" y="1403927"/>
                </a:lnTo>
                <a:lnTo>
                  <a:pt x="498764" y="1330036"/>
                </a:lnTo>
                <a:lnTo>
                  <a:pt x="471055" y="1274618"/>
                </a:lnTo>
                <a:lnTo>
                  <a:pt x="498764" y="1136073"/>
                </a:lnTo>
                <a:lnTo>
                  <a:pt x="434109" y="1071418"/>
                </a:lnTo>
                <a:lnTo>
                  <a:pt x="360218" y="1136073"/>
                </a:lnTo>
                <a:lnTo>
                  <a:pt x="461818" y="1219200"/>
                </a:lnTo>
                <a:lnTo>
                  <a:pt x="332509" y="1228436"/>
                </a:lnTo>
                <a:lnTo>
                  <a:pt x="230909" y="1052945"/>
                </a:lnTo>
                <a:lnTo>
                  <a:pt x="138545" y="775854"/>
                </a:lnTo>
                <a:lnTo>
                  <a:pt x="0" y="535709"/>
                </a:lnTo>
                <a:lnTo>
                  <a:pt x="83127" y="397164"/>
                </a:lnTo>
                <a:close/>
              </a:path>
            </a:pathLst>
          </a:custGeom>
          <a:solidFill>
            <a:srgbClr val="A6A6A6">
              <a:alpha val="5019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0991818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4" grpId="0"/>
      <p:bldP spid="15" grpId="0"/>
      <p:bldP spid="16"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61DC4D-54EB-6581-8DB3-4F53691830E1}"/>
              </a:ext>
            </a:extLst>
          </p:cNvPr>
          <p:cNvSpPr>
            <a:spLocks noGrp="1"/>
          </p:cNvSpPr>
          <p:nvPr>
            <p:ph type="title"/>
          </p:nvPr>
        </p:nvSpPr>
        <p:spPr/>
        <p:txBody>
          <a:bodyPr/>
          <a:lstStyle/>
          <a:p>
            <a:r>
              <a:rPr lang="en-US" dirty="0"/>
              <a:t>Key Takeaways…</a:t>
            </a:r>
          </a:p>
        </p:txBody>
      </p:sp>
      <p:sp>
        <p:nvSpPr>
          <p:cNvPr id="3" name="Content Placeholder 2">
            <a:extLst>
              <a:ext uri="{FF2B5EF4-FFF2-40B4-BE49-F238E27FC236}">
                <a16:creationId xmlns:a16="http://schemas.microsoft.com/office/drawing/2014/main" id="{58E9C1E5-576A-7EDD-3C0D-D30E3B8ACAB1}"/>
              </a:ext>
            </a:extLst>
          </p:cNvPr>
          <p:cNvSpPr>
            <a:spLocks noGrp="1"/>
          </p:cNvSpPr>
          <p:nvPr>
            <p:ph idx="1"/>
          </p:nvPr>
        </p:nvSpPr>
        <p:spPr>
          <a:xfrm>
            <a:off x="838200" y="1625600"/>
            <a:ext cx="11141364" cy="5232400"/>
          </a:xfrm>
        </p:spPr>
        <p:txBody>
          <a:bodyPr>
            <a:normAutofit/>
          </a:bodyPr>
          <a:lstStyle/>
          <a:p>
            <a:pPr marL="0" indent="0">
              <a:buNone/>
            </a:pPr>
            <a:r>
              <a:rPr lang="en-US" b="1" dirty="0">
                <a:solidFill>
                  <a:schemeClr val="accent6"/>
                </a:solidFill>
              </a:rPr>
              <a:t>Class I Landfills:</a:t>
            </a:r>
          </a:p>
          <a:p>
            <a:r>
              <a:rPr lang="en-US" sz="2800" dirty="0"/>
              <a:t>Currently, about a third of the state’s remaining permitted capacity has already been constructed.</a:t>
            </a:r>
          </a:p>
          <a:p>
            <a:r>
              <a:rPr lang="en-US" sz="2800" dirty="0"/>
              <a:t>Capacity varies by region and public vs private landfills.</a:t>
            </a:r>
          </a:p>
          <a:p>
            <a:pPr marL="0" indent="0">
              <a:spcBef>
                <a:spcPts val="2000"/>
              </a:spcBef>
              <a:buNone/>
            </a:pPr>
            <a:r>
              <a:rPr lang="en-US" b="1" dirty="0">
                <a:solidFill>
                  <a:schemeClr val="accent2"/>
                </a:solidFill>
              </a:rPr>
              <a:t>WTE Facilities:</a:t>
            </a:r>
          </a:p>
          <a:p>
            <a:r>
              <a:rPr lang="en-US" sz="2800" dirty="0"/>
              <a:t>Florida’s WTE facilities are oper</a:t>
            </a:r>
            <a:r>
              <a:rPr lang="en-US" dirty="0"/>
              <a:t>ating at capacity and have little room for expansion.</a:t>
            </a:r>
          </a:p>
          <a:p>
            <a:pPr marL="0" indent="0">
              <a:spcBef>
                <a:spcPts val="2000"/>
              </a:spcBef>
              <a:buNone/>
            </a:pPr>
            <a:r>
              <a:rPr lang="en-US" b="1" dirty="0">
                <a:solidFill>
                  <a:schemeClr val="accent4"/>
                </a:solidFill>
              </a:rPr>
              <a:t>Single and Dual Stream MRFs:</a:t>
            </a:r>
          </a:p>
          <a:p>
            <a:r>
              <a:rPr lang="en-US" dirty="0"/>
              <a:t>MRFs can process all material currently being generated in the state.</a:t>
            </a:r>
          </a:p>
          <a:p>
            <a:r>
              <a:rPr lang="en-US" dirty="0"/>
              <a:t>However, MRFs in Central and South Florida are operating at capacity.</a:t>
            </a:r>
            <a:endParaRPr lang="en-US" sz="2800" dirty="0"/>
          </a:p>
          <a:p>
            <a:endParaRPr lang="en-US" dirty="0"/>
          </a:p>
          <a:p>
            <a:endParaRPr lang="en-US" dirty="0"/>
          </a:p>
        </p:txBody>
      </p:sp>
    </p:spTree>
    <p:extLst>
      <p:ext uri="{BB962C8B-B14F-4D97-AF65-F5344CB8AC3E}">
        <p14:creationId xmlns:p14="http://schemas.microsoft.com/office/powerpoint/2010/main" val="18654507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FF8ACF-8A8A-C319-ECD0-38DBF96A45E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83AFC6AE-90D6-AC96-F4E2-8C0A6F656063}"/>
              </a:ext>
            </a:extLst>
          </p:cNvPr>
          <p:cNvSpPr>
            <a:spLocks noGrp="1"/>
          </p:cNvSpPr>
          <p:nvPr>
            <p:ph type="ctrTitle"/>
          </p:nvPr>
        </p:nvSpPr>
        <p:spPr>
          <a:xfrm>
            <a:off x="267855" y="2412606"/>
            <a:ext cx="11637817" cy="1109157"/>
          </a:xfrm>
        </p:spPr>
        <p:txBody>
          <a:bodyPr>
            <a:normAutofit fontScale="90000"/>
          </a:bodyPr>
          <a:lstStyle/>
          <a:p>
            <a:r>
              <a:rPr lang="en-US" dirty="0">
                <a:ea typeface="Calibri Light"/>
                <a:cs typeface="Calibri Light"/>
              </a:rPr>
              <a:t>Thank you and p</a:t>
            </a:r>
            <a:r>
              <a:rPr lang="en-US" dirty="0"/>
              <a:t>lease connect with us!</a:t>
            </a:r>
          </a:p>
        </p:txBody>
      </p:sp>
      <p:pic>
        <p:nvPicPr>
          <p:cNvPr id="4" name="Picture 2" descr="Florida Department of Environmental Protection Logo – Small Version">
            <a:extLst>
              <a:ext uri="{FF2B5EF4-FFF2-40B4-BE49-F238E27FC236}">
                <a16:creationId xmlns:a16="http://schemas.microsoft.com/office/drawing/2014/main" id="{88CAFE06-ED1E-AB24-1E72-E495F8A36A5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42284" y="-1"/>
            <a:ext cx="776177" cy="776177"/>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14CF9CF5-7557-5C86-D5F7-B34743BF8945}"/>
              </a:ext>
            </a:extLst>
          </p:cNvPr>
          <p:cNvSpPr txBox="1"/>
          <p:nvPr/>
        </p:nvSpPr>
        <p:spPr>
          <a:xfrm>
            <a:off x="803565" y="5481657"/>
            <a:ext cx="2854035" cy="1200329"/>
          </a:xfrm>
          <a:prstGeom prst="rect">
            <a:avLst/>
          </a:prstGeom>
          <a:noFill/>
        </p:spPr>
        <p:txBody>
          <a:bodyPr wrap="square" rtlCol="0">
            <a:spAutoFit/>
          </a:bodyPr>
          <a:lstStyle/>
          <a:p>
            <a:pPr algn="ctr"/>
            <a:r>
              <a:rPr lang="en-US" b="1" dirty="0"/>
              <a:t>Hannah Sackles</a:t>
            </a:r>
          </a:p>
          <a:p>
            <a:pPr algn="ctr"/>
            <a:r>
              <a:rPr lang="en-US" dirty="0"/>
              <a:t>Graduate Research Assistant</a:t>
            </a:r>
          </a:p>
          <a:p>
            <a:pPr algn="ctr"/>
            <a:r>
              <a:rPr lang="en-US" dirty="0"/>
              <a:t>University of Florida</a:t>
            </a:r>
          </a:p>
          <a:p>
            <a:pPr algn="ctr"/>
            <a:r>
              <a:rPr lang="en-US" dirty="0">
                <a:hlinkClick r:id="rId3"/>
              </a:rPr>
              <a:t>hsackles@ufl.edu</a:t>
            </a:r>
            <a:endParaRPr lang="en-US" dirty="0"/>
          </a:p>
        </p:txBody>
      </p:sp>
      <p:sp>
        <p:nvSpPr>
          <p:cNvPr id="6" name="TextBox 5">
            <a:extLst>
              <a:ext uri="{FF2B5EF4-FFF2-40B4-BE49-F238E27FC236}">
                <a16:creationId xmlns:a16="http://schemas.microsoft.com/office/drawing/2014/main" id="{342BDC48-E505-4B28-178E-5F80C22DD03C}"/>
              </a:ext>
            </a:extLst>
          </p:cNvPr>
          <p:cNvSpPr txBox="1"/>
          <p:nvPr/>
        </p:nvSpPr>
        <p:spPr>
          <a:xfrm>
            <a:off x="4590472" y="5481658"/>
            <a:ext cx="2992582" cy="1200329"/>
          </a:xfrm>
          <a:prstGeom prst="rect">
            <a:avLst/>
          </a:prstGeom>
          <a:noFill/>
        </p:spPr>
        <p:txBody>
          <a:bodyPr wrap="square" rtlCol="0">
            <a:spAutoFit/>
          </a:bodyPr>
          <a:lstStyle/>
          <a:p>
            <a:pPr algn="ctr"/>
            <a:r>
              <a:rPr lang="en-US" b="1" dirty="0"/>
              <a:t>Dr. Malak Anshassi</a:t>
            </a:r>
          </a:p>
          <a:p>
            <a:pPr algn="ctr"/>
            <a:r>
              <a:rPr lang="en-US" dirty="0"/>
              <a:t>Assistant Professor</a:t>
            </a:r>
          </a:p>
          <a:p>
            <a:pPr algn="ctr"/>
            <a:r>
              <a:rPr lang="en-US" dirty="0"/>
              <a:t>Florida Polytechnic University</a:t>
            </a:r>
          </a:p>
          <a:p>
            <a:pPr marL="0" indent="0" algn="ctr">
              <a:buNone/>
            </a:pPr>
            <a:r>
              <a:rPr lang="en-US" dirty="0">
                <a:hlinkClick r:id="rId4"/>
              </a:rPr>
              <a:t>manshassi@floridapoly.edu</a:t>
            </a:r>
            <a:endParaRPr lang="en-US" dirty="0"/>
          </a:p>
        </p:txBody>
      </p:sp>
      <p:sp>
        <p:nvSpPr>
          <p:cNvPr id="7" name="TextBox 6">
            <a:extLst>
              <a:ext uri="{FF2B5EF4-FFF2-40B4-BE49-F238E27FC236}">
                <a16:creationId xmlns:a16="http://schemas.microsoft.com/office/drawing/2014/main" id="{A8D1F8E4-B752-F4D6-202A-D40775C460AA}"/>
              </a:ext>
            </a:extLst>
          </p:cNvPr>
          <p:cNvSpPr txBox="1"/>
          <p:nvPr/>
        </p:nvSpPr>
        <p:spPr>
          <a:xfrm>
            <a:off x="8515926" y="5481657"/>
            <a:ext cx="2664691" cy="1200329"/>
          </a:xfrm>
          <a:prstGeom prst="rect">
            <a:avLst/>
          </a:prstGeom>
          <a:noFill/>
        </p:spPr>
        <p:txBody>
          <a:bodyPr wrap="square" rtlCol="0">
            <a:spAutoFit/>
          </a:bodyPr>
          <a:lstStyle/>
          <a:p>
            <a:pPr algn="ctr"/>
            <a:r>
              <a:rPr lang="en-US" b="1" dirty="0"/>
              <a:t>Dr. Yalan Liu</a:t>
            </a:r>
          </a:p>
          <a:p>
            <a:pPr algn="ctr"/>
            <a:r>
              <a:rPr lang="en-US" dirty="0"/>
              <a:t>Assistant Professor</a:t>
            </a:r>
          </a:p>
          <a:p>
            <a:pPr algn="ctr"/>
            <a:r>
              <a:rPr lang="en-US" dirty="0"/>
              <a:t>Florida Atlantic University</a:t>
            </a:r>
          </a:p>
          <a:p>
            <a:pPr marL="0" indent="0" algn="ctr">
              <a:buNone/>
            </a:pPr>
            <a:r>
              <a:rPr lang="en-US" dirty="0">
                <a:hlinkClick r:id="rId5"/>
              </a:rPr>
              <a:t>yalanliu@fau.edu</a:t>
            </a:r>
            <a:endParaRPr lang="en-US" dirty="0"/>
          </a:p>
        </p:txBody>
      </p:sp>
    </p:spTree>
    <p:extLst>
      <p:ext uri="{BB962C8B-B14F-4D97-AF65-F5344CB8AC3E}">
        <p14:creationId xmlns:p14="http://schemas.microsoft.com/office/powerpoint/2010/main" val="37979967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DF9196-37D6-3163-CA5C-F5C8CE429E2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942EE50-E9C6-DE23-3A22-CEFE824E0DF7}"/>
              </a:ext>
            </a:extLst>
          </p:cNvPr>
          <p:cNvSpPr>
            <a:spLocks noGrp="1"/>
          </p:cNvSpPr>
          <p:nvPr>
            <p:ph type="title"/>
          </p:nvPr>
        </p:nvSpPr>
        <p:spPr/>
        <p:txBody>
          <a:bodyPr/>
          <a:lstStyle/>
          <a:p>
            <a:r>
              <a:rPr lang="en-US" dirty="0"/>
              <a:t>Facilities of Interest</a:t>
            </a:r>
          </a:p>
        </p:txBody>
      </p:sp>
      <p:sp>
        <p:nvSpPr>
          <p:cNvPr id="7" name="Rectangle 6">
            <a:extLst>
              <a:ext uri="{FF2B5EF4-FFF2-40B4-BE49-F238E27FC236}">
                <a16:creationId xmlns:a16="http://schemas.microsoft.com/office/drawing/2014/main" id="{1324B326-30DA-F9F0-6ED3-7C970263762B}"/>
              </a:ext>
            </a:extLst>
          </p:cNvPr>
          <p:cNvSpPr/>
          <p:nvPr/>
        </p:nvSpPr>
        <p:spPr>
          <a:xfrm>
            <a:off x="6116224" y="1492696"/>
            <a:ext cx="5016241" cy="4840468"/>
          </a:xfrm>
          <a:prstGeom prst="rect">
            <a:avLst/>
          </a:prstGeom>
          <a:solidFill>
            <a:schemeClr val="accent6">
              <a:alpha val="1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E664150D-F1FC-60B9-C16A-5822E566B8C9}"/>
              </a:ext>
            </a:extLst>
          </p:cNvPr>
          <p:cNvSpPr/>
          <p:nvPr/>
        </p:nvSpPr>
        <p:spPr>
          <a:xfrm>
            <a:off x="838200" y="1501630"/>
            <a:ext cx="5020056" cy="4840469"/>
          </a:xfrm>
          <a:prstGeom prst="rect">
            <a:avLst/>
          </a:prstGeom>
          <a:solidFill>
            <a:schemeClr val="accent1">
              <a:alpha val="14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Diagram 8">
            <a:extLst>
              <a:ext uri="{FF2B5EF4-FFF2-40B4-BE49-F238E27FC236}">
                <a16:creationId xmlns:a16="http://schemas.microsoft.com/office/drawing/2014/main" id="{8739C856-B2D9-B366-40BB-7F1C3F2AA2BF}"/>
              </a:ext>
            </a:extLst>
          </p:cNvPr>
          <p:cNvGraphicFramePr/>
          <p:nvPr>
            <p:extLst>
              <p:ext uri="{D42A27DB-BD31-4B8C-83A1-F6EECF244321}">
                <p14:modId xmlns:p14="http://schemas.microsoft.com/office/powerpoint/2010/main" val="2810343145"/>
              </p:ext>
            </p:extLst>
          </p:nvPr>
        </p:nvGraphicFramePr>
        <p:xfrm>
          <a:off x="1731649" y="1501631"/>
          <a:ext cx="3116975" cy="48404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TextBox 10">
            <a:extLst>
              <a:ext uri="{FF2B5EF4-FFF2-40B4-BE49-F238E27FC236}">
                <a16:creationId xmlns:a16="http://schemas.microsoft.com/office/drawing/2014/main" id="{B5071C18-128D-2168-B176-59A8014DFCDF}"/>
              </a:ext>
            </a:extLst>
          </p:cNvPr>
          <p:cNvSpPr txBox="1"/>
          <p:nvPr/>
        </p:nvSpPr>
        <p:spPr>
          <a:xfrm>
            <a:off x="919686" y="1492696"/>
            <a:ext cx="1435008" cy="523220"/>
          </a:xfrm>
          <a:prstGeom prst="rect">
            <a:avLst/>
          </a:prstGeom>
          <a:noFill/>
        </p:spPr>
        <p:txBody>
          <a:bodyPr wrap="none" rtlCol="0">
            <a:spAutoFit/>
          </a:bodyPr>
          <a:lstStyle/>
          <a:p>
            <a:r>
              <a:rPr lang="en-US" sz="2800" b="1" dirty="0"/>
              <a:t>Disposal</a:t>
            </a:r>
          </a:p>
        </p:txBody>
      </p:sp>
      <p:sp>
        <p:nvSpPr>
          <p:cNvPr id="12" name="TextBox 11">
            <a:extLst>
              <a:ext uri="{FF2B5EF4-FFF2-40B4-BE49-F238E27FC236}">
                <a16:creationId xmlns:a16="http://schemas.microsoft.com/office/drawing/2014/main" id="{8A05C317-1385-4173-0407-F6C61B0F9BD6}"/>
              </a:ext>
            </a:extLst>
          </p:cNvPr>
          <p:cNvSpPr txBox="1"/>
          <p:nvPr/>
        </p:nvSpPr>
        <p:spPr>
          <a:xfrm>
            <a:off x="6116224" y="2943434"/>
            <a:ext cx="5016241" cy="1938992"/>
          </a:xfrm>
          <a:prstGeom prst="rect">
            <a:avLst/>
          </a:prstGeom>
          <a:noFill/>
        </p:spPr>
        <p:txBody>
          <a:bodyPr wrap="square" rtlCol="0">
            <a:spAutoFit/>
          </a:bodyPr>
          <a:lstStyle/>
          <a:p>
            <a:pPr algn="ctr"/>
            <a:r>
              <a:rPr lang="en-US" sz="4000" b="1" dirty="0"/>
              <a:t>How long will Florida’s current landfill capacity last?</a:t>
            </a:r>
          </a:p>
        </p:txBody>
      </p:sp>
    </p:spTree>
    <p:extLst>
      <p:ext uri="{BB962C8B-B14F-4D97-AF65-F5344CB8AC3E}">
        <p14:creationId xmlns:p14="http://schemas.microsoft.com/office/powerpoint/2010/main" val="15890246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FA9BEC-438E-F8EC-F0AA-E9B5091B9F6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D32F25A-1098-BEDC-5B32-94AD8745FFDB}"/>
              </a:ext>
            </a:extLst>
          </p:cNvPr>
          <p:cNvSpPr>
            <a:spLocks noGrp="1"/>
          </p:cNvSpPr>
          <p:nvPr>
            <p:ph type="title"/>
          </p:nvPr>
        </p:nvSpPr>
        <p:spPr/>
        <p:txBody>
          <a:bodyPr/>
          <a:lstStyle/>
          <a:p>
            <a:r>
              <a:rPr lang="en-US" dirty="0"/>
              <a:t>Method to Determine Class I Landfill Capacity</a:t>
            </a:r>
          </a:p>
        </p:txBody>
      </p:sp>
      <p:sp>
        <p:nvSpPr>
          <p:cNvPr id="3" name="Content Placeholder 2">
            <a:extLst>
              <a:ext uri="{FF2B5EF4-FFF2-40B4-BE49-F238E27FC236}">
                <a16:creationId xmlns:a16="http://schemas.microsoft.com/office/drawing/2014/main" id="{015306F2-709A-7764-43ED-55F7704E7966}"/>
              </a:ext>
            </a:extLst>
          </p:cNvPr>
          <p:cNvSpPr>
            <a:spLocks noGrp="1"/>
          </p:cNvSpPr>
          <p:nvPr>
            <p:ph idx="1"/>
          </p:nvPr>
        </p:nvSpPr>
        <p:spPr>
          <a:xfrm>
            <a:off x="838200" y="2367141"/>
            <a:ext cx="10515600" cy="2123717"/>
          </a:xfrm>
        </p:spPr>
        <p:txBody>
          <a:bodyPr vert="horz" lIns="91440" tIns="45720" rIns="91440" bIns="45720" rtlCol="0" anchor="t">
            <a:normAutofit/>
          </a:bodyPr>
          <a:lstStyle/>
          <a:p>
            <a:pPr marL="0" indent="0">
              <a:buNone/>
            </a:pPr>
            <a:r>
              <a:rPr lang="en-US" sz="2400" dirty="0">
                <a:cs typeface="Calibri"/>
              </a:rPr>
              <a:t>F.A.C. 62-701.500.13: </a:t>
            </a:r>
            <a:r>
              <a:rPr lang="en-US" sz="2400" dirty="0">
                <a:solidFill>
                  <a:srgbClr val="000000"/>
                </a:solidFill>
                <a:effectLst/>
                <a:ea typeface="Times New Roman" panose="02020603050405020304" pitchFamily="18" charset="0"/>
              </a:rPr>
              <a:t>Recordkeeping. In addition to records and reporting required by other sections of this chapter, the landfill owner or operator shall:</a:t>
            </a:r>
            <a:r>
              <a:rPr lang="en-US" sz="2400" dirty="0">
                <a:effectLst/>
              </a:rPr>
              <a:t> </a:t>
            </a:r>
            <a:r>
              <a:rPr lang="en-US" sz="2400" dirty="0">
                <a:solidFill>
                  <a:srgbClr val="000000"/>
                </a:solidFill>
                <a:effectLst/>
                <a:ea typeface="Times New Roman" panose="02020603050405020304" pitchFamily="18" charset="0"/>
              </a:rPr>
              <a:t>(c) </a:t>
            </a:r>
            <a:r>
              <a:rPr lang="en-US" sz="2400" dirty="0">
                <a:solidFill>
                  <a:schemeClr val="accent6"/>
                </a:solidFill>
                <a:effectLst/>
                <a:ea typeface="Times New Roman" panose="02020603050405020304" pitchFamily="18" charset="0"/>
              </a:rPr>
              <a:t>Maintain an annual estimate of the remaining life and capacity</a:t>
            </a:r>
            <a:r>
              <a:rPr lang="en-US" sz="2400" dirty="0">
                <a:solidFill>
                  <a:srgbClr val="000000"/>
                </a:solidFill>
                <a:effectLst/>
                <a:ea typeface="Times New Roman" panose="02020603050405020304" pitchFamily="18" charset="0"/>
              </a:rPr>
              <a:t> in cubic yards of the existing, constructed landfill and an annual estimate of the life and capacity in cubic yards of other permitted areas not yet constructed. The estimate shall be made and reported annually to the Department.</a:t>
            </a:r>
            <a:endParaRPr lang="en-US" dirty="0">
              <a:cs typeface="Calibri"/>
            </a:endParaRPr>
          </a:p>
        </p:txBody>
      </p:sp>
      <p:sp>
        <p:nvSpPr>
          <p:cNvPr id="7" name="TextBox 6">
            <a:extLst>
              <a:ext uri="{FF2B5EF4-FFF2-40B4-BE49-F238E27FC236}">
                <a16:creationId xmlns:a16="http://schemas.microsoft.com/office/drawing/2014/main" id="{702062E4-0CD3-6CE4-55B1-94230C60A716}"/>
              </a:ext>
            </a:extLst>
          </p:cNvPr>
          <p:cNvSpPr txBox="1"/>
          <p:nvPr/>
        </p:nvSpPr>
        <p:spPr>
          <a:xfrm>
            <a:off x="138448" y="6420261"/>
            <a:ext cx="6098146" cy="338554"/>
          </a:xfrm>
          <a:prstGeom prst="rect">
            <a:avLst/>
          </a:prstGeom>
          <a:noFill/>
        </p:spPr>
        <p:txBody>
          <a:bodyPr wrap="square">
            <a:spAutoFit/>
          </a:bodyPr>
          <a:lstStyle/>
          <a:p>
            <a:r>
              <a:rPr lang="en-US" sz="1600" dirty="0"/>
              <a:t>https://</a:t>
            </a:r>
            <a:r>
              <a:rPr lang="en-US" sz="1600" dirty="0" err="1"/>
              <a:t>www.flrules.org</a:t>
            </a:r>
            <a:r>
              <a:rPr lang="en-US" sz="1600" dirty="0"/>
              <a:t>/gateway/</a:t>
            </a:r>
            <a:r>
              <a:rPr lang="en-US" sz="1600" dirty="0" err="1"/>
              <a:t>ruleno.asp?id</a:t>
            </a:r>
            <a:r>
              <a:rPr lang="en-US" sz="1600" dirty="0"/>
              <a:t>=62-701.500</a:t>
            </a:r>
          </a:p>
        </p:txBody>
      </p:sp>
    </p:spTree>
    <p:extLst>
      <p:ext uri="{BB962C8B-B14F-4D97-AF65-F5344CB8AC3E}">
        <p14:creationId xmlns:p14="http://schemas.microsoft.com/office/powerpoint/2010/main" val="6444787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DB394-12C3-6746-23C0-ECE50301C20B}"/>
              </a:ext>
            </a:extLst>
          </p:cNvPr>
          <p:cNvSpPr>
            <a:spLocks noGrp="1"/>
          </p:cNvSpPr>
          <p:nvPr>
            <p:ph type="title"/>
          </p:nvPr>
        </p:nvSpPr>
        <p:spPr/>
        <p:txBody>
          <a:bodyPr/>
          <a:lstStyle/>
          <a:p>
            <a:r>
              <a:rPr lang="en-US" dirty="0"/>
              <a:t>Method to Determine Class I Landfill Capacity</a:t>
            </a:r>
          </a:p>
        </p:txBody>
      </p:sp>
      <p:sp>
        <p:nvSpPr>
          <p:cNvPr id="3" name="Content Placeholder 2">
            <a:extLst>
              <a:ext uri="{FF2B5EF4-FFF2-40B4-BE49-F238E27FC236}">
                <a16:creationId xmlns:a16="http://schemas.microsoft.com/office/drawing/2014/main" id="{3C365C82-80A4-C827-5221-27867B9D26D4}"/>
              </a:ext>
            </a:extLst>
          </p:cNvPr>
          <p:cNvSpPr>
            <a:spLocks noGrp="1"/>
          </p:cNvSpPr>
          <p:nvPr>
            <p:ph idx="1"/>
          </p:nvPr>
        </p:nvSpPr>
        <p:spPr>
          <a:xfrm>
            <a:off x="838200" y="1825625"/>
            <a:ext cx="10515600" cy="4895850"/>
          </a:xfrm>
        </p:spPr>
        <p:txBody>
          <a:bodyPr vert="horz" lIns="91440" tIns="45720" rIns="91440" bIns="45720" rtlCol="0" anchor="t">
            <a:normAutofit/>
          </a:bodyPr>
          <a:lstStyle/>
          <a:p>
            <a:pPr marL="457200" indent="-457200">
              <a:buAutoNum type="arabicParenR"/>
            </a:pPr>
            <a:r>
              <a:rPr lang="en-US" dirty="0">
                <a:cs typeface="Calibri"/>
              </a:rPr>
              <a:t>Use OCULUS to search for:</a:t>
            </a:r>
          </a:p>
          <a:p>
            <a:pPr lvl="1"/>
            <a:r>
              <a:rPr lang="en-US" dirty="0">
                <a:ea typeface="Times New Roman" panose="02020603050405020304" pitchFamily="18" charset="0"/>
                <a:cs typeface="Calibri"/>
              </a:rPr>
              <a:t>Site life estimate</a:t>
            </a:r>
          </a:p>
          <a:p>
            <a:pPr lvl="1"/>
            <a:r>
              <a:rPr lang="en-US" dirty="0">
                <a:effectLst/>
                <a:ea typeface="Times New Roman" panose="02020603050405020304" pitchFamily="18" charset="0"/>
                <a:cs typeface="Calibri"/>
              </a:rPr>
              <a:t>Annual tonnages</a:t>
            </a:r>
          </a:p>
          <a:p>
            <a:pPr lvl="1"/>
            <a:r>
              <a:rPr lang="en-US" dirty="0">
                <a:ea typeface="Times New Roman" panose="02020603050405020304" pitchFamily="18" charset="0"/>
                <a:cs typeface="Calibri"/>
              </a:rPr>
              <a:t>Permit applications</a:t>
            </a:r>
            <a:endParaRPr lang="en-US" dirty="0">
              <a:ea typeface="Times New Roman" panose="02020603050405020304" pitchFamily="18" charset="0"/>
            </a:endParaRPr>
          </a:p>
          <a:p>
            <a:pPr marL="514350" indent="-514350">
              <a:buFont typeface="+mj-lt"/>
              <a:buAutoNum type="arabicParenR"/>
            </a:pPr>
            <a:r>
              <a:rPr lang="en-US" dirty="0">
                <a:cs typeface="Calibri"/>
              </a:rPr>
              <a:t>Verify information with facility operators</a:t>
            </a:r>
          </a:p>
          <a:p>
            <a:pPr lvl="1"/>
            <a:r>
              <a:rPr lang="en-US" dirty="0">
                <a:cs typeface="Calibri"/>
              </a:rPr>
              <a:t>Tonnages, density, and site life estimate</a:t>
            </a:r>
          </a:p>
          <a:p>
            <a:pPr lvl="1"/>
            <a:r>
              <a:rPr lang="en-US" dirty="0">
                <a:cs typeface="Calibri"/>
              </a:rPr>
              <a:t>Potential for future expansions</a:t>
            </a:r>
          </a:p>
          <a:p>
            <a:pPr marL="514350" indent="-514350">
              <a:buFont typeface="+mj-lt"/>
              <a:buAutoNum type="arabicParenR"/>
            </a:pPr>
            <a:r>
              <a:rPr lang="en-US" dirty="0">
                <a:cs typeface="Calibri"/>
              </a:rPr>
              <a:t>Normalize each facility’s capacity estimate to a single date</a:t>
            </a:r>
          </a:p>
          <a:p>
            <a:pPr lvl="1"/>
            <a:r>
              <a:rPr lang="en-US" dirty="0">
                <a:cs typeface="Calibri"/>
              </a:rPr>
              <a:t>January 1</a:t>
            </a:r>
            <a:r>
              <a:rPr lang="en-US" baseline="30000" dirty="0">
                <a:cs typeface="Calibri"/>
              </a:rPr>
              <a:t>st</a:t>
            </a:r>
            <a:r>
              <a:rPr lang="en-US" dirty="0">
                <a:cs typeface="Calibri"/>
              </a:rPr>
              <a:t>, 2025</a:t>
            </a:r>
          </a:p>
          <a:p>
            <a:pPr marL="514350" indent="-514350">
              <a:buAutoNum type="arabicParenR"/>
            </a:pPr>
            <a:endParaRPr lang="en-US" dirty="0">
              <a:cs typeface="Calibri"/>
            </a:endParaRPr>
          </a:p>
        </p:txBody>
      </p:sp>
    </p:spTree>
    <p:extLst>
      <p:ext uri="{BB962C8B-B14F-4D97-AF65-F5344CB8AC3E}">
        <p14:creationId xmlns:p14="http://schemas.microsoft.com/office/powerpoint/2010/main" val="28997826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93A2690B-C5E7-CFE5-8FE0-17A4358D29D5}"/>
              </a:ext>
            </a:extLst>
          </p:cNvPr>
          <p:cNvGraphicFramePr>
            <a:graphicFrameLocks/>
          </p:cNvGraphicFramePr>
          <p:nvPr>
            <p:custDataLst>
              <p:tags r:id="rId1"/>
            </p:custDataLst>
            <p:extLst>
              <p:ext uri="{D42A27DB-BD31-4B8C-83A1-F6EECF244321}">
                <p14:modId xmlns:p14="http://schemas.microsoft.com/office/powerpoint/2010/main" val="136771041"/>
              </p:ext>
            </p:extLst>
          </p:nvPr>
        </p:nvGraphicFramePr>
        <p:xfrm>
          <a:off x="1" y="1274165"/>
          <a:ext cx="12192000" cy="5583835"/>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373A859B-89C7-3440-83BB-222657BC0EA6}"/>
              </a:ext>
            </a:extLst>
          </p:cNvPr>
          <p:cNvSpPr>
            <a:spLocks noGrp="1"/>
          </p:cNvSpPr>
          <p:nvPr>
            <p:ph type="title"/>
          </p:nvPr>
        </p:nvSpPr>
        <p:spPr/>
        <p:txBody>
          <a:bodyPr/>
          <a:lstStyle/>
          <a:p>
            <a:r>
              <a:rPr lang="en-US" dirty="0"/>
              <a:t>Statewide Class I Landfill Capacity</a:t>
            </a:r>
          </a:p>
        </p:txBody>
      </p:sp>
      <p:sp>
        <p:nvSpPr>
          <p:cNvPr id="7" name="TextBox 6">
            <a:extLst>
              <a:ext uri="{FF2B5EF4-FFF2-40B4-BE49-F238E27FC236}">
                <a16:creationId xmlns:a16="http://schemas.microsoft.com/office/drawing/2014/main" id="{8032D10B-CE70-8343-91CB-88641AB7951A}"/>
              </a:ext>
            </a:extLst>
          </p:cNvPr>
          <p:cNvSpPr txBox="1"/>
          <p:nvPr/>
        </p:nvSpPr>
        <p:spPr>
          <a:xfrm>
            <a:off x="9393640" y="1909101"/>
            <a:ext cx="2875477" cy="646331"/>
          </a:xfrm>
          <a:prstGeom prst="rect">
            <a:avLst/>
          </a:prstGeom>
          <a:noFill/>
        </p:spPr>
        <p:txBody>
          <a:bodyPr wrap="square" rtlCol="0">
            <a:spAutoFit/>
          </a:bodyPr>
          <a:lstStyle/>
          <a:p>
            <a:pPr algn="ctr"/>
            <a:r>
              <a:rPr lang="en-US" b="1" dirty="0">
                <a:solidFill>
                  <a:schemeClr val="tx1">
                    <a:lumMod val="65000"/>
                    <a:lumOff val="35000"/>
                  </a:schemeClr>
                </a:solidFill>
              </a:rPr>
              <a:t>458.1 M permitted tons remaining as of Jan. 1, 2025</a:t>
            </a:r>
          </a:p>
        </p:txBody>
      </p:sp>
    </p:spTree>
    <p:extLst>
      <p:ext uri="{BB962C8B-B14F-4D97-AF65-F5344CB8AC3E}">
        <p14:creationId xmlns:p14="http://schemas.microsoft.com/office/powerpoint/2010/main" val="4143042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9CB0CDE-374B-C826-E923-7169696FC364}"/>
            </a:ext>
          </a:extLst>
        </p:cNvPr>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40E97010-3D4C-B99B-D8A9-9D0F1B289F7D}"/>
              </a:ext>
            </a:extLst>
          </p:cNvPr>
          <p:cNvGraphicFramePr>
            <a:graphicFrameLocks/>
          </p:cNvGraphicFramePr>
          <p:nvPr>
            <p:custDataLst>
              <p:tags r:id="rId1"/>
            </p:custDataLst>
          </p:nvPr>
        </p:nvGraphicFramePr>
        <p:xfrm>
          <a:off x="1" y="1274165"/>
          <a:ext cx="12192000" cy="5583835"/>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1305E63A-BB33-B098-0E93-FCA0D83CF2AF}"/>
              </a:ext>
            </a:extLst>
          </p:cNvPr>
          <p:cNvSpPr>
            <a:spLocks noGrp="1"/>
          </p:cNvSpPr>
          <p:nvPr>
            <p:ph type="title"/>
          </p:nvPr>
        </p:nvSpPr>
        <p:spPr/>
        <p:txBody>
          <a:bodyPr/>
          <a:lstStyle/>
          <a:p>
            <a:r>
              <a:rPr lang="en-US" dirty="0"/>
              <a:t>Statewide Class I Landfill Capacity</a:t>
            </a:r>
          </a:p>
        </p:txBody>
      </p:sp>
      <p:sp>
        <p:nvSpPr>
          <p:cNvPr id="7" name="TextBox 6">
            <a:extLst>
              <a:ext uri="{FF2B5EF4-FFF2-40B4-BE49-F238E27FC236}">
                <a16:creationId xmlns:a16="http://schemas.microsoft.com/office/drawing/2014/main" id="{410F9674-AFB9-5F34-5CFA-3573472215B8}"/>
              </a:ext>
            </a:extLst>
          </p:cNvPr>
          <p:cNvSpPr txBox="1"/>
          <p:nvPr/>
        </p:nvSpPr>
        <p:spPr>
          <a:xfrm>
            <a:off x="9393640" y="1909101"/>
            <a:ext cx="2875477" cy="646331"/>
          </a:xfrm>
          <a:prstGeom prst="rect">
            <a:avLst/>
          </a:prstGeom>
          <a:noFill/>
        </p:spPr>
        <p:txBody>
          <a:bodyPr wrap="square" rtlCol="0">
            <a:spAutoFit/>
          </a:bodyPr>
          <a:lstStyle/>
          <a:p>
            <a:pPr algn="ctr"/>
            <a:r>
              <a:rPr lang="en-US" b="1" dirty="0">
                <a:solidFill>
                  <a:schemeClr val="tx1">
                    <a:lumMod val="65000"/>
                    <a:lumOff val="35000"/>
                  </a:schemeClr>
                </a:solidFill>
              </a:rPr>
              <a:t>458.1 M permitted tons remaining as of Jan. 1, 2025</a:t>
            </a:r>
          </a:p>
        </p:txBody>
      </p:sp>
      <p:sp>
        <p:nvSpPr>
          <p:cNvPr id="4" name="TextBox 3">
            <a:extLst>
              <a:ext uri="{FF2B5EF4-FFF2-40B4-BE49-F238E27FC236}">
                <a16:creationId xmlns:a16="http://schemas.microsoft.com/office/drawing/2014/main" id="{8A701EDF-F8AE-906A-BAD7-54B2B4C05196}"/>
              </a:ext>
            </a:extLst>
          </p:cNvPr>
          <p:cNvSpPr txBox="1"/>
          <p:nvPr/>
        </p:nvSpPr>
        <p:spPr>
          <a:xfrm>
            <a:off x="9393641" y="5152784"/>
            <a:ext cx="2875476" cy="646331"/>
          </a:xfrm>
          <a:prstGeom prst="rect">
            <a:avLst/>
          </a:prstGeom>
          <a:noFill/>
        </p:spPr>
        <p:txBody>
          <a:bodyPr wrap="square" rtlCol="0">
            <a:spAutoFit/>
          </a:bodyPr>
          <a:lstStyle/>
          <a:p>
            <a:pPr algn="ctr"/>
            <a:r>
              <a:rPr lang="en-US" b="1" dirty="0">
                <a:solidFill>
                  <a:schemeClr val="tx1">
                    <a:lumMod val="65000"/>
                    <a:lumOff val="35000"/>
                  </a:schemeClr>
                </a:solidFill>
              </a:rPr>
              <a:t>123.1 M constructed tons remaining as of Jan. 1, 2025</a:t>
            </a:r>
          </a:p>
        </p:txBody>
      </p:sp>
      <p:sp>
        <p:nvSpPr>
          <p:cNvPr id="8" name="TextBox 7">
            <a:extLst>
              <a:ext uri="{FF2B5EF4-FFF2-40B4-BE49-F238E27FC236}">
                <a16:creationId xmlns:a16="http://schemas.microsoft.com/office/drawing/2014/main" id="{EF208F46-FD91-4499-32FB-EA64DE0E24FD}"/>
              </a:ext>
            </a:extLst>
          </p:cNvPr>
          <p:cNvSpPr txBox="1"/>
          <p:nvPr/>
        </p:nvSpPr>
        <p:spPr>
          <a:xfrm>
            <a:off x="8928596" y="436135"/>
            <a:ext cx="3131127" cy="830997"/>
          </a:xfrm>
          <a:prstGeom prst="rect">
            <a:avLst/>
          </a:prstGeom>
          <a:solidFill>
            <a:schemeClr val="accent6">
              <a:alpha val="14118"/>
            </a:schemeClr>
          </a:solidFill>
        </p:spPr>
        <p:txBody>
          <a:bodyPr wrap="square" rtlCol="0">
            <a:spAutoFit/>
          </a:bodyPr>
          <a:lstStyle/>
          <a:p>
            <a:pPr algn="ctr"/>
            <a:r>
              <a:rPr lang="en-US" sz="2400" dirty="0">
                <a:solidFill>
                  <a:schemeClr val="tx1">
                    <a:lumMod val="65000"/>
                    <a:lumOff val="35000"/>
                  </a:schemeClr>
                </a:solidFill>
              </a:rPr>
              <a:t>20.9 M tons to </a:t>
            </a:r>
          </a:p>
          <a:p>
            <a:pPr algn="ctr"/>
            <a:r>
              <a:rPr lang="en-US" sz="2400" dirty="0">
                <a:solidFill>
                  <a:schemeClr val="tx1">
                    <a:lumMod val="65000"/>
                    <a:lumOff val="35000"/>
                  </a:schemeClr>
                </a:solidFill>
              </a:rPr>
              <a:t>Class I Landfills in 2023</a:t>
            </a:r>
          </a:p>
        </p:txBody>
      </p:sp>
    </p:spTree>
    <p:extLst>
      <p:ext uri="{BB962C8B-B14F-4D97-AF65-F5344CB8AC3E}">
        <p14:creationId xmlns:p14="http://schemas.microsoft.com/office/powerpoint/2010/main" val="493072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66B6C335_6502_46A3_BCCA_CD8B2918B5E0&quot;,&quot;SourceFullName&quot;:&quot;https://flpoly-my.sharepoint.com/personal/manshassi_floridapoly_edu/Documents/Projects/SWIFR Grant/Capacity Activity/Analysis/Finalized Spreadsheets/Class I LFs FINAL.xlsx&quot;,&quot;LastUpdate&quot;:&quot;2025-02-23 6:30 PM&quot;,&quot;UpdatedBy&quot;:&quot;hsackles&quot;,&quot;IsLinked&quot;:false,&quot;IsBrokenLink&quot;:false,&quot;Type&quot;:1,&quot;ShapeId&quot;:0,&quot;WorksheetName&quot;:null}"/>
</p:tagLst>
</file>

<file path=ppt/tags/tag1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E84D944_0545_4310_89DF_E51FB34F57EF&quot;,&quot;SourceFullName&quot;:&quot;https://flpoly-my.sharepoint.com/personal/manshassi_floridapoly_edu/Documents/Projects/SWIFR Grant/Capacity Activity/Analysis/Waste County of Origin.xlsx&quot;,&quot;LastUpdate&quot;:&quot;2025-02-10 6:22 PM&quot;,&quot;UpdatedBy&quot;:&quot;hsackles&quot;,&quot;IsLinked&quot;:false,&quot;IsBrokenLink&quot;:false,&quot;Type&quot;:1,&quot;ShapeId&quot;:0,&quot;WorksheetName&quot;:null}"/>
</p:tagLst>
</file>

<file path=ppt/tags/tag1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E84D944_0545_4310_89DF_E51FB34F57EF&quot;,&quot;SourceFullName&quot;:&quot;https://flpoly-my.sharepoint.com/personal/manshassi_floridapoly_edu/Documents/Projects/SWIFR Grant/Capacity Activity/Analysis/Waste County of Origin.xlsx&quot;,&quot;LastUpdate&quot;:&quot;2025-02-10 6:22 PM&quot;,&quot;UpdatedBy&quot;:&quot;hsackles&quot;,&quot;IsLinked&quot;:false,&quot;IsBrokenLink&quot;:false,&quot;Type&quot;:1,&quot;ShapeId&quot;:0,&quot;WorksheetName&quot;:null}"/>
</p:tagLst>
</file>

<file path=ppt/tags/tag1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E84D944_0545_4310_89DF_E51FB34F57EF&quot;,&quot;SourceFullName&quot;:&quot;https://flpoly-my.sharepoint.com/personal/manshassi_floridapoly_edu/Documents/Projects/SWIFR Grant/Capacity Activity/Analysis/Waste County of Origin.xlsx&quot;,&quot;LastUpdate&quot;:&quot;2025-02-10 6:22 PM&quot;,&quot;UpdatedBy&quot;:&quot;hsackles&quot;,&quot;IsLinked&quot;:false,&quot;IsBrokenLink&quot;:false,&quot;Type&quot;:1,&quot;ShapeId&quot;:0,&quot;WorksheetName&quot;:null}"/>
</p:tagLst>
</file>

<file path=ppt/tags/tag1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D69283A_9AB6_442F_80E5_5E231E4B7878&quot;,&quot;SourceFullName&quot;:&quot;https://flpoly-my.sharepoint.com/personal/manshassi_floridapoly_edu/Documents/Projects/SWIFR Grant/Capacity Activity/Analysis/Finalized Spreadsheets/Class I LFs FINAL.xlsx&quot;,&quot;LastUpdate&quot;:&quot;2025-02-23 7:04 PM&quot;,&quot;UpdatedBy&quot;:&quot;hsackles&quot;,&quot;IsLinked&quot;:false,&quot;IsBrokenLink&quot;:false,&quot;Type&quot;:1,&quot;ShapeId&quot;:0,&quot;WorksheetName&quot;:null}"/>
</p:tagLst>
</file>

<file path=ppt/tags/tag1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BD6C871B_FE7A_44E4_A599_90333574BD5C&quot;,&quot;SourceFullName&quot;:&quot;&quot;,&quot;LastUpdate&quot;:&quot;2025-02-11 11:16 AM&quot;,&quot;UpdatedBy&quot;:&quot;hsackles&quot;,&quot;IsLinked&quot;:false,&quot;IsBrokenLink&quot;:false,&quot;Type&quot;:2,&quot;ShapeId&quot;:0,&quot;WorksheetName&quot;:null}"/>
</p:tagLst>
</file>

<file path=ppt/tags/tag1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DA1FB2D2_2D45_4B09_9FCB_3115847DFD93&quot;,&quot;SourceFullName&quot;:&quot;https://flpoly-my.sharepoint.com/personal/manshassi_floridapoly_edu/Documents/Projects/SWIFR Grant/Capacity Activity/Analysis/Finalized Spreadsheets/Class I LFs FINAL.xlsx&quot;,&quot;LastUpdate&quot;:&quot;2025-02-23 7:12 PM&quot;,&quot;UpdatedBy&quot;:&quot;hsackles&quot;,&quot;IsLinked&quot;:false,&quot;IsBrokenLink&quot;:false,&quot;Type&quot;:1,&quot;ShapeId&quot;:0,&quot;WorksheetName&quot;:null}"/>
</p:tagLst>
</file>

<file path=ppt/tags/tag1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709C39A_F350_48AB_A719_F1C3D4C7F23A&quot;,&quot;SourceFullName&quot;:&quot;https://flpoly-my.sharepoint.com/personal/manshassi_floridapoly_edu/Documents/Projects/SWIFR Grant/Capacity Activity/Analysis/Finalized Spreadsheets/Class I LFs FINAL.xlsx&quot;,&quot;LastUpdate&quot;:&quot;2025-02-23 7:14 PM&quot;,&quot;UpdatedBy&quot;:&quot;hsackles&quot;,&quot;IsLinked&quot;:false,&quot;IsBrokenLink&quot;:false,&quot;Type&quot;:1,&quot;ShapeId&quot;:0,&quot;WorksheetName&quot;:null}"/>
</p:tagLst>
</file>

<file path=ppt/tags/tag1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B6CAA03F_01E5_465A_B2AD_D02A4CF92C38&quot;,&quot;SourceFullName&quot;:&quot;https://flpoly-my.sharepoint.com/personal/manshassi_floridapoly_edu/Documents/Projects/SWIFR Grant/Capacity Activity/Analysis/Finalized Spreadsheets/Class I LFs FINAL.xlsx&quot;,&quot;LastUpdate&quot;:&quot;2025-02-14 3:57 PM&quot;,&quot;UpdatedBy&quot;:&quot;hsackles&quot;,&quot;IsLinked&quot;:false,&quot;IsBrokenLink&quot;:false,&quot;Type&quot;:1,&quot;ShapeId&quot;:0,&quot;WorksheetName&quot;:null}"/>
</p:tagLst>
</file>

<file path=ppt/tags/tag1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C1ACA71E_B6AF_439F_8606_737B69273E71&quot;,&quot;SourceFullName&quot;:&quot;https://flpoly-my.sharepoint.com/personal/manshassi_floridapoly_edu/Documents/Projects/SWIFR Grant/Capacity Activity/Analysis/Finalized Spreadsheets/Class I LFs FINAL.xlsx&quot;,&quot;LastUpdate&quot;:&quot;2025-02-23 7:17 PM&quot;,&quot;UpdatedBy&quot;:&quot;hsackles&quot;,&quot;IsLinked&quot;:false,&quot;IsBrokenLink&quot;:false,&quot;Type&quot;:1,&quot;ShapeId&quot;:0,&quot;WorksheetName&quot;:null}"/>
</p:tagLst>
</file>

<file path=ppt/tags/tag1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C11C34C_C30A_459A_A4DF_FA8C07AED768&quot;,&quot;SourceFullName&quot;:&quot;https://flpoly-my.sharepoint.com/personal/manshassi_floridapoly_edu/Documents/Projects/SWIFR Grant/Capacity Activity/Analysis/Finalized Spreadsheets/Class I LFs FINAL.xlsx&quot;,&quot;LastUpdate&quot;:&quot;2025-02-14 4:54 PM&quot;,&quot;UpdatedBy&quot;:&quot;hsackles&quot;,&quot;IsLinked&quot;:false,&quot;IsBrokenLink&quot;:false,&quot;Type&quot;:1,&quot;ShapeId&quot;:0,&quot;WorksheetName&quot;:null}"/>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66B6C335_6502_46A3_BCCA_CD8B2918B5E0&quot;,&quot;SourceFullName&quot;:&quot;https://flpoly-my.sharepoint.com/personal/manshassi_floridapoly_edu/Documents/Projects/SWIFR Grant/Capacity Activity/Analysis/Finalized Spreadsheets/Class I LFs FINAL.xlsx&quot;,&quot;LastUpdate&quot;:&quot;2025-02-23 6:30 PM&quot;,&quot;UpdatedBy&quot;:&quot;hsackles&quot;,&quot;IsLinked&quot;:false,&quot;IsBrokenLink&quot;:false,&quot;Type&quot;:1,&quot;ShapeId&quot;:0,&quot;WorksheetName&quot;:null}"/>
</p:tagLst>
</file>

<file path=ppt/tags/tag2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91B6FE07_AECE_402E_9D46_B2F4D9E0B09C&quot;,&quot;SourceFullName&quot;:&quot;https://flpoly-my.sharepoint.com/personal/manshassi_floridapoly_edu/Documents/Projects/SWIFR Grant/Capacity Activity/Analysis/Finalized Spreadsheets/Class I LFs FINAL.xlsx&quot;,&quot;LastUpdate&quot;:&quot;2025-02-21 2:10 PM&quot;,&quot;UpdatedBy&quot;:&quot;hsackles&quot;,&quot;IsLinked&quot;:false,&quot;IsBrokenLink&quot;:false,&quot;Type&quot;:1,&quot;ShapeId&quot;:0,&quot;WorksheetName&quot;:null}"/>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66B6C335_6502_46A3_BCCA_CD8B2918B5E0&quot;,&quot;SourceFullName&quot;:&quot;https://flpoly-my.sharepoint.com/personal/manshassi_floridapoly_edu/Documents/Projects/SWIFR Grant/Capacity Activity/Analysis/Finalized Spreadsheets/Class I LFs FINAL.xlsx&quot;,&quot;LastUpdate&quot;:&quot;2025-02-23 6:30 PM&quot;,&quot;UpdatedBy&quot;:&quot;hsackles&quot;,&quot;IsLinked&quot;:false,&quot;IsBrokenLink&quot;:false,&quot;Type&quot;:1,&quot;ShapeId&quot;:0,&quot;WorksheetName&quot;:null}"/>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66B6C335_6502_46A3_BCCA_CD8B2918B5E0&quot;,&quot;SourceFullName&quot;:&quot;https://flpoly-my.sharepoint.com/personal/manshassi_floridapoly_edu/Documents/Projects/SWIFR Grant/Capacity Activity/Analysis/Finalized Spreadsheets/Class I LFs FINAL.xlsx&quot;,&quot;LastUpdate&quot;:&quot;2025-02-23 6:30 PM&quot;,&quot;UpdatedBy&quot;:&quot;hsackles&quot;,&quot;IsLinked&quot;:false,&quot;IsBrokenLink&quot;:false,&quot;Type&quot;:1,&quot;ShapeId&quot;:0,&quot;WorksheetName&quot;:null}"/>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66B6C335_6502_46A3_BCCA_CD8B2918B5E0&quot;,&quot;SourceFullName&quot;:&quot;https://flpoly-my.sharepoint.com/personal/manshassi_floridapoly_edu/Documents/Projects/SWIFR Grant/Capacity Activity/Analysis/Finalized Spreadsheets/Class I LFs FINAL.xlsx&quot;,&quot;LastUpdate&quot;:&quot;2025-02-23 6:30 PM&quot;,&quot;UpdatedBy&quot;:&quot;hsackles&quot;,&quot;IsLinked&quot;:false,&quot;IsBrokenLink&quot;:false,&quot;Type&quot;:1,&quot;ShapeId&quot;:0,&quot;WorksheetName&quot;:null}"/>
</p:tagLst>
</file>

<file path=ppt/tags/tag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66B6C335_6502_46A3_BCCA_CD8B2918B5E0&quot;,&quot;SourceFullName&quot;:&quot;https://flpoly-my.sharepoint.com/personal/manshassi_floridapoly_edu/Documents/Projects/SWIFR Grant/Capacity Activity/Analysis/Finalized Spreadsheets/Class I LFs FINAL.xlsx&quot;,&quot;LastUpdate&quot;:&quot;2025-02-23 6:30 PM&quot;,&quot;UpdatedBy&quot;:&quot;hsackles&quot;,&quot;IsLinked&quot;:false,&quot;IsBrokenLink&quot;:false,&quot;Type&quot;:1,&quot;ShapeId&quot;:0,&quot;WorksheetName&quot;:null}"/>
</p:tagLst>
</file>

<file path=ppt/tags/tag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66B6C335_6502_46A3_BCCA_CD8B2918B5E0&quot;,&quot;SourceFullName&quot;:&quot;https://flpoly-my.sharepoint.com/personal/manshassi_floridapoly_edu/Documents/Projects/SWIFR Grant/Capacity Activity/Analysis/Finalized Spreadsheets/Class I LFs FINAL.xlsx&quot;,&quot;LastUpdate&quot;:&quot;2025-02-23 6:30 PM&quot;,&quot;UpdatedBy&quot;:&quot;hsackles&quot;,&quot;IsLinked&quot;:false,&quot;IsBrokenLink&quot;:false,&quot;Type&quot;:1,&quot;ShapeId&quot;:0,&quot;WorksheetName&quot;:null}"/>
</p:tagLst>
</file>

<file path=ppt/tags/tag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66B6C335_6502_46A3_BCCA_CD8B2918B5E0&quot;,&quot;SourceFullName&quot;:&quot;https://flpoly-my.sharepoint.com/personal/manshassi_floridapoly_edu/Documents/Projects/SWIFR Grant/Capacity Activity/Analysis/Finalized Spreadsheets/Class I LFs FINAL.xlsx&quot;,&quot;LastUpdate&quot;:&quot;2025-02-23 6:30 PM&quot;,&quot;UpdatedBy&quot;:&quot;hsackles&quot;,&quot;IsLinked&quot;:false,&quot;IsBrokenLink&quot;:false,&quot;Type&quot;:1,&quot;ShapeId&quot;:0,&quot;WorksheetName&quot;:null}"/>
</p:tagLst>
</file>

<file path=ppt/tags/tag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E84D944_0545_4310_89DF_E51FB34F57EF&quot;,&quot;SourceFullName&quot;:&quot;https://flpoly-my.sharepoint.com/personal/manshassi_floridapoly_edu/Documents/Projects/SWIFR Grant/Capacity Activity/Analysis/Waste County of Origin.xlsx&quot;,&quot;LastUpdate&quot;:&quot;2025-02-10 6:22 PM&quot;,&quot;UpdatedBy&quot;:&quot;hsackles&quot;,&quot;IsLinked&quot;:false,&quot;IsBrokenLink&quot;:false,&quot;Type&quot;:1,&quot;ShapeId&quot;:0,&quot;WorksheetName&quot;:null}"/>
</p:tagLst>
</file>

<file path=ppt/theme/theme1.xml><?xml version="1.0" encoding="utf-8"?>
<a:theme xmlns:a="http://schemas.openxmlformats.org/drawingml/2006/main" name="Office Theme">
  <a:themeElements>
    <a:clrScheme name="Paper">
      <a:dk1>
        <a:sysClr val="windowText" lastClr="000000"/>
      </a:dk1>
      <a:lt1>
        <a:sysClr val="window" lastClr="FFFFFF"/>
      </a:lt1>
      <a:dk2>
        <a:srgbClr val="444D26"/>
      </a:dk2>
      <a:lt2>
        <a:srgbClr val="FEFAC9"/>
      </a:lt2>
      <a:accent1>
        <a:srgbClr val="A5B592"/>
      </a:accent1>
      <a:accent2>
        <a:srgbClr val="F3A447"/>
      </a:accent2>
      <a:accent3>
        <a:srgbClr val="E7BC29"/>
      </a:accent3>
      <a:accent4>
        <a:srgbClr val="D092A7"/>
      </a:accent4>
      <a:accent5>
        <a:srgbClr val="9C85C0"/>
      </a:accent5>
      <a:accent6>
        <a:srgbClr val="809EC2"/>
      </a:accent6>
      <a:hlink>
        <a:srgbClr val="8E58B6"/>
      </a:hlink>
      <a:folHlink>
        <a:srgbClr val="7F6F6F"/>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13</TotalTime>
  <Words>1822</Words>
  <Application>Microsoft Office PowerPoint</Application>
  <PresentationFormat>Widescreen</PresentationFormat>
  <Paragraphs>487</Paragraphs>
  <Slides>43</Slides>
  <Notes>8</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43</vt:i4>
      </vt:variant>
    </vt:vector>
  </HeadingPairs>
  <TitlesOfParts>
    <vt:vector size="49" baseType="lpstr">
      <vt:lpstr>Aptos Narrow</vt:lpstr>
      <vt:lpstr>Arial</vt:lpstr>
      <vt:lpstr>Calibri</vt:lpstr>
      <vt:lpstr>Calibri Light</vt:lpstr>
      <vt:lpstr>Times New Roman</vt:lpstr>
      <vt:lpstr>Office Theme</vt:lpstr>
      <vt:lpstr>Capacity of Florida’s Infrastructure for Resource Recovery &amp; Solid Waste Management </vt:lpstr>
      <vt:lpstr>Florida SWIFR Activities</vt:lpstr>
      <vt:lpstr>Facilities of Interest</vt:lpstr>
      <vt:lpstr>Facilities of Interest</vt:lpstr>
      <vt:lpstr>Facilities of Interest</vt:lpstr>
      <vt:lpstr>Method to Determine Class I Landfill Capacity</vt:lpstr>
      <vt:lpstr>Method to Determine Class I Landfill Capacity</vt:lpstr>
      <vt:lpstr>Statewide Class I Landfill Capacity</vt:lpstr>
      <vt:lpstr>Statewide Class I Landfill Capacity</vt:lpstr>
      <vt:lpstr>Statewide Class I Landfill Capacity</vt:lpstr>
      <vt:lpstr>Statewide Class I Landfill Capacity</vt:lpstr>
      <vt:lpstr>Statewide Class I Landfill Capacity</vt:lpstr>
      <vt:lpstr>Statewide Class I Landfill Capacity</vt:lpstr>
      <vt:lpstr>Statewide Class I Landfill Capacity</vt:lpstr>
      <vt:lpstr>Statewide Class I Landfill Capacity</vt:lpstr>
      <vt:lpstr>PowerPoint Presentation</vt:lpstr>
      <vt:lpstr>Origin of Waste Disposed of in Class I Landfills in 2023</vt:lpstr>
      <vt:lpstr>Origin of Waste and Location of Class I Landfills</vt:lpstr>
      <vt:lpstr>Origin of Waste and Capacity of Class I Landfills</vt:lpstr>
      <vt:lpstr>Origin of Waste and Capacity of Class I Landfills</vt:lpstr>
      <vt:lpstr>Remaining Permitted Class I Capacity as of Jan. 1, 2025</vt:lpstr>
      <vt:lpstr>Method to Project Remaining Regional Capacity</vt:lpstr>
      <vt:lpstr>Remaining Permitted Class I Capacity as of Jan. 1, 2025</vt:lpstr>
      <vt:lpstr>Permitted vs Constructed Capacity of Class I Landfills</vt:lpstr>
      <vt:lpstr>Remaining Constructed Class I Capacity as of Jan. 1, 2025</vt:lpstr>
      <vt:lpstr>Remaining Class I Landfill Capacity as of Jan. 1, 2025</vt:lpstr>
      <vt:lpstr>Remaining Class I Landfill Capacity as of Jan. 1, 2025</vt:lpstr>
      <vt:lpstr>Facilities of Interest</vt:lpstr>
      <vt:lpstr>Facilities of Interest</vt:lpstr>
      <vt:lpstr>Facilities of Interest</vt:lpstr>
      <vt:lpstr>Location of Florida’s WTE Facilities</vt:lpstr>
      <vt:lpstr>Method to Determine WTE Capacity </vt:lpstr>
      <vt:lpstr>Method to Determine WTE Capacity </vt:lpstr>
      <vt:lpstr>PowerPoint Presentation</vt:lpstr>
      <vt:lpstr>Facilities of Interest</vt:lpstr>
      <vt:lpstr>Facilities of Interest</vt:lpstr>
      <vt:lpstr>Facilities of Interest</vt:lpstr>
      <vt:lpstr>Location of Florida’s Single and Dual Stream MRFs</vt:lpstr>
      <vt:lpstr>Method to Determine MRF Capacity </vt:lpstr>
      <vt:lpstr>PowerPoint Presentation</vt:lpstr>
      <vt:lpstr>PowerPoint Presentation</vt:lpstr>
      <vt:lpstr>Key Takeaways…</vt:lpstr>
      <vt:lpstr>Thank you and please connect with u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olid Waste Infrastructure for Recycling (SWIFR) Grant  Scope of Work</dc:title>
  <dc:creator>Malak Anshassi</dc:creator>
  <cp:lastModifiedBy>Sackles,Hannah M</cp:lastModifiedBy>
  <cp:revision>112</cp:revision>
  <cp:lastPrinted>2025-02-19T17:54:10Z</cp:lastPrinted>
  <dcterms:created xsi:type="dcterms:W3CDTF">2023-09-12T21:14:06Z</dcterms:created>
  <dcterms:modified xsi:type="dcterms:W3CDTF">2025-02-25T21:32:54Z</dcterms:modified>
</cp:coreProperties>
</file>